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348" r:id="rId2"/>
    <p:sldId id="380" r:id="rId3"/>
    <p:sldId id="349" r:id="rId4"/>
    <p:sldId id="350" r:id="rId5"/>
    <p:sldId id="335" r:id="rId6"/>
    <p:sldId id="353" r:id="rId7"/>
    <p:sldId id="354" r:id="rId8"/>
    <p:sldId id="355" r:id="rId9"/>
    <p:sldId id="331" r:id="rId10"/>
    <p:sldId id="332" r:id="rId11"/>
    <p:sldId id="357" r:id="rId12"/>
    <p:sldId id="358" r:id="rId13"/>
    <p:sldId id="365" r:id="rId14"/>
    <p:sldId id="366" r:id="rId15"/>
    <p:sldId id="342" r:id="rId16"/>
    <p:sldId id="359" r:id="rId17"/>
    <p:sldId id="360" r:id="rId18"/>
    <p:sldId id="367" r:id="rId19"/>
    <p:sldId id="368" r:id="rId20"/>
    <p:sldId id="361" r:id="rId21"/>
    <p:sldId id="362" r:id="rId22"/>
    <p:sldId id="363" r:id="rId23"/>
    <p:sldId id="379" r:id="rId24"/>
    <p:sldId id="364" r:id="rId25"/>
    <p:sldId id="378" r:id="rId26"/>
    <p:sldId id="371" r:id="rId27"/>
    <p:sldId id="372" r:id="rId28"/>
    <p:sldId id="373" r:id="rId29"/>
    <p:sldId id="374" r:id="rId30"/>
    <p:sldId id="375" r:id="rId31"/>
    <p:sldId id="376" r:id="rId32"/>
    <p:sldId id="377" r:id="rId33"/>
    <p:sldId id="351" r:id="rId3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66" d="100"/>
          <a:sy n="66" d="100"/>
        </p:scale>
        <p:origin x="-1272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3" d="100"/>
          <a:sy n="53" d="100"/>
        </p:scale>
        <p:origin x="-2626" y="-62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E:\Work%20Shop%20SEAMEO\Top%20Authors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E:\Work%20Shop%20SEAMEO\Top%20Authors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E:\Work%20Shop%20SEAMEO\Top%20Author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h-TH"/>
  <c:style val="26"/>
  <c:chart>
    <c:title>
      <c:tx>
        <c:rich>
          <a:bodyPr/>
          <a:lstStyle/>
          <a:p>
            <a:pPr>
              <a:defRPr lang="en-US"/>
            </a:pPr>
            <a:r>
              <a:rPr lang="en-US" sz="1400" b="1" i="0" u="none" strike="noStrike" baseline="0"/>
              <a:t>Nanotechnology</a:t>
            </a:r>
            <a:endParaRPr lang="en-US" sz="1400"/>
          </a:p>
          <a:p>
            <a:pPr>
              <a:defRPr lang="en-US"/>
            </a:pPr>
            <a:r>
              <a:rPr lang="en-US" sz="1400" b="1" i="0" baseline="0"/>
              <a:t>(2000-2008)</a:t>
            </a:r>
            <a:endParaRPr lang="en-US" sz="1400"/>
          </a:p>
        </c:rich>
      </c:tx>
      <c:layout/>
    </c:title>
    <c:plotArea>
      <c:layout>
        <c:manualLayout>
          <c:layoutTarget val="inner"/>
          <c:xMode val="edge"/>
          <c:yMode val="edge"/>
          <c:x val="8.2952791184886521E-2"/>
          <c:y val="0.187563665015367"/>
          <c:w val="0.76130681712841575"/>
          <c:h val="0.46933169146518777"/>
        </c:manualLayout>
      </c:layout>
      <c:barChart>
        <c:barDir val="col"/>
        <c:grouping val="clustered"/>
        <c:ser>
          <c:idx val="1"/>
          <c:order val="1"/>
          <c:tx>
            <c:v>Citations</c:v>
          </c:tx>
          <c:spPr>
            <a:solidFill>
              <a:schemeClr val="tx2"/>
            </a:solidFill>
          </c:spPr>
          <c:dPt>
            <c:idx val="8"/>
            <c:spPr>
              <a:solidFill>
                <a:schemeClr val="accent2"/>
              </a:solidFill>
            </c:spPr>
          </c:dPt>
          <c:cat>
            <c:strRef>
              <c:f>(Sheet1!$A$3:$A$5,Sheet1!$A$8:$A$9,Sheet1!$A$11:$A$13,Sheet1!$A$16:$A$17)</c:f>
              <c:strCache>
                <c:ptCount val="10"/>
                <c:pt idx="0">
                  <c:v>Chua, S.J.</c:v>
                </c:pt>
                <c:pt idx="1">
                  <c:v>Yoon, S.F.</c:v>
                </c:pt>
                <c:pt idx="2">
                  <c:v>Lee, J.Y.</c:v>
                </c:pt>
                <c:pt idx="3">
                  <c:v>Wee, A.T.S.</c:v>
                </c:pt>
                <c:pt idx="4">
                  <c:v>Tay, B.K.</c:v>
                </c:pt>
                <c:pt idx="5">
                  <c:v>Sow, C.H.</c:v>
                </c:pt>
                <c:pt idx="6">
                  <c:v>Lin, J.</c:v>
                </c:pt>
                <c:pt idx="7">
                  <c:v>Shen, Z.X.</c:v>
                </c:pt>
                <c:pt idx="8">
                  <c:v>Li, C.M. </c:v>
                </c:pt>
                <c:pt idx="9">
                  <c:v>Balasubramanian, N. </c:v>
                </c:pt>
              </c:strCache>
            </c:strRef>
          </c:cat>
          <c:val>
            <c:numRef>
              <c:f>(Sheet1!$C$3:$C$5,Sheet1!$C$8:$C$9,Sheet1!$C$11:$C$13,Sheet1!$C$16:$C$17)</c:f>
              <c:numCache>
                <c:formatCode>General</c:formatCode>
                <c:ptCount val="10"/>
                <c:pt idx="0">
                  <c:v>536</c:v>
                </c:pt>
                <c:pt idx="1">
                  <c:v>907</c:v>
                </c:pt>
                <c:pt idx="2">
                  <c:v>1695</c:v>
                </c:pt>
                <c:pt idx="3">
                  <c:v>525</c:v>
                </c:pt>
                <c:pt idx="4">
                  <c:v>440</c:v>
                </c:pt>
                <c:pt idx="5">
                  <c:v>370</c:v>
                </c:pt>
                <c:pt idx="6">
                  <c:v>1077</c:v>
                </c:pt>
                <c:pt idx="7">
                  <c:v>850</c:v>
                </c:pt>
                <c:pt idx="8">
                  <c:v>222</c:v>
                </c:pt>
                <c:pt idx="9">
                  <c:v>167</c:v>
                </c:pt>
              </c:numCache>
            </c:numRef>
          </c:val>
        </c:ser>
        <c:gapWidth val="300"/>
        <c:axId val="61729408"/>
        <c:axId val="61727104"/>
      </c:barChart>
      <c:lineChart>
        <c:grouping val="stacked"/>
        <c:ser>
          <c:idx val="0"/>
          <c:order val="0"/>
          <c:tx>
            <c:v>Publicaitons</c:v>
          </c:tx>
          <c:spPr>
            <a:ln>
              <a:solidFill>
                <a:srgbClr val="00B0F0"/>
              </a:solidFill>
            </a:ln>
          </c:spPr>
          <c:marker>
            <c:spPr>
              <a:solidFill>
                <a:srgbClr val="00B0F0"/>
              </a:solidFill>
            </c:spPr>
          </c:marker>
          <c:cat>
            <c:strRef>
              <c:f>(Sheet1!$A$3:$A$5,Sheet1!$A$8:$A$9,Sheet1!$A$11:$A$13,Sheet1!$A$16:$A$17)</c:f>
              <c:strCache>
                <c:ptCount val="10"/>
                <c:pt idx="0">
                  <c:v>Chua, S.J.</c:v>
                </c:pt>
                <c:pt idx="1">
                  <c:v>Yoon, S.F.</c:v>
                </c:pt>
                <c:pt idx="2">
                  <c:v>Lee, J.Y.</c:v>
                </c:pt>
                <c:pt idx="3">
                  <c:v>Wee, A.T.S.</c:v>
                </c:pt>
                <c:pt idx="4">
                  <c:v>Tay, B.K.</c:v>
                </c:pt>
                <c:pt idx="5">
                  <c:v>Sow, C.H.</c:v>
                </c:pt>
                <c:pt idx="6">
                  <c:v>Lin, J.</c:v>
                </c:pt>
                <c:pt idx="7">
                  <c:v>Shen, Z.X.</c:v>
                </c:pt>
                <c:pt idx="8">
                  <c:v>Li, C.M. </c:v>
                </c:pt>
                <c:pt idx="9">
                  <c:v>Balasubramanian, N. </c:v>
                </c:pt>
              </c:strCache>
            </c:strRef>
          </c:cat>
          <c:val>
            <c:numRef>
              <c:f>(Sheet1!$B$3:$B$5,Sheet1!$B$8:$B$9,Sheet1!$B$11:$B$13,Sheet1!$B$16:$B$17)</c:f>
              <c:numCache>
                <c:formatCode>General</c:formatCode>
                <c:ptCount val="10"/>
                <c:pt idx="0">
                  <c:v>130</c:v>
                </c:pt>
                <c:pt idx="1">
                  <c:v>122</c:v>
                </c:pt>
                <c:pt idx="2">
                  <c:v>81</c:v>
                </c:pt>
                <c:pt idx="3">
                  <c:v>57</c:v>
                </c:pt>
                <c:pt idx="4">
                  <c:v>50</c:v>
                </c:pt>
                <c:pt idx="5">
                  <c:v>46</c:v>
                </c:pt>
                <c:pt idx="6">
                  <c:v>43</c:v>
                </c:pt>
                <c:pt idx="7">
                  <c:v>41</c:v>
                </c:pt>
                <c:pt idx="8">
                  <c:v>39</c:v>
                </c:pt>
                <c:pt idx="9">
                  <c:v>38</c:v>
                </c:pt>
              </c:numCache>
            </c:numRef>
          </c:val>
        </c:ser>
        <c:hiLowLines/>
        <c:marker val="1"/>
        <c:axId val="61696640"/>
        <c:axId val="61702912"/>
      </c:lineChart>
      <c:catAx>
        <c:axId val="61696640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 lang="th-TH"/>
                </a:pPr>
                <a:r>
                  <a:rPr lang="en-US"/>
                  <a:t>Authors</a:t>
                </a:r>
              </a:p>
            </c:rich>
          </c:tx>
          <c:layout/>
        </c:title>
        <c:numFmt formatCode="General" sourceLinked="1"/>
        <c:majorTickMark val="none"/>
        <c:tickLblPos val="nextTo"/>
        <c:txPr>
          <a:bodyPr/>
          <a:lstStyle/>
          <a:p>
            <a:pPr>
              <a:defRPr lang="en-US" b="1"/>
            </a:pPr>
            <a:endParaRPr lang="th-TH"/>
          </a:p>
        </c:txPr>
        <c:crossAx val="61702912"/>
        <c:crosses val="autoZero"/>
        <c:auto val="1"/>
        <c:lblAlgn val="ctr"/>
        <c:lblOffset val="100"/>
      </c:catAx>
      <c:valAx>
        <c:axId val="61702912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 lang="th-TH" sz="1100"/>
                </a:pPr>
                <a:r>
                  <a:rPr lang="en-US" sz="1100"/>
                  <a:t>Publication</a:t>
                </a:r>
              </a:p>
            </c:rich>
          </c:tx>
          <c:layout/>
        </c:title>
        <c:numFmt formatCode="General" sourceLinked="1"/>
        <c:tickLblPos val="nextTo"/>
        <c:txPr>
          <a:bodyPr/>
          <a:lstStyle/>
          <a:p>
            <a:pPr>
              <a:defRPr lang="en-US" b="1"/>
            </a:pPr>
            <a:endParaRPr lang="th-TH"/>
          </a:p>
        </c:txPr>
        <c:crossAx val="61696640"/>
        <c:crosses val="autoZero"/>
        <c:crossBetween val="between"/>
      </c:valAx>
      <c:valAx>
        <c:axId val="61727104"/>
        <c:scaling>
          <c:orientation val="minMax"/>
        </c:scaling>
        <c:axPos val="r"/>
        <c:numFmt formatCode="General" sourceLinked="1"/>
        <c:tickLblPos val="nextTo"/>
        <c:txPr>
          <a:bodyPr/>
          <a:lstStyle/>
          <a:p>
            <a:pPr>
              <a:defRPr lang="en-US" b="1"/>
            </a:pPr>
            <a:endParaRPr lang="th-TH"/>
          </a:p>
        </c:txPr>
        <c:crossAx val="61729408"/>
        <c:crosses val="max"/>
        <c:crossBetween val="between"/>
      </c:valAx>
      <c:catAx>
        <c:axId val="61729408"/>
        <c:scaling>
          <c:orientation val="minMax"/>
        </c:scaling>
        <c:delete val="1"/>
        <c:axPos val="b"/>
        <c:tickLblPos val="nextTo"/>
        <c:crossAx val="61727104"/>
        <c:crosses val="autoZero"/>
        <c:auto val="1"/>
        <c:lblAlgn val="ctr"/>
        <c:lblOffset val="100"/>
      </c:catAx>
    </c:plotArea>
    <c:legend>
      <c:legendPos val="r"/>
      <c:layout>
        <c:manualLayout>
          <c:xMode val="edge"/>
          <c:yMode val="edge"/>
          <c:x val="0.84900558051578168"/>
          <c:y val="0.66275933971216883"/>
          <c:w val="0.12672294562241601"/>
          <c:h val="0.12496463054701873"/>
        </c:manualLayout>
      </c:layout>
      <c:txPr>
        <a:bodyPr/>
        <a:lstStyle/>
        <a:p>
          <a:pPr>
            <a:defRPr lang="en-US" sz="1000" b="1"/>
          </a:pPr>
          <a:endParaRPr lang="th-TH"/>
        </a:p>
      </c:txPr>
    </c:legend>
    <c:plotVisOnly val="1"/>
    <c:dispBlanksAs val="zero"/>
  </c:chart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h-TH"/>
  <c:style val="26"/>
  <c:chart>
    <c:title>
      <c:tx>
        <c:rich>
          <a:bodyPr/>
          <a:lstStyle/>
          <a:p>
            <a:pPr>
              <a:defRPr lang="en-US"/>
            </a:pPr>
            <a:r>
              <a:rPr lang="en-US" sz="1400" b="1" i="0" u="none" strike="noStrike" baseline="0"/>
              <a:t>Immunology </a:t>
            </a:r>
          </a:p>
          <a:p>
            <a:pPr>
              <a:defRPr lang="en-US"/>
            </a:pPr>
            <a:r>
              <a:rPr lang="en-US" sz="1400" b="1" i="0" baseline="0"/>
              <a:t>(2000-2008)</a:t>
            </a:r>
            <a:endParaRPr lang="en-US" sz="1400"/>
          </a:p>
        </c:rich>
      </c:tx>
      <c:layout/>
    </c:title>
    <c:plotArea>
      <c:layout/>
      <c:barChart>
        <c:barDir val="col"/>
        <c:grouping val="clustered"/>
        <c:ser>
          <c:idx val="1"/>
          <c:order val="1"/>
          <c:tx>
            <c:v>Citations</c:v>
          </c:tx>
          <c:spPr>
            <a:solidFill>
              <a:schemeClr val="tx2"/>
            </a:solidFill>
          </c:spPr>
          <c:dPt>
            <c:idx val="4"/>
            <c:spPr>
              <a:solidFill>
                <a:schemeClr val="accent2"/>
              </a:solidFill>
            </c:spPr>
          </c:dPt>
          <c:dPt>
            <c:idx val="5"/>
            <c:spPr>
              <a:solidFill>
                <a:schemeClr val="accent2"/>
              </a:solidFill>
            </c:spPr>
          </c:dPt>
          <c:cat>
            <c:strRef>
              <c:f>(Sheet1!$A$50:$A$53,Sheet1!$A$55,Sheet1!$A$57:$A$58,Sheet1!$A$60:$A$62)</c:f>
              <c:strCache>
                <c:ptCount val="10"/>
                <c:pt idx="0">
                  <c:v>  Looareesuwan, S.   </c:v>
                </c:pt>
                <c:pt idx="1">
                  <c:v>  Day, N.P.J. </c:v>
                </c:pt>
                <c:pt idx="2">
                  <c:v>  Kwang, J. </c:v>
                </c:pt>
                <c:pt idx="3">
                  <c:v>  Poovorawan, Y. </c:v>
                </c:pt>
                <c:pt idx="4">
                  <c:v>  Wiwanitkit, V. </c:v>
                </c:pt>
                <c:pt idx="5">
                  <c:v>  Apisarnthanarak, A.</c:v>
                </c:pt>
                <c:pt idx="6">
                  <c:v>  Phanuphak, P. </c:v>
                </c:pt>
                <c:pt idx="7">
                  <c:v>  Wuthiekanun, V. </c:v>
                </c:pt>
                <c:pt idx="8">
                  <c:v>  Tanticharoen, M. </c:v>
                </c:pt>
                <c:pt idx="9">
                  <c:v>  Tay, J.H. </c:v>
                </c:pt>
              </c:strCache>
            </c:strRef>
          </c:cat>
          <c:val>
            <c:numRef>
              <c:f>(Sheet1!$C$50:$C$53,Sheet1!$C$55,Sheet1!$C$57:$C$58,Sheet1!$C$60:$C$62)</c:f>
              <c:numCache>
                <c:formatCode>General</c:formatCode>
                <c:ptCount val="10"/>
                <c:pt idx="0">
                  <c:v>2049</c:v>
                </c:pt>
                <c:pt idx="1">
                  <c:v>935</c:v>
                </c:pt>
                <c:pt idx="2">
                  <c:v>693</c:v>
                </c:pt>
                <c:pt idx="3">
                  <c:v>612</c:v>
                </c:pt>
                <c:pt idx="4">
                  <c:v>85</c:v>
                </c:pt>
                <c:pt idx="5">
                  <c:v>209</c:v>
                </c:pt>
                <c:pt idx="6">
                  <c:v>908</c:v>
                </c:pt>
                <c:pt idx="7">
                  <c:v>433</c:v>
                </c:pt>
                <c:pt idx="8">
                  <c:v>228</c:v>
                </c:pt>
                <c:pt idx="9">
                  <c:v>971</c:v>
                </c:pt>
              </c:numCache>
            </c:numRef>
          </c:val>
        </c:ser>
        <c:gapWidth val="300"/>
        <c:axId val="69395200"/>
        <c:axId val="68958464"/>
      </c:barChart>
      <c:lineChart>
        <c:grouping val="stacked"/>
        <c:ser>
          <c:idx val="0"/>
          <c:order val="0"/>
          <c:tx>
            <c:v>Publications</c:v>
          </c:tx>
          <c:spPr>
            <a:ln>
              <a:solidFill>
                <a:srgbClr val="00B0F0"/>
              </a:solidFill>
            </a:ln>
          </c:spPr>
          <c:marker>
            <c:spPr>
              <a:solidFill>
                <a:srgbClr val="00B0F0"/>
              </a:solidFill>
            </c:spPr>
          </c:marker>
          <c:cat>
            <c:strRef>
              <c:f>(Sheet1!$A$50:$A$53,Sheet1!$A$55,Sheet1!$A$57:$A$58,Sheet1!$A$60:$A$62)</c:f>
              <c:strCache>
                <c:ptCount val="10"/>
                <c:pt idx="0">
                  <c:v>  Looareesuwan, S.   </c:v>
                </c:pt>
                <c:pt idx="1">
                  <c:v>  Day, N.P.J. </c:v>
                </c:pt>
                <c:pt idx="2">
                  <c:v>  Kwang, J. </c:v>
                </c:pt>
                <c:pt idx="3">
                  <c:v>  Poovorawan, Y. </c:v>
                </c:pt>
                <c:pt idx="4">
                  <c:v>  Wiwanitkit, V. </c:v>
                </c:pt>
                <c:pt idx="5">
                  <c:v>  Apisarnthanarak, A.</c:v>
                </c:pt>
                <c:pt idx="6">
                  <c:v>  Phanuphak, P. </c:v>
                </c:pt>
                <c:pt idx="7">
                  <c:v>  Wuthiekanun, V. </c:v>
                </c:pt>
                <c:pt idx="8">
                  <c:v>  Tanticharoen, M. </c:v>
                </c:pt>
                <c:pt idx="9">
                  <c:v>  Tay, J.H. </c:v>
                </c:pt>
              </c:strCache>
            </c:strRef>
          </c:cat>
          <c:val>
            <c:numRef>
              <c:f>(Sheet1!$B$50:$B$53,Sheet1!$B$55,Sheet1!$B$57:$B$58,Sheet1!$B$60:$B$62)</c:f>
              <c:numCache>
                <c:formatCode>General</c:formatCode>
                <c:ptCount val="10"/>
                <c:pt idx="0">
                  <c:v>113</c:v>
                </c:pt>
                <c:pt idx="1">
                  <c:v>63</c:v>
                </c:pt>
                <c:pt idx="2">
                  <c:v>59</c:v>
                </c:pt>
                <c:pt idx="3">
                  <c:v>59</c:v>
                </c:pt>
                <c:pt idx="4">
                  <c:v>58</c:v>
                </c:pt>
                <c:pt idx="5">
                  <c:v>55</c:v>
                </c:pt>
                <c:pt idx="6">
                  <c:v>53</c:v>
                </c:pt>
                <c:pt idx="7">
                  <c:v>50</c:v>
                </c:pt>
                <c:pt idx="8">
                  <c:v>49</c:v>
                </c:pt>
                <c:pt idx="9">
                  <c:v>47</c:v>
                </c:pt>
              </c:numCache>
            </c:numRef>
          </c:val>
        </c:ser>
        <c:hiLowLines/>
        <c:marker val="1"/>
        <c:axId val="62583936"/>
        <c:axId val="68956544"/>
      </c:lineChart>
      <c:catAx>
        <c:axId val="62583936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 lang="th-TH"/>
                </a:pPr>
                <a:r>
                  <a:rPr lang="en-US"/>
                  <a:t>Authors</a:t>
                </a:r>
              </a:p>
            </c:rich>
          </c:tx>
          <c:layout/>
        </c:title>
        <c:numFmt formatCode="General" sourceLinked="1"/>
        <c:majorTickMark val="none"/>
        <c:tickLblPos val="nextTo"/>
        <c:txPr>
          <a:bodyPr/>
          <a:lstStyle/>
          <a:p>
            <a:pPr>
              <a:defRPr lang="en-US" b="1"/>
            </a:pPr>
            <a:endParaRPr lang="th-TH"/>
          </a:p>
        </c:txPr>
        <c:crossAx val="68956544"/>
        <c:crosses val="autoZero"/>
        <c:auto val="1"/>
        <c:lblAlgn val="ctr"/>
        <c:lblOffset val="100"/>
      </c:catAx>
      <c:valAx>
        <c:axId val="68956544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 algn="ctr" rtl="0">
                  <a:defRPr lang="en-US" sz="11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rPr>
                  <a:t>Publication</a:t>
                </a:r>
              </a:p>
            </c:rich>
          </c:tx>
          <c:layout/>
        </c:title>
        <c:numFmt formatCode="General" sourceLinked="1"/>
        <c:tickLblPos val="nextTo"/>
        <c:txPr>
          <a:bodyPr/>
          <a:lstStyle/>
          <a:p>
            <a:pPr>
              <a:defRPr lang="en-US" b="1"/>
            </a:pPr>
            <a:endParaRPr lang="th-TH"/>
          </a:p>
        </c:txPr>
        <c:crossAx val="62583936"/>
        <c:crosses val="autoZero"/>
        <c:crossBetween val="between"/>
      </c:valAx>
      <c:valAx>
        <c:axId val="68958464"/>
        <c:scaling>
          <c:orientation val="minMax"/>
        </c:scaling>
        <c:axPos val="r"/>
        <c:numFmt formatCode="General" sourceLinked="1"/>
        <c:tickLblPos val="nextTo"/>
        <c:txPr>
          <a:bodyPr/>
          <a:lstStyle/>
          <a:p>
            <a:pPr>
              <a:defRPr lang="en-US" b="1"/>
            </a:pPr>
            <a:endParaRPr lang="th-TH"/>
          </a:p>
        </c:txPr>
        <c:crossAx val="69395200"/>
        <c:crosses val="max"/>
        <c:crossBetween val="between"/>
      </c:valAx>
      <c:catAx>
        <c:axId val="69395200"/>
        <c:scaling>
          <c:orientation val="minMax"/>
        </c:scaling>
        <c:delete val="1"/>
        <c:axPos val="b"/>
        <c:tickLblPos val="nextTo"/>
        <c:crossAx val="68958464"/>
        <c:crosses val="autoZero"/>
        <c:auto val="1"/>
        <c:lblAlgn val="ctr"/>
        <c:lblOffset val="100"/>
      </c:catAx>
    </c:plotArea>
    <c:legend>
      <c:legendPos val="r"/>
      <c:layout>
        <c:manualLayout>
          <c:xMode val="edge"/>
          <c:yMode val="edge"/>
          <c:x val="0.80802881035219565"/>
          <c:y val="0.64537838802592551"/>
          <c:w val="0.13668961179299721"/>
          <c:h val="0.17644039654510493"/>
        </c:manualLayout>
      </c:layout>
      <c:txPr>
        <a:bodyPr/>
        <a:lstStyle/>
        <a:p>
          <a:pPr>
            <a:defRPr lang="en-US" sz="1000" b="1"/>
          </a:pPr>
          <a:endParaRPr lang="th-TH"/>
        </a:p>
      </c:txPr>
    </c:legend>
    <c:plotVisOnly val="1"/>
    <c:dispBlanksAs val="zero"/>
  </c:chart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th-TH"/>
  <c:style val="26"/>
  <c:chart>
    <c:title>
      <c:tx>
        <c:rich>
          <a:bodyPr/>
          <a:lstStyle/>
          <a:p>
            <a:pPr>
              <a:defRPr lang="en-US" sz="1400"/>
            </a:pPr>
            <a:r>
              <a:rPr lang="en-US" sz="1400" b="1" i="0" u="none" strike="noStrike" baseline="0"/>
              <a:t>Agricultural and Biological Sciences </a:t>
            </a:r>
            <a:br>
              <a:rPr lang="en-US" sz="1400" b="1" i="0" u="none" strike="noStrike" baseline="0"/>
            </a:br>
            <a:r>
              <a:rPr lang="en-US" sz="1400" b="1" i="0" u="none" strike="noStrike" baseline="0"/>
              <a:t>(</a:t>
            </a:r>
            <a:r>
              <a:rPr lang="en-US" sz="1400" b="1" i="0" baseline="0"/>
              <a:t>2000-2008)</a:t>
            </a:r>
            <a:endParaRPr lang="en-US" sz="1400"/>
          </a:p>
        </c:rich>
      </c:tx>
      <c:layout/>
    </c:title>
    <c:plotArea>
      <c:layout/>
      <c:barChart>
        <c:barDir val="col"/>
        <c:grouping val="clustered"/>
        <c:ser>
          <c:idx val="1"/>
          <c:order val="1"/>
          <c:tx>
            <c:v>Citaitions</c:v>
          </c:tx>
          <c:spPr>
            <a:solidFill>
              <a:schemeClr val="tx2"/>
            </a:solidFill>
          </c:spPr>
          <c:dPt>
            <c:idx val="4"/>
            <c:spPr>
              <a:solidFill>
                <a:schemeClr val="accent2"/>
              </a:solidFill>
            </c:spPr>
          </c:dPt>
          <c:dPt>
            <c:idx val="5"/>
            <c:spPr>
              <a:solidFill>
                <a:schemeClr val="accent2"/>
              </a:solidFill>
            </c:spPr>
          </c:dPt>
          <c:cat>
            <c:strRef>
              <c:f>(Sheet1!$A$25,Sheet1!$A$27,Sheet1!$A$30,Sheet1!$A$32:$A$33,Sheet1!$A$36,Sheet1!$A$38:$A$40,Sheet1!$A$42)</c:f>
              <c:strCache>
                <c:ptCount val="10"/>
                <c:pt idx="0">
                  <c:v>Wanapat, M.</c:v>
                </c:pt>
                <c:pt idx="1">
                  <c:v>Peng, S.</c:v>
                </c:pt>
                <c:pt idx="2">
                  <c:v>Khush, G.S.</c:v>
                </c:pt>
                <c:pt idx="3">
                  <c:v>Bouman, B.A.M.</c:v>
                </c:pt>
                <c:pt idx="4">
                  <c:v>Wade, L.J. </c:v>
                </c:pt>
                <c:pt idx="5">
                  <c:v>Sriroth, K.</c:v>
                </c:pt>
                <c:pt idx="6">
                  <c:v>Bennett, J.</c:v>
                </c:pt>
                <c:pt idx="7">
                  <c:v>Tuong, T.P.</c:v>
                </c:pt>
                <c:pt idx="8">
                  <c:v>Withyachumnarnkul, B.</c:v>
                </c:pt>
                <c:pt idx="9">
                  <c:v>Buresh, R.J.</c:v>
                </c:pt>
              </c:strCache>
            </c:strRef>
          </c:cat>
          <c:val>
            <c:numRef>
              <c:f>(Sheet1!$C$25,Sheet1!$C$27,Sheet1!$C$30,Sheet1!$C$32:$C$33,Sheet1!$C$36,Sheet1!$C$38:$C$40,Sheet1!$C$42)</c:f>
              <c:numCache>
                <c:formatCode>General</c:formatCode>
                <c:ptCount val="10"/>
                <c:pt idx="0">
                  <c:v>336</c:v>
                </c:pt>
                <c:pt idx="1">
                  <c:v>471</c:v>
                </c:pt>
                <c:pt idx="2">
                  <c:v>545</c:v>
                </c:pt>
                <c:pt idx="3">
                  <c:v>448</c:v>
                </c:pt>
                <c:pt idx="4">
                  <c:v>352</c:v>
                </c:pt>
                <c:pt idx="5">
                  <c:v>92</c:v>
                </c:pt>
                <c:pt idx="6">
                  <c:v>258</c:v>
                </c:pt>
                <c:pt idx="7">
                  <c:v>262</c:v>
                </c:pt>
                <c:pt idx="8">
                  <c:v>130</c:v>
                </c:pt>
                <c:pt idx="9">
                  <c:v>89</c:v>
                </c:pt>
              </c:numCache>
            </c:numRef>
          </c:val>
        </c:ser>
        <c:gapWidth val="300"/>
        <c:axId val="71318912"/>
        <c:axId val="71317376"/>
      </c:barChart>
      <c:lineChart>
        <c:grouping val="stacked"/>
        <c:ser>
          <c:idx val="0"/>
          <c:order val="0"/>
          <c:tx>
            <c:v>Publications</c:v>
          </c:tx>
          <c:spPr>
            <a:ln>
              <a:solidFill>
                <a:srgbClr val="00B0F0"/>
              </a:solidFill>
            </a:ln>
          </c:spPr>
          <c:marker>
            <c:spPr>
              <a:solidFill>
                <a:srgbClr val="00B0F0"/>
              </a:solidFill>
            </c:spPr>
          </c:marker>
          <c:cat>
            <c:strRef>
              <c:f>(Sheet1!$A$25,Sheet1!$A$27,Sheet1!$A$30,Sheet1!$A$32:$A$33,Sheet1!$A$36,Sheet1!$A$38:$A$40,Sheet1!$A$42)</c:f>
              <c:strCache>
                <c:ptCount val="10"/>
                <c:pt idx="0">
                  <c:v>Wanapat, M.</c:v>
                </c:pt>
                <c:pt idx="1">
                  <c:v>Peng, S.</c:v>
                </c:pt>
                <c:pt idx="2">
                  <c:v>Khush, G.S.</c:v>
                </c:pt>
                <c:pt idx="3">
                  <c:v>Bouman, B.A.M.</c:v>
                </c:pt>
                <c:pt idx="4">
                  <c:v>Wade, L.J. </c:v>
                </c:pt>
                <c:pt idx="5">
                  <c:v>Sriroth, K.</c:v>
                </c:pt>
                <c:pt idx="6">
                  <c:v>Bennett, J.</c:v>
                </c:pt>
                <c:pt idx="7">
                  <c:v>Tuong, T.P.</c:v>
                </c:pt>
                <c:pt idx="8">
                  <c:v>Withyachumnarnkul, B.</c:v>
                </c:pt>
                <c:pt idx="9">
                  <c:v>Buresh, R.J.</c:v>
                </c:pt>
              </c:strCache>
            </c:strRef>
          </c:cat>
          <c:val>
            <c:numRef>
              <c:f>(Sheet1!$B$25,Sheet1!$B$27,Sheet1!$B$30,Sheet1!$B$32:$B$33,Sheet1!$B$36,Sheet1!$B$38:$B$40,Sheet1!$B$42)</c:f>
              <c:numCache>
                <c:formatCode>General</c:formatCode>
                <c:ptCount val="10"/>
                <c:pt idx="0">
                  <c:v>52</c:v>
                </c:pt>
                <c:pt idx="1">
                  <c:v>42</c:v>
                </c:pt>
                <c:pt idx="2">
                  <c:v>29</c:v>
                </c:pt>
                <c:pt idx="3">
                  <c:v>27</c:v>
                </c:pt>
                <c:pt idx="4">
                  <c:v>22</c:v>
                </c:pt>
                <c:pt idx="5">
                  <c:v>21</c:v>
                </c:pt>
                <c:pt idx="6">
                  <c:v>19</c:v>
                </c:pt>
                <c:pt idx="7">
                  <c:v>19</c:v>
                </c:pt>
                <c:pt idx="8">
                  <c:v>18</c:v>
                </c:pt>
                <c:pt idx="9">
                  <c:v>18</c:v>
                </c:pt>
              </c:numCache>
            </c:numRef>
          </c:val>
        </c:ser>
        <c:hiLowLines/>
        <c:marker val="1"/>
        <c:axId val="70460544"/>
        <c:axId val="70462464"/>
      </c:lineChart>
      <c:catAx>
        <c:axId val="70460544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 lang="th-TH"/>
                </a:pPr>
                <a:r>
                  <a:rPr lang="en-US"/>
                  <a:t>Authors</a:t>
                </a:r>
              </a:p>
            </c:rich>
          </c:tx>
          <c:layout/>
        </c:title>
        <c:numFmt formatCode="General" sourceLinked="1"/>
        <c:majorTickMark val="none"/>
        <c:tickLblPos val="nextTo"/>
        <c:txPr>
          <a:bodyPr/>
          <a:lstStyle/>
          <a:p>
            <a:pPr>
              <a:defRPr lang="en-US" b="1"/>
            </a:pPr>
            <a:endParaRPr lang="th-TH"/>
          </a:p>
        </c:txPr>
        <c:crossAx val="70462464"/>
        <c:crosses val="autoZero"/>
        <c:auto val="1"/>
        <c:lblAlgn val="ctr"/>
        <c:lblOffset val="100"/>
      </c:catAx>
      <c:valAx>
        <c:axId val="70462464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 algn="ctr" rtl="0">
                  <a:defRPr lang="en-US" sz="11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1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rPr>
                  <a:t>Publication</a:t>
                </a:r>
              </a:p>
            </c:rich>
          </c:tx>
          <c:layout/>
        </c:title>
        <c:numFmt formatCode="General" sourceLinked="1"/>
        <c:tickLblPos val="nextTo"/>
        <c:txPr>
          <a:bodyPr/>
          <a:lstStyle/>
          <a:p>
            <a:pPr>
              <a:defRPr lang="en-US" b="1"/>
            </a:pPr>
            <a:endParaRPr lang="th-TH"/>
          </a:p>
        </c:txPr>
        <c:crossAx val="70460544"/>
        <c:crosses val="autoZero"/>
        <c:crossBetween val="between"/>
      </c:valAx>
      <c:valAx>
        <c:axId val="71317376"/>
        <c:scaling>
          <c:orientation val="minMax"/>
        </c:scaling>
        <c:axPos val="r"/>
        <c:numFmt formatCode="General" sourceLinked="1"/>
        <c:tickLblPos val="nextTo"/>
        <c:txPr>
          <a:bodyPr/>
          <a:lstStyle/>
          <a:p>
            <a:pPr>
              <a:defRPr lang="en-US" b="1"/>
            </a:pPr>
            <a:endParaRPr lang="th-TH"/>
          </a:p>
        </c:txPr>
        <c:crossAx val="71318912"/>
        <c:crosses val="max"/>
        <c:crossBetween val="between"/>
      </c:valAx>
      <c:catAx>
        <c:axId val="71318912"/>
        <c:scaling>
          <c:orientation val="minMax"/>
        </c:scaling>
        <c:delete val="1"/>
        <c:axPos val="b"/>
        <c:tickLblPos val="nextTo"/>
        <c:crossAx val="71317376"/>
        <c:crosses val="autoZero"/>
        <c:auto val="1"/>
        <c:lblAlgn val="ctr"/>
        <c:lblOffset val="100"/>
      </c:catAx>
    </c:plotArea>
    <c:legend>
      <c:legendPos val="r"/>
      <c:layout>
        <c:manualLayout>
          <c:xMode val="edge"/>
          <c:yMode val="edge"/>
          <c:x val="0.8236064401834795"/>
          <c:y val="0.61809910396043966"/>
          <c:w val="0.13668961179299721"/>
          <c:h val="0.17644039654510493"/>
        </c:manualLayout>
      </c:layout>
      <c:txPr>
        <a:bodyPr/>
        <a:lstStyle/>
        <a:p>
          <a:pPr>
            <a:defRPr lang="en-US" sz="1000" b="1"/>
          </a:pPr>
          <a:endParaRPr lang="th-TH"/>
        </a:p>
      </c:txPr>
    </c:legend>
    <c:plotVisOnly val="1"/>
    <c:dispBlanksAs val="zero"/>
  </c:chart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0549</cdr:x>
      <cdr:y>0.33333</cdr:y>
    </cdr:from>
    <cdr:to>
      <cdr:x>0.92768</cdr:x>
      <cdr:y>0.3786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239004" y="1154204"/>
          <a:ext cx="1098174" cy="15688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vert" wrap="none" rtlCol="0"/>
        <a:lstStyle xmlns:a="http://schemas.openxmlformats.org/drawingml/2006/main"/>
        <a:p xmlns:a="http://schemas.openxmlformats.org/drawingml/2006/main">
          <a:r>
            <a:rPr lang="en-US" sz="1100" b="1"/>
            <a:t>Citations</a:t>
          </a:r>
          <a:endParaRPr lang="th-TH" sz="1100" b="1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051</cdr:x>
      <cdr:y>0.35048</cdr:y>
    </cdr:from>
    <cdr:to>
      <cdr:x>0.91879</cdr:x>
      <cdr:y>0.414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776884" y="1221441"/>
          <a:ext cx="1098174" cy="2241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vert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en-US" sz="1100" b="1"/>
            <a:t>Citation</a:t>
          </a:r>
          <a:endParaRPr lang="th-TH" sz="1100" b="1"/>
        </a:p>
      </cdr:txBody>
    </cdr:sp>
  </cdr:relSizeAnchor>
  <cdr:relSizeAnchor xmlns:cdr="http://schemas.openxmlformats.org/drawingml/2006/chartDrawing">
    <cdr:from>
      <cdr:x>0.8051</cdr:x>
      <cdr:y>0.35048</cdr:y>
    </cdr:from>
    <cdr:to>
      <cdr:x>0.91879</cdr:x>
      <cdr:y>0.41479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7776884" y="1221441"/>
          <a:ext cx="1098174" cy="2241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vert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en-US" sz="1100"/>
            <a:t>Citatio</a:t>
          </a:r>
          <a:r>
            <a:rPr lang="en-US" sz="1100" b="1"/>
            <a:t>ns</a:t>
          </a:r>
          <a:endParaRPr lang="th-TH" sz="1100" b="1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8051</cdr:x>
      <cdr:y>0.35048</cdr:y>
    </cdr:from>
    <cdr:to>
      <cdr:x>0.91879</cdr:x>
      <cdr:y>0.414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7776884" y="1221441"/>
          <a:ext cx="1098174" cy="2241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vert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en-US" sz="1100" b="1"/>
            <a:t>Citation</a:t>
          </a:r>
          <a:endParaRPr lang="th-TH" sz="1100" b="1"/>
        </a:p>
      </cdr:txBody>
    </cdr:sp>
  </cdr:relSizeAnchor>
  <cdr:relSizeAnchor xmlns:cdr="http://schemas.openxmlformats.org/drawingml/2006/chartDrawing">
    <cdr:from>
      <cdr:x>0.8051</cdr:x>
      <cdr:y>0.35048</cdr:y>
    </cdr:from>
    <cdr:to>
      <cdr:x>0.91879</cdr:x>
      <cdr:y>0.41479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7776884" y="1221441"/>
          <a:ext cx="1098174" cy="22411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vert" wrap="non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en-US" sz="1100"/>
            <a:t>Citatio</a:t>
          </a:r>
          <a:r>
            <a:rPr lang="en-US" sz="1100" b="1"/>
            <a:t>ns</a:t>
          </a:r>
          <a:endParaRPr lang="th-TH" sz="1100" b="1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0BBDE2-7BBB-40C8-8E4C-A2ABDF988D08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CD1249-F134-41C4-9B7C-EFB8C37DC7F8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DB412C1-A7C8-41B4-AD40-0AE601E1F3AE}" type="slidenum">
              <a:rPr lang="en-US" smtClean="0"/>
              <a:pPr/>
              <a:t>1</a:t>
            </a:fld>
            <a:endParaRPr lang="en-US" smtClean="0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h-TH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67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A8C414B-25E2-41A9-9AED-835B3D5C50CD}" type="slidenum">
              <a:rPr lang="en-GB" smtClean="0"/>
              <a:pPr/>
              <a:t>23</a:t>
            </a:fld>
            <a:endParaRPr lang="en-GB" smtClean="0"/>
          </a:p>
        </p:txBody>
      </p:sp>
      <p:sp>
        <p:nvSpPr>
          <p:cNvPr id="412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267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817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418818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41881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2C7DC80-4836-4665-BAED-65B665914246}" type="slidenum">
              <a:rPr lang="en-GB" smtClean="0"/>
              <a:pPr/>
              <a:t>24</a:t>
            </a:fld>
            <a:endParaRPr lang="en-GB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70D7B1B-DA2F-40F4-9024-5EBF3B35CB8C}" type="slidenum">
              <a:rPr lang="en-US" smtClean="0"/>
              <a:pPr/>
              <a:t>7</a:t>
            </a:fld>
            <a:endParaRPr lang="en-US" smtClean="0"/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th-TH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D1249-F134-41C4-9B7C-EFB8C37DC7F8}" type="slidenum">
              <a:rPr lang="en-US" smtClean="0"/>
              <a:pPr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D1249-F134-41C4-9B7C-EFB8C37DC7F8}" type="slidenum">
              <a:rPr lang="en-US" smtClean="0"/>
              <a:pPr/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D1249-F134-41C4-9B7C-EFB8C37DC7F8}" type="slidenum">
              <a:rPr lang="en-US" smtClean="0"/>
              <a:pPr/>
              <a:t>18</a:t>
            </a:fld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CD1249-F134-41C4-9B7C-EFB8C37DC7F8}" type="slidenum">
              <a:rPr lang="en-US" smtClean="0"/>
              <a:pPr/>
              <a:t>19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0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40960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409603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1EA525-BDA7-4850-B48E-0479FBBE3DD8}" type="slidenum">
              <a:rPr lang="en-GB" smtClean="0"/>
              <a:pPr/>
              <a:t>20</a:t>
            </a:fld>
            <a:endParaRPr lang="en-GB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505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405506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405507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7C1FD15-2B82-4293-B886-C3EB5B237955}" type="slidenum">
              <a:rPr lang="en-GB" smtClean="0"/>
              <a:pPr/>
              <a:t>21</a:t>
            </a:fld>
            <a:endParaRPr lang="en-GB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69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416770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416771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C32B558-357B-4A6D-8213-81CA272BDC42}" type="slidenum">
              <a:rPr lang="en-GB" smtClean="0"/>
              <a:pPr/>
              <a:t>22</a:t>
            </a:fld>
            <a:endParaRPr lang="en-GB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11AA7-E7D1-4201-988A-0285E2989363}" type="datetimeFigureOut">
              <a:rPr lang="en-US" smtClean="0"/>
              <a:pPr/>
              <a:t>8/10/200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908350-7FCC-4702-AFAC-D74A6505FDE8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25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24.png"/><Relationship Id="rId2" Type="http://schemas.openxmlformats.org/officeDocument/2006/relationships/tags" Target="../tags/tag1.xml"/><Relationship Id="rId16" Type="http://schemas.openxmlformats.org/officeDocument/2006/relationships/image" Target="../media/image23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notesSlide" Target="../notesSlides/notesSlide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image" Target="../media/image27.emf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26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5.xml"/><Relationship Id="rId15" Type="http://schemas.openxmlformats.org/officeDocument/2006/relationships/image" Target="../media/image25.png"/><Relationship Id="rId10" Type="http://schemas.openxmlformats.org/officeDocument/2006/relationships/notesSlide" Target="../notesSlides/notesSlide8.xml"/><Relationship Id="rId4" Type="http://schemas.openxmlformats.org/officeDocument/2006/relationships/tags" Target="../tags/tag1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24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3" Type="http://schemas.openxmlformats.org/officeDocument/2006/relationships/tags" Target="../tags/tag20.xml"/><Relationship Id="rId21" Type="http://schemas.openxmlformats.org/officeDocument/2006/relationships/notesSlide" Target="../notesSlides/notesSlide9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30.emf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image" Target="../media/image29.emf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image" Target="../media/image28.emf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oleObject" Target="../embeddings/oleObject3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1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5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524000" y="4648200"/>
            <a:ext cx="6400800" cy="1295400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800" b="1" dirty="0" smtClean="0">
                <a:solidFill>
                  <a:srgbClr val="0070C0"/>
                </a:solidFill>
              </a:rPr>
              <a:t>Prof. Peter Haddawy</a:t>
            </a:r>
            <a:br>
              <a:rPr lang="en-US" sz="2800" b="1" dirty="0" smtClean="0">
                <a:solidFill>
                  <a:srgbClr val="0070C0"/>
                </a:solidFill>
              </a:rPr>
            </a:br>
            <a:r>
              <a:rPr lang="en-US" sz="2800" dirty="0" smtClean="0">
                <a:solidFill>
                  <a:srgbClr val="002060"/>
                </a:solidFill>
              </a:rPr>
              <a:t>Vice President for Academic Affairs</a:t>
            </a: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sz="2800" dirty="0" smtClean="0">
                <a:solidFill>
                  <a:srgbClr val="002060"/>
                </a:solidFill>
              </a:rPr>
              <a:t>Asian Institute of Technology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57200" y="22098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dirty="0" smtClean="0">
                <a:latin typeface="+mj-lt"/>
                <a:ea typeface="+mj-ea"/>
                <a:cs typeface="+mj-cs"/>
              </a:rPr>
              <a:t>Increasing ASEAN Research Competitiveness</a:t>
            </a:r>
            <a:endParaRPr lang="en-US" sz="3600" b="1" dirty="0" smtClean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863218" y="228600"/>
            <a:ext cx="3899782" cy="266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8600" y="3048000"/>
            <a:ext cx="6878878" cy="36299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52400" y="228601"/>
            <a:ext cx="7772400" cy="761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Nanotechnology</a:t>
            </a:r>
          </a:p>
          <a:p>
            <a:pPr>
              <a:spcBef>
                <a:spcPct val="0"/>
              </a:spcBef>
            </a:pPr>
            <a:r>
              <a:rPr lang="en-US" sz="2800" dirty="0" smtClean="0"/>
              <a:t>Citations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6200" y="76200"/>
            <a:ext cx="7772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Nanotechnology: Singapo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Publications</a:t>
            </a:r>
            <a:endParaRPr lang="en-US" sz="2800" dirty="0">
              <a:latin typeface="+mj-lt"/>
              <a:ea typeface="+mj-ea"/>
              <a:cs typeface="+mj-cs"/>
            </a:endParaRPr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8600" y="2971800"/>
            <a:ext cx="5766225" cy="358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38800" y="762000"/>
            <a:ext cx="3397976" cy="247785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6200" y="76200"/>
            <a:ext cx="7772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Nanotechnology: Singapo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smtClean="0">
                <a:latin typeface="+mj-lt"/>
                <a:ea typeface="+mj-ea"/>
                <a:cs typeface="+mj-cs"/>
              </a:rPr>
              <a:t>Citations</a:t>
            </a:r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4801" y="3316248"/>
            <a:ext cx="5638800" cy="3265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150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24400" y="827383"/>
            <a:ext cx="4191000" cy="2601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>
            <a:graphicFrameLocks/>
          </p:cNvGraphicFramePr>
          <p:nvPr/>
        </p:nvGraphicFramePr>
        <p:xfrm>
          <a:off x="609600" y="1981200"/>
          <a:ext cx="8077200" cy="4267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304800"/>
            <a:ext cx="8305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latin typeface="+mj-lt"/>
                <a:ea typeface="+mj-ea"/>
                <a:cs typeface="+mj-cs"/>
              </a:rPr>
              <a:t>Top Researchers In ASEAN</a:t>
            </a:r>
            <a:r>
              <a:rPr lang="en-US" sz="3200" b="1" dirty="0" smtClean="0"/>
              <a:t> </a:t>
            </a:r>
            <a:endParaRPr lang="en-US" sz="3200" dirty="0" smtClean="0"/>
          </a:p>
          <a:p>
            <a:r>
              <a:rPr lang="en-US" sz="3200" dirty="0" smtClean="0"/>
              <a:t>Subject Area: </a:t>
            </a:r>
            <a:r>
              <a:rPr lang="en-US" sz="2400" dirty="0" smtClean="0"/>
              <a:t>Nanotechnology</a:t>
            </a:r>
            <a:endParaRPr lang="th-TH" sz="2400" dirty="0">
              <a:latin typeface="+mj-lt"/>
              <a:ea typeface="+mj-ea"/>
              <a:cs typeface="+mj-cs"/>
            </a:endParaRPr>
          </a:p>
        </p:txBody>
      </p:sp>
      <p:cxnSp>
        <p:nvCxnSpPr>
          <p:cNvPr id="8" name="Straight Arrow Connector 7"/>
          <p:cNvCxnSpPr/>
          <p:nvPr/>
        </p:nvCxnSpPr>
        <p:spPr>
          <a:xfrm rot="16200000" flipH="1">
            <a:off x="5676900" y="3695700"/>
            <a:ext cx="990600" cy="457200"/>
          </a:xfrm>
          <a:prstGeom prst="straightConnector1">
            <a:avLst/>
          </a:prstGeom>
          <a:ln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5257800" y="2895600"/>
            <a:ext cx="1447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accent2">
                    <a:lumMod val="75000"/>
                  </a:schemeClr>
                </a:solidFill>
              </a:rPr>
              <a:t>Junior Researcher</a:t>
            </a:r>
            <a:endParaRPr lang="en-US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595086" y="2057401"/>
          <a:ext cx="8091714" cy="362016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504578"/>
                <a:gridCol w="5587136"/>
              </a:tblGrid>
              <a:tr h="24009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/>
                        <a:t>Author</a:t>
                      </a:r>
                      <a:endParaRPr lang="en-US" sz="20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/>
                        <a:t>Current Affiliation</a:t>
                      </a:r>
                      <a:endParaRPr lang="en-US" sz="20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2400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Chua</a:t>
                      </a:r>
                      <a:r>
                        <a:rPr lang="en-US" sz="1400" u="none" strike="noStrike" dirty="0"/>
                        <a:t>, S.J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National </a:t>
                      </a:r>
                      <a:r>
                        <a:rPr lang="en-US" sz="1400" u="none" strike="noStrike" dirty="0"/>
                        <a:t>University of Singapor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48019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Lee</a:t>
                      </a:r>
                      <a:r>
                        <a:rPr lang="en-US" sz="1400" u="none" strike="noStrike" dirty="0"/>
                        <a:t>, J.Y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National </a:t>
                      </a:r>
                      <a:r>
                        <a:rPr lang="en-US" sz="1400" u="none" strike="noStrike" dirty="0"/>
                        <a:t>University of Singapore, Department of Chemical and </a:t>
                      </a:r>
                      <a:r>
                        <a:rPr lang="en-US" sz="1400" u="none" strike="noStrike" dirty="0" err="1"/>
                        <a:t>Biomolecular</a:t>
                      </a:r>
                      <a:r>
                        <a:rPr lang="en-US" sz="1400" u="none" strike="noStrike" dirty="0"/>
                        <a:t> </a:t>
                      </a:r>
                      <a:r>
                        <a:rPr lang="en-US" sz="1400" u="none" strike="noStrike" dirty="0" smtClean="0"/>
                        <a:t>    Engineeri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400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Wee</a:t>
                      </a:r>
                      <a:r>
                        <a:rPr lang="en-US" sz="1400" u="none" strike="noStrike" dirty="0"/>
                        <a:t>, A.T.S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National </a:t>
                      </a:r>
                      <a:r>
                        <a:rPr lang="en-US" sz="1400" u="none" strike="noStrike" dirty="0"/>
                        <a:t>University of </a:t>
                      </a:r>
                      <a:r>
                        <a:rPr lang="en-US" sz="1400" u="none" strike="noStrike" dirty="0" smtClean="0"/>
                        <a:t>Singapor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400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Sow</a:t>
                      </a:r>
                      <a:r>
                        <a:rPr lang="en-US" sz="1400" u="none" strike="noStrike" dirty="0"/>
                        <a:t>, C.H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National </a:t>
                      </a:r>
                      <a:r>
                        <a:rPr lang="en-US" sz="1400" u="none" strike="noStrike" dirty="0"/>
                        <a:t>University of Singapore, Department of Physic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22859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smtClean="0"/>
                        <a:t> Li</a:t>
                      </a:r>
                      <a:r>
                        <a:rPr lang="en-US" sz="1400" b="1" u="none" strike="noStrike" dirty="0"/>
                        <a:t>, C.M.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smtClean="0"/>
                        <a:t> </a:t>
                      </a:r>
                      <a:r>
                        <a:rPr lang="en-US" sz="1400" b="1" u="none" strike="noStrike" dirty="0" err="1" smtClean="0"/>
                        <a:t>Nanyang</a:t>
                      </a:r>
                      <a:r>
                        <a:rPr lang="en-US" sz="1400" b="1" u="none" strike="noStrike" dirty="0" smtClean="0"/>
                        <a:t> </a:t>
                      </a:r>
                      <a:r>
                        <a:rPr lang="en-US" sz="1400" b="1" u="none" strike="noStrike" dirty="0"/>
                        <a:t>Technological University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8019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Yoon</a:t>
                      </a:r>
                      <a:r>
                        <a:rPr lang="en-US" sz="1400" u="none" strike="noStrike" dirty="0"/>
                        <a:t>, S.F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Nanyang</a:t>
                      </a:r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/>
                        <a:t>Technological University, School of Electrical and Electronic Engineeri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3527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Tay</a:t>
                      </a:r>
                      <a:r>
                        <a:rPr lang="en-US" sz="1400" u="none" strike="noStrike" dirty="0"/>
                        <a:t>, B.K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Nanyang</a:t>
                      </a:r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/>
                        <a:t>Technological </a:t>
                      </a:r>
                      <a:r>
                        <a:rPr lang="en-US" sz="1400" u="none" strike="noStrike" dirty="0" smtClean="0"/>
                        <a:t>University, School of Electrical and Electronic  Engineeri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48019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Shen</a:t>
                      </a:r>
                      <a:r>
                        <a:rPr lang="en-US" sz="1400" u="none" strike="noStrike" dirty="0"/>
                        <a:t>, Z.X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Nanyang</a:t>
                      </a:r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/>
                        <a:t>Technological </a:t>
                      </a:r>
                      <a:r>
                        <a:rPr lang="en-US" sz="1400" u="none" strike="noStrike" dirty="0" smtClean="0"/>
                        <a:t>University, Division of Physics and Applied Physic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24009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Balasubramanian</a:t>
                      </a:r>
                      <a:r>
                        <a:rPr lang="en-US" sz="1400" u="none" strike="noStrike" dirty="0"/>
                        <a:t>, N.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Nanyang</a:t>
                      </a:r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/>
                        <a:t>Technological Universit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0" marR="0" marT="0" marB="0" anchor="b"/>
                </a:tc>
              </a:tr>
              <a:tr h="259079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Lin</a:t>
                      </a:r>
                      <a:r>
                        <a:rPr lang="en-US" sz="1400" u="none" strike="noStrike" dirty="0"/>
                        <a:t>, J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/>
                        <a:t> Institute </a:t>
                      </a:r>
                      <a:r>
                        <a:rPr lang="en-US" sz="1400" u="none" strike="noStrike" dirty="0"/>
                        <a:t>of Chemical and Engineering Sciences, A-Star, </a:t>
                      </a:r>
                      <a:r>
                        <a:rPr lang="en-US" sz="1400" u="none" strike="noStrike" dirty="0" smtClean="0"/>
                        <a:t>Singapore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57200" y="304800"/>
            <a:ext cx="8305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latin typeface="+mj-lt"/>
                <a:ea typeface="+mj-ea"/>
                <a:cs typeface="+mj-cs"/>
              </a:rPr>
              <a:t>Top Researchers In ASEAN</a:t>
            </a:r>
            <a:r>
              <a:rPr lang="en-US" sz="3200" b="1" dirty="0" smtClean="0"/>
              <a:t> </a:t>
            </a:r>
            <a:endParaRPr lang="en-US" sz="3200" dirty="0" smtClean="0"/>
          </a:p>
          <a:p>
            <a:r>
              <a:rPr lang="en-US" sz="3200" dirty="0" smtClean="0"/>
              <a:t>Subject Area: </a:t>
            </a:r>
            <a:r>
              <a:rPr lang="en-US" sz="2400" dirty="0" smtClean="0"/>
              <a:t>Nanotechnology</a:t>
            </a:r>
            <a:endParaRPr lang="th-TH" sz="2400" dirty="0"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304800"/>
            <a:ext cx="8229600" cy="1066800"/>
          </a:xfrm>
        </p:spPr>
        <p:txBody>
          <a:bodyPr>
            <a:normAutofit fontScale="90000"/>
          </a:bodyPr>
          <a:lstStyle/>
          <a:p>
            <a:pPr algn="l"/>
            <a:r>
              <a:rPr lang="en-US" b="1" dirty="0" smtClean="0"/>
              <a:t>Immunology</a:t>
            </a:r>
            <a:r>
              <a:rPr lang="en-US" sz="4000" dirty="0" smtClean="0"/>
              <a:t> </a:t>
            </a:r>
            <a:br>
              <a:rPr lang="en-US" sz="4000" dirty="0" smtClean="0"/>
            </a:br>
            <a:r>
              <a:rPr lang="en-US" sz="3100" dirty="0" smtClean="0"/>
              <a:t>Publications</a:t>
            </a:r>
            <a:r>
              <a:rPr lang="en-US" sz="4000" dirty="0" smtClean="0"/>
              <a:t/>
            </a:r>
            <a:br>
              <a:rPr lang="en-US" sz="4000" dirty="0" smtClean="0"/>
            </a:br>
            <a:endParaRPr lang="en-US" sz="4000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400" y="3200400"/>
            <a:ext cx="5334000" cy="34284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62600" y="280987"/>
            <a:ext cx="3237649" cy="276701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6200" y="0"/>
            <a:ext cx="7772400" cy="761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Immunology: Thailand</a:t>
            </a:r>
            <a:endParaRPr lang="en-US" sz="4000" b="1" dirty="0">
              <a:latin typeface="+mj-lt"/>
              <a:ea typeface="+mj-ea"/>
              <a:cs typeface="+mj-cs"/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28600" y="3521815"/>
            <a:ext cx="4953000" cy="3031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53000" y="381000"/>
            <a:ext cx="4038600" cy="270441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76200" y="0"/>
            <a:ext cx="7772400" cy="761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Immunology: Thailand</a:t>
            </a:r>
            <a:endParaRPr lang="en-US" sz="4000" b="1" dirty="0">
              <a:latin typeface="+mj-lt"/>
              <a:ea typeface="+mj-ea"/>
              <a:cs typeface="+mj-cs"/>
            </a:endParaRPr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49261" y="685800"/>
            <a:ext cx="4566139" cy="289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2401" y="3499088"/>
            <a:ext cx="5791200" cy="320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304800"/>
            <a:ext cx="8305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latin typeface="+mj-lt"/>
                <a:ea typeface="+mj-ea"/>
                <a:cs typeface="+mj-cs"/>
              </a:rPr>
              <a:t>Top Researchers In ASEAN</a:t>
            </a:r>
            <a:r>
              <a:rPr lang="en-US" sz="3200" b="1" dirty="0" smtClean="0"/>
              <a:t> </a:t>
            </a:r>
            <a:endParaRPr lang="en-US" sz="3200" dirty="0" smtClean="0"/>
          </a:p>
          <a:p>
            <a:r>
              <a:rPr lang="en-US" sz="3200" dirty="0" smtClean="0"/>
              <a:t>Subject Area: </a:t>
            </a:r>
            <a:r>
              <a:rPr lang="en-US" sz="2400" dirty="0" smtClean="0"/>
              <a:t>Immunology</a:t>
            </a:r>
            <a:endParaRPr lang="th-TH" sz="2400" dirty="0">
              <a:latin typeface="+mj-lt"/>
              <a:ea typeface="+mj-ea"/>
              <a:cs typeface="+mj-cs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/>
        </p:nvGraphicFramePr>
        <p:xfrm>
          <a:off x="762000" y="1828800"/>
          <a:ext cx="8153400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304800"/>
            <a:ext cx="8305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latin typeface="+mj-lt"/>
                <a:ea typeface="+mj-ea"/>
                <a:cs typeface="+mj-cs"/>
              </a:rPr>
              <a:t>Top Researchers In ASEAN</a:t>
            </a:r>
            <a:r>
              <a:rPr lang="en-US" sz="3200" b="1" dirty="0" smtClean="0"/>
              <a:t> </a:t>
            </a:r>
            <a:endParaRPr lang="en-US" sz="3200" dirty="0" smtClean="0"/>
          </a:p>
          <a:p>
            <a:r>
              <a:rPr lang="en-US" sz="3200" dirty="0" smtClean="0"/>
              <a:t>Subject Area: </a:t>
            </a:r>
            <a:r>
              <a:rPr lang="en-US" sz="2400" dirty="0" smtClean="0"/>
              <a:t>Immunology</a:t>
            </a:r>
            <a:endParaRPr lang="th-TH" sz="2400" dirty="0">
              <a:latin typeface="+mj-lt"/>
              <a:ea typeface="+mj-ea"/>
              <a:cs typeface="+mj-cs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838200" y="2057400"/>
          <a:ext cx="7696200" cy="393667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382157"/>
                <a:gridCol w="5314043"/>
              </a:tblGrid>
              <a:tr h="33416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/>
                        <a:t>Author</a:t>
                      </a:r>
                      <a:endParaRPr lang="en-US" sz="18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/>
                        <a:t>Current Affiliation</a:t>
                      </a:r>
                      <a:endParaRPr lang="en-US" sz="18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33416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/>
                        <a:t>  </a:t>
                      </a:r>
                      <a:r>
                        <a:rPr lang="en-US" sz="1400" b="1" u="none" strike="noStrike" dirty="0" err="1"/>
                        <a:t>Wiwanitkit</a:t>
                      </a:r>
                      <a:r>
                        <a:rPr lang="en-US" sz="1400" b="1" u="none" strike="noStrike" dirty="0"/>
                        <a:t>, V.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smtClean="0"/>
                        <a:t> </a:t>
                      </a:r>
                      <a:r>
                        <a:rPr lang="en-US" sz="1400" b="1" u="none" strike="noStrike" dirty="0" err="1" smtClean="0"/>
                        <a:t>Mahidol</a:t>
                      </a:r>
                      <a:r>
                        <a:rPr lang="en-US" sz="1400" b="1" u="none" strike="noStrike" dirty="0" smtClean="0"/>
                        <a:t> </a:t>
                      </a:r>
                      <a:r>
                        <a:rPr lang="en-US" sz="1400" b="1" u="none" strike="noStrike" dirty="0"/>
                        <a:t>University, Faculty of Public Health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416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/>
                        <a:t>  </a:t>
                      </a:r>
                      <a:r>
                        <a:rPr lang="en-US" sz="1400" u="none" strike="noStrike" dirty="0" err="1"/>
                        <a:t>Looareesuwan</a:t>
                      </a:r>
                      <a:r>
                        <a:rPr lang="en-US" sz="1400" u="none" strike="noStrike" dirty="0"/>
                        <a:t>, S.  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Mahidol</a:t>
                      </a:r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/>
                        <a:t>University, Faculty of Tropical Medicin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3416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/>
                        <a:t>  Day, N.P.J.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Mahidol</a:t>
                      </a:r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/>
                        <a:t>University, Faculty of Tropical Medicin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33416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/>
                        <a:t>  </a:t>
                      </a:r>
                      <a:r>
                        <a:rPr lang="en-US" sz="1400" b="1" u="none" strike="noStrike" dirty="0" err="1"/>
                        <a:t>Apisarnthanarak</a:t>
                      </a:r>
                      <a:r>
                        <a:rPr lang="en-US" sz="1400" b="1" u="none" strike="noStrike" dirty="0"/>
                        <a:t>, A.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smtClean="0"/>
                        <a:t> </a:t>
                      </a:r>
                      <a:r>
                        <a:rPr lang="en-US" sz="1400" b="1" u="none" strike="noStrike" dirty="0" err="1" smtClean="0"/>
                        <a:t>Thammasat</a:t>
                      </a:r>
                      <a:r>
                        <a:rPr lang="en-US" sz="1400" b="1" u="none" strike="noStrike" dirty="0" smtClean="0"/>
                        <a:t> </a:t>
                      </a:r>
                      <a:r>
                        <a:rPr lang="en-US" sz="1400" b="1" u="none" strike="noStrike" dirty="0"/>
                        <a:t>University, Division of Infectious Disease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416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/>
                        <a:t>  </a:t>
                      </a:r>
                      <a:r>
                        <a:rPr lang="en-US" sz="1400" u="none" strike="noStrike" dirty="0" err="1"/>
                        <a:t>Kwang</a:t>
                      </a:r>
                      <a:r>
                        <a:rPr lang="en-US" sz="1400" u="none" strike="noStrike" dirty="0"/>
                        <a:t>, J.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The </a:t>
                      </a:r>
                      <a:r>
                        <a:rPr lang="en-US" sz="1400" u="none" strike="noStrike" dirty="0"/>
                        <a:t>National University of Singapore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48292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/>
                        <a:t>  Poovorawan, Y.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Srinakharinwirot</a:t>
                      </a:r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/>
                        <a:t>University, Department of Microbiolog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48292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/>
                        <a:t>  </a:t>
                      </a:r>
                      <a:r>
                        <a:rPr lang="en-US" sz="1400" u="none" strike="noStrike" dirty="0" err="1"/>
                        <a:t>Phanuphak</a:t>
                      </a:r>
                      <a:r>
                        <a:rPr lang="en-US" sz="1400" u="none" strike="noStrike" dirty="0"/>
                        <a:t>, P.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The </a:t>
                      </a:r>
                      <a:r>
                        <a:rPr lang="en-US" sz="1400" u="none" strike="noStrike" dirty="0"/>
                        <a:t>HIV Netherlands Australia Thailand Research Collabora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48292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/>
                        <a:t>  </a:t>
                      </a:r>
                      <a:r>
                        <a:rPr lang="en-US" sz="1400" u="none" strike="noStrike" dirty="0" err="1"/>
                        <a:t>Tanticharoen</a:t>
                      </a:r>
                      <a:r>
                        <a:rPr lang="en-US" sz="1400" u="none" strike="noStrike" dirty="0"/>
                        <a:t>, M.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Thailand </a:t>
                      </a:r>
                      <a:r>
                        <a:rPr lang="en-US" sz="1400" u="none" strike="noStrike" dirty="0"/>
                        <a:t>National Center for Genetic Engineering and Biotechnology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48292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/>
                        <a:t>  Tay, J.H. 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Nanyang</a:t>
                      </a:r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/>
                        <a:t>Technological University, School of Civil and Environmental Engineering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Branding and Excellence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179637"/>
            <a:ext cx="8229600" cy="4525963"/>
          </a:xfrm>
        </p:spPr>
        <p:txBody>
          <a:bodyPr/>
          <a:lstStyle/>
          <a:p>
            <a:r>
              <a:rPr lang="en-US" dirty="0" smtClean="0"/>
              <a:t>Branding can occur at many levels</a:t>
            </a:r>
          </a:p>
          <a:p>
            <a:r>
              <a:rPr lang="en-US" dirty="0" smtClean="0"/>
              <a:t>Branding in Higher Education requires achieving excellence</a:t>
            </a:r>
          </a:p>
          <a:p>
            <a:r>
              <a:rPr lang="en-US" dirty="0" smtClean="0"/>
              <a:t>Research excellence requires focus</a:t>
            </a:r>
          </a:p>
          <a:p>
            <a:r>
              <a:rPr lang="en-US" dirty="0" smtClean="0"/>
              <a:t>Need objective means to identify our areas of focus</a:t>
            </a:r>
          </a:p>
          <a:p>
            <a:pPr lvl="1"/>
            <a:r>
              <a:rPr lang="en-US" dirty="0" smtClean="0"/>
              <a:t>Research Performance Measurement Network</a:t>
            </a:r>
            <a:endParaRPr lang="en-US" dirty="0"/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997840" y="1371600"/>
            <a:ext cx="1765160" cy="1295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411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762000" y="361950"/>
            <a:ext cx="7620000" cy="425450"/>
          </a:xfrm>
        </p:spPr>
        <p:txBody>
          <a:bodyPr lIns="91440" tIns="45720" rIns="91440" bIns="45720" anchor="ctr">
            <a:normAutofit fontScale="90000"/>
          </a:bodyPr>
          <a:lstStyle/>
          <a:p>
            <a:pPr eaLnBrk="1" hangingPunct="1"/>
            <a:r>
              <a:rPr lang="en-US" sz="2400" smtClean="0">
                <a:latin typeface="Arial" charset="0"/>
                <a:cs typeface="Arial" charset="0"/>
              </a:rPr>
              <a:t>A NEW APPROACH</a:t>
            </a:r>
          </a:p>
        </p:txBody>
      </p:sp>
      <p:sp>
        <p:nvSpPr>
          <p:cNvPr id="401412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A0B233A1-4335-4619-A15D-F5FCB22AA876}" type="slidenum">
              <a:rPr lang="en-GB" smtClean="0"/>
              <a:pPr/>
              <a:t>20</a:t>
            </a:fld>
            <a:endParaRPr lang="en-GB" smtClean="0"/>
          </a:p>
        </p:txBody>
      </p:sp>
      <p:graphicFrame>
        <p:nvGraphicFramePr>
          <p:cNvPr id="401410" name="Rectangle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r:id="rId15" imgW="0" imgH="0" progId="">
              <p:embed/>
            </p:oleObj>
          </a:graphicData>
        </a:graphic>
      </p:graphicFrame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4857750" y="1420813"/>
            <a:ext cx="3468688" cy="4527550"/>
            <a:chOff x="3032" y="693"/>
            <a:chExt cx="2185" cy="2852"/>
          </a:xfrm>
        </p:grpSpPr>
        <p:sp>
          <p:nvSpPr>
            <p:cNvPr id="401466" name="Rectangle 5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032" y="693"/>
              <a:ext cx="2185" cy="2852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1467" name="Rectangle 6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032" y="693"/>
              <a:ext cx="2185" cy="23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1468" name="Rectangle 7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08" y="754"/>
              <a:ext cx="1540" cy="132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lnSpc>
                  <a:spcPct val="85000"/>
                </a:lnSpc>
                <a:spcBef>
                  <a:spcPct val="35000"/>
                </a:spcBef>
                <a:buClr>
                  <a:srgbClr val="000099"/>
                </a:buClr>
                <a:buSzPct val="70000"/>
                <a:buFont typeface="Wingdings" pitchFamily="2" charset="2"/>
                <a:buNone/>
              </a:pPr>
              <a:r>
                <a:rPr lang="en-GB" sz="1600">
                  <a:solidFill>
                    <a:schemeClr val="bg1"/>
                  </a:solidFill>
                  <a:latin typeface="Arial" charset="0"/>
                </a:rPr>
                <a:t>Partitioning the literature</a:t>
              </a:r>
            </a:p>
          </p:txBody>
        </p:sp>
        <p:sp>
          <p:nvSpPr>
            <p:cNvPr id="401469" name="Rectangle 8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3108" y="982"/>
              <a:ext cx="2109" cy="2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srgbClr val="000099"/>
                </a:buClr>
                <a:buSzPct val="70000"/>
                <a:buFont typeface="Wingdings" pitchFamily="2" charset="2"/>
                <a:buNone/>
              </a:pPr>
              <a:r>
                <a:rPr lang="en-US" sz="1400" b="0">
                  <a:latin typeface="Arial" charset="0"/>
                </a:rPr>
                <a:t>This literature is partitioned into ~40,000 highly detailed subject areas. </a:t>
              </a:r>
            </a:p>
          </p:txBody>
        </p:sp>
        <p:pic>
          <p:nvPicPr>
            <p:cNvPr id="401470" name="Picture 6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227" y="1543"/>
              <a:ext cx="1796" cy="1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3" name="Group 10"/>
          <p:cNvGrpSpPr>
            <a:grpSpLocks/>
          </p:cNvGrpSpPr>
          <p:nvPr/>
        </p:nvGrpSpPr>
        <p:grpSpPr bwMode="auto">
          <a:xfrm>
            <a:off x="762000" y="1420813"/>
            <a:ext cx="3467100" cy="4530725"/>
            <a:chOff x="480" y="693"/>
            <a:chExt cx="2184" cy="2854"/>
          </a:xfrm>
        </p:grpSpPr>
        <p:sp>
          <p:nvSpPr>
            <p:cNvPr id="401418" name="Rectangle 1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80" y="693"/>
              <a:ext cx="2184" cy="2852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1419" name="Rectangle 1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80" y="693"/>
              <a:ext cx="2184" cy="23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1420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54" y="754"/>
              <a:ext cx="280" cy="1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lnSpc>
                  <a:spcPct val="85000"/>
                </a:lnSpc>
                <a:spcBef>
                  <a:spcPct val="35000"/>
                </a:spcBef>
                <a:buClr>
                  <a:srgbClr val="000099"/>
                </a:buClr>
                <a:buSzPct val="70000"/>
                <a:buFont typeface="Wingdings" pitchFamily="2" charset="2"/>
                <a:buNone/>
              </a:pPr>
              <a:r>
                <a:rPr lang="en-GB" sz="1600">
                  <a:solidFill>
                    <a:schemeClr val="bg1"/>
                  </a:solidFill>
                  <a:latin typeface="Arial" charset="0"/>
                </a:rPr>
                <a:t>Data</a:t>
              </a:r>
              <a:endParaRPr lang="en-GB" sz="140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401421" name="Rectangle 1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54" y="982"/>
              <a:ext cx="2086" cy="5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buClr>
                  <a:srgbClr val="000099"/>
                </a:buClr>
                <a:buSzPct val="70000"/>
                <a:buFont typeface="Wingdings" pitchFamily="2" charset="2"/>
                <a:buNone/>
              </a:pPr>
              <a:r>
                <a:rPr lang="en-US" sz="1400" b="0">
                  <a:latin typeface="Arial" charset="0"/>
                </a:rPr>
                <a:t>We start with the Scopus literature database, which indexes over 1.2 million articles per year, and covers a broad set of scientific areas.</a:t>
              </a:r>
            </a:p>
          </p:txBody>
        </p:sp>
        <p:grpSp>
          <p:nvGrpSpPr>
            <p:cNvPr id="4" name="Group 15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3" y="1543"/>
              <a:ext cx="1870" cy="2004"/>
              <a:chOff x="576" y="1613"/>
              <a:chExt cx="1870" cy="2004"/>
            </a:xfrm>
          </p:grpSpPr>
          <p:grpSp>
            <p:nvGrpSpPr>
              <p:cNvPr id="5" name="Group 16"/>
              <p:cNvGrpSpPr>
                <a:grpSpLocks/>
              </p:cNvGrpSpPr>
              <p:nvPr/>
            </p:nvGrpSpPr>
            <p:grpSpPr bwMode="auto">
              <a:xfrm>
                <a:off x="1031" y="2846"/>
                <a:ext cx="1065" cy="116"/>
                <a:chOff x="1031" y="2842"/>
                <a:chExt cx="1065" cy="116"/>
              </a:xfrm>
            </p:grpSpPr>
            <p:sp>
              <p:nvSpPr>
                <p:cNvPr id="401464" name="Text Box 26"/>
                <p:cNvSpPr txBox="1">
                  <a:spLocks noChangeArrowheads="1"/>
                </p:cNvSpPr>
                <p:nvPr/>
              </p:nvSpPr>
              <p:spPr bwMode="auto">
                <a:xfrm>
                  <a:off x="1403" y="2842"/>
                  <a:ext cx="693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Brain Research </a:t>
                  </a:r>
                </a:p>
              </p:txBody>
            </p:sp>
            <p:sp>
              <p:nvSpPr>
                <p:cNvPr id="106" name="Rectangle 105"/>
                <p:cNvSpPr/>
                <p:nvPr/>
              </p:nvSpPr>
              <p:spPr bwMode="auto">
                <a:xfrm>
                  <a:off x="1031" y="2885"/>
                  <a:ext cx="328" cy="4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6" name="Group 19"/>
              <p:cNvGrpSpPr>
                <a:grpSpLocks/>
              </p:cNvGrpSpPr>
              <p:nvPr/>
            </p:nvGrpSpPr>
            <p:grpSpPr bwMode="auto">
              <a:xfrm>
                <a:off x="1221" y="2298"/>
                <a:ext cx="788" cy="116"/>
                <a:chOff x="1221" y="2289"/>
                <a:chExt cx="788" cy="116"/>
              </a:xfrm>
            </p:grpSpPr>
            <p:sp>
              <p:nvSpPr>
                <p:cNvPr id="401462" name="Text Box 25"/>
                <p:cNvSpPr txBox="1">
                  <a:spLocks noChangeArrowheads="1"/>
                </p:cNvSpPr>
                <p:nvPr/>
              </p:nvSpPr>
              <p:spPr bwMode="auto">
                <a:xfrm>
                  <a:off x="1403" y="2289"/>
                  <a:ext cx="606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Biotechnology</a:t>
                  </a:r>
                </a:p>
              </p:txBody>
            </p:sp>
            <p:sp>
              <p:nvSpPr>
                <p:cNvPr id="108" name="Rectangle 107"/>
                <p:cNvSpPr/>
                <p:nvPr/>
              </p:nvSpPr>
              <p:spPr bwMode="auto">
                <a:xfrm>
                  <a:off x="1221" y="2332"/>
                  <a:ext cx="138" cy="48"/>
                </a:xfrm>
                <a:prstGeom prst="rect">
                  <a:avLst/>
                </a:prstGeom>
                <a:solidFill>
                  <a:srgbClr val="00FF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" name="Group 22"/>
              <p:cNvGrpSpPr>
                <a:grpSpLocks/>
              </p:cNvGrpSpPr>
              <p:nvPr/>
            </p:nvGrpSpPr>
            <p:grpSpPr bwMode="auto">
              <a:xfrm>
                <a:off x="1244" y="2024"/>
                <a:ext cx="809" cy="116"/>
                <a:chOff x="1244" y="2029"/>
                <a:chExt cx="809" cy="116"/>
              </a:xfrm>
            </p:grpSpPr>
            <p:sp>
              <p:nvSpPr>
                <p:cNvPr id="401460" name="Text Box 20"/>
                <p:cNvSpPr txBox="1">
                  <a:spLocks noChangeArrowheads="1"/>
                </p:cNvSpPr>
                <p:nvPr/>
              </p:nvSpPr>
              <p:spPr bwMode="auto">
                <a:xfrm>
                  <a:off x="1403" y="2029"/>
                  <a:ext cx="650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Earth Sciences</a:t>
                  </a:r>
                </a:p>
              </p:txBody>
            </p:sp>
            <p:sp>
              <p:nvSpPr>
                <p:cNvPr id="110" name="Rectangle 109"/>
                <p:cNvSpPr/>
                <p:nvPr/>
              </p:nvSpPr>
              <p:spPr bwMode="auto">
                <a:xfrm>
                  <a:off x="1244" y="2072"/>
                  <a:ext cx="115" cy="48"/>
                </a:xfrm>
                <a:prstGeom prst="rect">
                  <a:avLst/>
                </a:prstGeom>
                <a:solidFill>
                  <a:srgbClr val="6633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8" name="Group 25"/>
              <p:cNvGrpSpPr>
                <a:grpSpLocks/>
              </p:cNvGrpSpPr>
              <p:nvPr/>
            </p:nvGrpSpPr>
            <p:grpSpPr bwMode="auto">
              <a:xfrm>
                <a:off x="1014" y="1613"/>
                <a:ext cx="1056" cy="116"/>
                <a:chOff x="1014" y="1623"/>
                <a:chExt cx="1056" cy="116"/>
              </a:xfrm>
            </p:grpSpPr>
            <p:sp>
              <p:nvSpPr>
                <p:cNvPr id="401458" name="Text Box 15"/>
                <p:cNvSpPr txBox="1">
                  <a:spLocks noChangeArrowheads="1"/>
                </p:cNvSpPr>
                <p:nvPr/>
              </p:nvSpPr>
              <p:spPr bwMode="auto">
                <a:xfrm>
                  <a:off x="1403" y="1623"/>
                  <a:ext cx="667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Math &amp; Physics</a:t>
                  </a:r>
                </a:p>
              </p:txBody>
            </p:sp>
            <p:sp>
              <p:nvSpPr>
                <p:cNvPr id="112" name="Rectangle 111"/>
                <p:cNvSpPr/>
                <p:nvPr/>
              </p:nvSpPr>
              <p:spPr bwMode="auto">
                <a:xfrm>
                  <a:off x="1014" y="1666"/>
                  <a:ext cx="345" cy="48"/>
                </a:xfrm>
                <a:prstGeom prst="rect">
                  <a:avLst/>
                </a:prstGeom>
                <a:solidFill>
                  <a:srgbClr val="A75BD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9" name="Group 28"/>
              <p:cNvGrpSpPr>
                <a:grpSpLocks/>
              </p:cNvGrpSpPr>
              <p:nvPr/>
            </p:nvGrpSpPr>
            <p:grpSpPr bwMode="auto">
              <a:xfrm>
                <a:off x="910" y="1750"/>
                <a:ext cx="928" cy="116"/>
                <a:chOff x="910" y="1757"/>
                <a:chExt cx="928" cy="116"/>
              </a:xfrm>
            </p:grpSpPr>
            <p:sp>
              <p:nvSpPr>
                <p:cNvPr id="401456" name="Text Box 18"/>
                <p:cNvSpPr txBox="1">
                  <a:spLocks noChangeArrowheads="1"/>
                </p:cNvSpPr>
                <p:nvPr/>
              </p:nvSpPr>
              <p:spPr bwMode="auto">
                <a:xfrm>
                  <a:off x="1403" y="1757"/>
                  <a:ext cx="435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Chemistry</a:t>
                  </a:r>
                </a:p>
              </p:txBody>
            </p:sp>
            <p:sp>
              <p:nvSpPr>
                <p:cNvPr id="119" name="Rectangle 118"/>
                <p:cNvSpPr/>
                <p:nvPr/>
              </p:nvSpPr>
              <p:spPr bwMode="auto">
                <a:xfrm>
                  <a:off x="910" y="1800"/>
                  <a:ext cx="449" cy="48"/>
                </a:xfrm>
                <a:prstGeom prst="rect">
                  <a:avLst/>
                </a:prstGeom>
                <a:solidFill>
                  <a:srgbClr val="0000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0" name="Group 31"/>
              <p:cNvGrpSpPr>
                <a:grpSpLocks/>
              </p:cNvGrpSpPr>
              <p:nvPr/>
            </p:nvGrpSpPr>
            <p:grpSpPr bwMode="auto">
              <a:xfrm>
                <a:off x="1106" y="2161"/>
                <a:ext cx="613" cy="116"/>
                <a:chOff x="1106" y="2162"/>
                <a:chExt cx="613" cy="116"/>
              </a:xfrm>
            </p:grpSpPr>
            <p:sp>
              <p:nvSpPr>
                <p:cNvPr id="401454" name="Text Box 21"/>
                <p:cNvSpPr txBox="1">
                  <a:spLocks noChangeArrowheads="1"/>
                </p:cNvSpPr>
                <p:nvPr/>
              </p:nvSpPr>
              <p:spPr bwMode="auto">
                <a:xfrm>
                  <a:off x="1403" y="2162"/>
                  <a:ext cx="316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Biology</a:t>
                  </a:r>
                </a:p>
              </p:txBody>
            </p:sp>
            <p:sp>
              <p:nvSpPr>
                <p:cNvPr id="121" name="Rectangle 120"/>
                <p:cNvSpPr/>
                <p:nvPr/>
              </p:nvSpPr>
              <p:spPr bwMode="auto">
                <a:xfrm>
                  <a:off x="1106" y="2205"/>
                  <a:ext cx="253" cy="48"/>
                </a:xfrm>
                <a:prstGeom prst="rect">
                  <a:avLst/>
                </a:prstGeom>
                <a:solidFill>
                  <a:srgbClr val="00B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1" name="Group 34"/>
              <p:cNvGrpSpPr>
                <a:grpSpLocks/>
              </p:cNvGrpSpPr>
              <p:nvPr/>
            </p:nvGrpSpPr>
            <p:grpSpPr bwMode="auto">
              <a:xfrm>
                <a:off x="1123" y="2435"/>
                <a:ext cx="1070" cy="116"/>
                <a:chOff x="1123" y="2432"/>
                <a:chExt cx="1070" cy="116"/>
              </a:xfrm>
            </p:grpSpPr>
            <p:sp>
              <p:nvSpPr>
                <p:cNvPr id="401452" name="Text Box 22"/>
                <p:cNvSpPr txBox="1">
                  <a:spLocks noChangeArrowheads="1"/>
                </p:cNvSpPr>
                <p:nvPr/>
              </p:nvSpPr>
              <p:spPr bwMode="auto">
                <a:xfrm>
                  <a:off x="1403" y="2432"/>
                  <a:ext cx="790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Infectious Disease</a:t>
                  </a:r>
                </a:p>
              </p:txBody>
            </p:sp>
            <p:sp>
              <p:nvSpPr>
                <p:cNvPr id="122" name="Rectangle 121"/>
                <p:cNvSpPr/>
                <p:nvPr/>
              </p:nvSpPr>
              <p:spPr bwMode="auto">
                <a:xfrm>
                  <a:off x="1123" y="2475"/>
                  <a:ext cx="236" cy="48"/>
                </a:xfrm>
                <a:prstGeom prst="rect">
                  <a:avLst/>
                </a:prstGeom>
                <a:solidFill>
                  <a:srgbClr val="C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2" name="Group 37"/>
              <p:cNvGrpSpPr>
                <a:grpSpLocks/>
              </p:cNvGrpSpPr>
              <p:nvPr/>
            </p:nvGrpSpPr>
            <p:grpSpPr bwMode="auto">
              <a:xfrm>
                <a:off x="576" y="2572"/>
                <a:ext cx="1653" cy="116"/>
                <a:chOff x="576" y="2571"/>
                <a:chExt cx="1653" cy="116"/>
              </a:xfrm>
            </p:grpSpPr>
            <p:sp>
              <p:nvSpPr>
                <p:cNvPr id="401450" name="Text Box 23"/>
                <p:cNvSpPr txBox="1">
                  <a:spLocks noChangeArrowheads="1"/>
                </p:cNvSpPr>
                <p:nvPr/>
              </p:nvSpPr>
              <p:spPr bwMode="auto">
                <a:xfrm>
                  <a:off x="1403" y="2571"/>
                  <a:ext cx="826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Medical Specialties</a:t>
                  </a:r>
                </a:p>
              </p:txBody>
            </p:sp>
            <p:sp>
              <p:nvSpPr>
                <p:cNvPr id="123" name="Rectangle 122"/>
                <p:cNvSpPr/>
                <p:nvPr/>
              </p:nvSpPr>
              <p:spPr bwMode="auto">
                <a:xfrm>
                  <a:off x="576" y="2614"/>
                  <a:ext cx="783" cy="48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3" name="Group 40"/>
              <p:cNvGrpSpPr>
                <a:grpSpLocks/>
              </p:cNvGrpSpPr>
              <p:nvPr/>
            </p:nvGrpSpPr>
            <p:grpSpPr bwMode="auto">
              <a:xfrm>
                <a:off x="1094" y="2709"/>
                <a:ext cx="986" cy="116"/>
                <a:chOff x="1094" y="2702"/>
                <a:chExt cx="986" cy="116"/>
              </a:xfrm>
            </p:grpSpPr>
            <p:sp>
              <p:nvSpPr>
                <p:cNvPr id="401448" name="Text Box 24"/>
                <p:cNvSpPr txBox="1">
                  <a:spLocks noChangeArrowheads="1"/>
                </p:cNvSpPr>
                <p:nvPr/>
              </p:nvSpPr>
              <p:spPr bwMode="auto">
                <a:xfrm>
                  <a:off x="1403" y="2702"/>
                  <a:ext cx="677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Health Services</a:t>
                  </a:r>
                </a:p>
              </p:txBody>
            </p:sp>
            <p:sp>
              <p:nvSpPr>
                <p:cNvPr id="124" name="Rectangle 123"/>
                <p:cNvSpPr/>
                <p:nvPr/>
              </p:nvSpPr>
              <p:spPr bwMode="auto">
                <a:xfrm>
                  <a:off x="1094" y="2745"/>
                  <a:ext cx="265" cy="48"/>
                </a:xfrm>
                <a:prstGeom prst="rect">
                  <a:avLst/>
                </a:prstGeom>
                <a:solidFill>
                  <a:srgbClr val="FF996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4" name="Group 43"/>
              <p:cNvGrpSpPr>
                <a:grpSpLocks/>
              </p:cNvGrpSpPr>
              <p:nvPr/>
            </p:nvGrpSpPr>
            <p:grpSpPr bwMode="auto">
              <a:xfrm>
                <a:off x="1140" y="3120"/>
                <a:ext cx="945" cy="116"/>
                <a:chOff x="1140" y="3131"/>
                <a:chExt cx="945" cy="116"/>
              </a:xfrm>
            </p:grpSpPr>
            <p:sp>
              <p:nvSpPr>
                <p:cNvPr id="126" name="Rectangle 125"/>
                <p:cNvSpPr/>
                <p:nvPr/>
              </p:nvSpPr>
              <p:spPr bwMode="auto">
                <a:xfrm>
                  <a:off x="1140" y="3173"/>
                  <a:ext cx="219" cy="48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01447" name="Text Box 22"/>
                <p:cNvSpPr txBox="1">
                  <a:spLocks noChangeArrowheads="1"/>
                </p:cNvSpPr>
                <p:nvPr/>
              </p:nvSpPr>
              <p:spPr bwMode="auto">
                <a:xfrm>
                  <a:off x="1403" y="3131"/>
                  <a:ext cx="682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Social Sciences</a:t>
                  </a:r>
                </a:p>
              </p:txBody>
            </p:sp>
          </p:grpSp>
          <p:grpSp>
            <p:nvGrpSpPr>
              <p:cNvPr id="15" name="Group 46"/>
              <p:cNvGrpSpPr>
                <a:grpSpLocks/>
              </p:cNvGrpSpPr>
              <p:nvPr/>
            </p:nvGrpSpPr>
            <p:grpSpPr bwMode="auto">
              <a:xfrm>
                <a:off x="1164" y="1887"/>
                <a:ext cx="753" cy="116"/>
                <a:chOff x="1164" y="1893"/>
                <a:chExt cx="753" cy="116"/>
              </a:xfrm>
            </p:grpSpPr>
            <p:sp>
              <p:nvSpPr>
                <p:cNvPr id="120" name="Rectangle 119"/>
                <p:cNvSpPr/>
                <p:nvPr/>
              </p:nvSpPr>
              <p:spPr bwMode="auto">
                <a:xfrm>
                  <a:off x="1164" y="1936"/>
                  <a:ext cx="195" cy="48"/>
                </a:xfrm>
                <a:prstGeom prst="rect">
                  <a:avLst/>
                </a:prstGeom>
                <a:solidFill>
                  <a:srgbClr val="66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01445" name="Text Box 22"/>
                <p:cNvSpPr txBox="1">
                  <a:spLocks noChangeArrowheads="1"/>
                </p:cNvSpPr>
                <p:nvPr/>
              </p:nvSpPr>
              <p:spPr bwMode="auto">
                <a:xfrm>
                  <a:off x="1403" y="1893"/>
                  <a:ext cx="514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Engineering</a:t>
                  </a:r>
                </a:p>
              </p:txBody>
            </p:sp>
          </p:grpSp>
          <p:grpSp>
            <p:nvGrpSpPr>
              <p:cNvPr id="16" name="Group 49"/>
              <p:cNvGrpSpPr>
                <a:grpSpLocks/>
              </p:cNvGrpSpPr>
              <p:nvPr/>
            </p:nvGrpSpPr>
            <p:grpSpPr bwMode="auto">
              <a:xfrm>
                <a:off x="1192" y="3257"/>
                <a:ext cx="1254" cy="116"/>
                <a:chOff x="1192" y="3242"/>
                <a:chExt cx="1254" cy="116"/>
              </a:xfrm>
            </p:grpSpPr>
            <p:sp>
              <p:nvSpPr>
                <p:cNvPr id="118" name="Rectangle 117"/>
                <p:cNvSpPr/>
                <p:nvPr/>
              </p:nvSpPr>
              <p:spPr bwMode="auto">
                <a:xfrm>
                  <a:off x="1192" y="3285"/>
                  <a:ext cx="167" cy="48"/>
                </a:xfrm>
                <a:prstGeom prst="rect">
                  <a:avLst/>
                </a:prstGeom>
                <a:solidFill>
                  <a:srgbClr val="FF66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400" b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01443" name="Text Box 22"/>
                <p:cNvSpPr txBox="1">
                  <a:spLocks noChangeArrowheads="1"/>
                </p:cNvSpPr>
                <p:nvPr/>
              </p:nvSpPr>
              <p:spPr bwMode="auto">
                <a:xfrm>
                  <a:off x="1403" y="3242"/>
                  <a:ext cx="1043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Computer Science &amp; EE</a:t>
                  </a:r>
                </a:p>
              </p:txBody>
            </p:sp>
          </p:grpSp>
          <p:grpSp>
            <p:nvGrpSpPr>
              <p:cNvPr id="17" name="Group 52"/>
              <p:cNvGrpSpPr>
                <a:grpSpLocks/>
              </p:cNvGrpSpPr>
              <p:nvPr/>
            </p:nvGrpSpPr>
            <p:grpSpPr bwMode="auto">
              <a:xfrm>
                <a:off x="1348" y="2983"/>
                <a:ext cx="538" cy="116"/>
                <a:chOff x="1348" y="2973"/>
                <a:chExt cx="538" cy="116"/>
              </a:xfrm>
            </p:grpSpPr>
            <p:sp>
              <p:nvSpPr>
                <p:cNvPr id="401440" name="Rectangle 124"/>
                <p:cNvSpPr>
                  <a:spLocks noChangeArrowheads="1"/>
                </p:cNvSpPr>
                <p:nvPr/>
              </p:nvSpPr>
              <p:spPr bwMode="auto">
                <a:xfrm>
                  <a:off x="1348" y="3016"/>
                  <a:ext cx="11" cy="48"/>
                </a:xfrm>
                <a:prstGeom prst="rect">
                  <a:avLst/>
                </a:prstGeom>
                <a:solidFill>
                  <a:srgbClr val="FFFF99"/>
                </a:solidFill>
                <a:ln w="25400" algn="ctr">
                  <a:noFill/>
                  <a:miter lim="800000"/>
                  <a:headEnd/>
                  <a:tailEnd/>
                </a:ln>
              </p:spPr>
              <p:txBody>
                <a:bodyPr lIns="0" tIns="0" rIns="0" bIns="0" anchor="ctr"/>
                <a:lstStyle/>
                <a:p>
                  <a:pPr algn="ctr"/>
                  <a:endParaRPr lang="en-US" sz="1400" b="0"/>
                </a:p>
              </p:txBody>
            </p:sp>
            <p:sp>
              <p:nvSpPr>
                <p:cNvPr id="401441" name="Text Box 20"/>
                <p:cNvSpPr txBox="1">
                  <a:spLocks noChangeArrowheads="1"/>
                </p:cNvSpPr>
                <p:nvPr/>
              </p:nvSpPr>
              <p:spPr bwMode="auto">
                <a:xfrm>
                  <a:off x="1403" y="2973"/>
                  <a:ext cx="483" cy="11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 lIns="0" tIns="0" rIns="0" bIns="0">
                  <a:spAutoFit/>
                </a:bodyPr>
                <a:lstStyle/>
                <a:p>
                  <a:r>
                    <a:rPr lang="en-US" b="0">
                      <a:solidFill>
                        <a:srgbClr val="134B77"/>
                      </a:solidFill>
                      <a:ea typeface="ヒラギノ角ゴ Pro W3"/>
                      <a:cs typeface="ヒラギノ角ゴ Pro W3"/>
                    </a:rPr>
                    <a:t>Humanities</a:t>
                  </a:r>
                </a:p>
              </p:txBody>
            </p:sp>
          </p:grpSp>
          <p:grpSp>
            <p:nvGrpSpPr>
              <p:cNvPr id="18" name="Group 140"/>
              <p:cNvGrpSpPr>
                <a:grpSpLocks/>
              </p:cNvGrpSpPr>
              <p:nvPr/>
            </p:nvGrpSpPr>
            <p:grpSpPr bwMode="auto">
              <a:xfrm>
                <a:off x="923" y="1631"/>
                <a:ext cx="717" cy="1986"/>
                <a:chOff x="1447799" y="2879721"/>
                <a:chExt cx="1137698" cy="3152141"/>
              </a:xfrm>
            </p:grpSpPr>
            <p:cxnSp>
              <p:nvCxnSpPr>
                <p:cNvPr id="132" name="Straight Connector 131"/>
                <p:cNvCxnSpPr/>
                <p:nvPr/>
              </p:nvCxnSpPr>
              <p:spPr>
                <a:xfrm rot="16200000" flipH="1">
                  <a:off x="725440" y="4297074"/>
                  <a:ext cx="2834705" cy="0"/>
                </a:xfrm>
                <a:prstGeom prst="line">
                  <a:avLst/>
                </a:prstGeom>
                <a:ln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5" name="Straight Connector 134"/>
                <p:cNvCxnSpPr/>
                <p:nvPr/>
              </p:nvCxnSpPr>
              <p:spPr>
                <a:xfrm>
                  <a:off x="1447798" y="5714426"/>
                  <a:ext cx="694995" cy="1587"/>
                </a:xfrm>
                <a:prstGeom prst="line">
                  <a:avLst/>
                </a:prstGeom>
                <a:ln>
                  <a:solidFill>
                    <a:schemeClr val="tx1"/>
                  </a:solidFill>
                  <a:headEnd type="triangle"/>
                  <a:tailEnd type="non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01439" name="TextBox 137"/>
                <p:cNvSpPr txBox="1">
                  <a:spLocks noChangeArrowheads="1"/>
                </p:cNvSpPr>
                <p:nvPr/>
              </p:nvSpPr>
              <p:spPr bwMode="auto">
                <a:xfrm>
                  <a:off x="1447799" y="5724128"/>
                  <a:ext cx="1137698" cy="30773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400">
                      <a:solidFill>
                        <a:srgbClr val="134B77"/>
                      </a:solidFill>
                    </a:rPr>
                    <a:t># of papers</a:t>
                  </a:r>
                </a:p>
              </p:txBody>
            </p:sp>
          </p:grpSp>
        </p:grpSp>
      </p:grpSp>
      <p:pic>
        <p:nvPicPr>
          <p:cNvPr id="401415" name="Picture 63" descr="MxArrow2a down arrow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4187825" y="3544888"/>
            <a:ext cx="741363" cy="59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1416" name="Picture 64" descr="MxArrow2a down arrow.png"/>
          <p:cNvPicPr>
            <a:picLocks noChangeAspect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188325" y="3544888"/>
            <a:ext cx="741363" cy="59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1417" name="Picture 66" descr="logo.png"/>
          <p:cNvPicPr>
            <a:picLocks noChangeAspect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7283450" y="254000"/>
            <a:ext cx="139065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2435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D486D6D4-4D4D-4B6A-A025-77C98B890F20}" type="slidenum">
              <a:rPr lang="en-GB" smtClean="0"/>
              <a:pPr/>
              <a:t>21</a:t>
            </a:fld>
            <a:endParaRPr lang="en-GB" smtClean="0"/>
          </a:p>
        </p:txBody>
      </p:sp>
      <p:graphicFrame>
        <p:nvGraphicFramePr>
          <p:cNvPr id="402434" name="Rectangle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0" r:id="rId11" imgW="0" imgH="0" progId="">
              <p:embed/>
            </p:oleObj>
          </a:graphicData>
        </a:graphic>
      </p:graphicFrame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5175250" y="1420813"/>
            <a:ext cx="3468688" cy="4527550"/>
            <a:chOff x="3021" y="693"/>
            <a:chExt cx="2185" cy="2852"/>
          </a:xfrm>
        </p:grpSpPr>
        <p:sp>
          <p:nvSpPr>
            <p:cNvPr id="402447" name="Rectangle 5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021" y="693"/>
              <a:ext cx="2185" cy="2852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402448" name="Rectangl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021" y="693"/>
              <a:ext cx="2185" cy="237"/>
            </a:xfrm>
            <a:prstGeom prst="rect">
              <a:avLst/>
            </a:prstGeom>
            <a:solidFill>
              <a:schemeClr val="tx2"/>
            </a:solidFill>
            <a:ln w="9525" algn="ctr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2800"/>
            </a:p>
          </p:txBody>
        </p:sp>
        <p:sp>
          <p:nvSpPr>
            <p:cNvPr id="402449" name="Rectangle 7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3248" y="754"/>
              <a:ext cx="1380" cy="132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>
                <a:lnSpc>
                  <a:spcPct val="85000"/>
                </a:lnSpc>
                <a:spcBef>
                  <a:spcPct val="35000"/>
                </a:spcBef>
                <a:buClr>
                  <a:srgbClr val="000099"/>
                </a:buClr>
                <a:buSzPct val="70000"/>
                <a:buFont typeface="Wingdings" pitchFamily="2" charset="2"/>
                <a:buNone/>
              </a:pPr>
              <a:r>
                <a:rPr lang="en-GB" sz="1600">
                  <a:solidFill>
                    <a:schemeClr val="bg1"/>
                  </a:solidFill>
                  <a:latin typeface="Arial" charset="0"/>
                </a:rPr>
                <a:t>Additional information</a:t>
              </a:r>
            </a:p>
          </p:txBody>
        </p:sp>
        <p:sp>
          <p:nvSpPr>
            <p:cNvPr id="402450" name="Rectangle 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102" y="982"/>
              <a:ext cx="1529" cy="169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marL="209550" indent="-209550">
                <a:spcBef>
                  <a:spcPct val="30000"/>
                </a:spcBef>
                <a:buClr>
                  <a:srgbClr val="000099"/>
                </a:buClr>
                <a:buSzPct val="70000"/>
              </a:pPr>
              <a:r>
                <a:rPr lang="en-US" sz="1400" dirty="0">
                  <a:latin typeface="Arial" charset="0"/>
                </a:rPr>
                <a:t>Strengths can be identified for:</a:t>
              </a:r>
            </a:p>
            <a:p>
              <a:pPr marL="330200" lvl="1" indent="-119063">
                <a:spcBef>
                  <a:spcPct val="25000"/>
                </a:spcBef>
                <a:buClr>
                  <a:srgbClr val="000099"/>
                </a:buClr>
                <a:buFont typeface="Wingdings" pitchFamily="2" charset="2"/>
                <a:buChar char="§"/>
              </a:pPr>
              <a:r>
                <a:rPr lang="en-US" sz="1400" dirty="0" smtClean="0">
                  <a:latin typeface="Arial" charset="0"/>
                </a:rPr>
                <a:t>Regions</a:t>
              </a:r>
            </a:p>
            <a:p>
              <a:pPr marL="330200" lvl="1" indent="-119063">
                <a:spcBef>
                  <a:spcPct val="25000"/>
                </a:spcBef>
                <a:buClr>
                  <a:srgbClr val="000099"/>
                </a:buClr>
                <a:buFont typeface="Wingdings" pitchFamily="2" charset="2"/>
                <a:buChar char="§"/>
              </a:pPr>
              <a:r>
                <a:rPr lang="en-US" sz="1400" dirty="0" smtClean="0">
                  <a:latin typeface="Arial" charset="0"/>
                </a:rPr>
                <a:t>Nations</a:t>
              </a:r>
            </a:p>
            <a:p>
              <a:pPr marL="330200" lvl="1" indent="-119063">
                <a:spcBef>
                  <a:spcPct val="25000"/>
                </a:spcBef>
                <a:buClr>
                  <a:srgbClr val="000099"/>
                </a:buClr>
                <a:buFont typeface="Wingdings" pitchFamily="2" charset="2"/>
                <a:buChar char="§"/>
              </a:pPr>
              <a:r>
                <a:rPr lang="en-US" sz="1400" b="0" dirty="0" smtClean="0">
                  <a:latin typeface="Arial" charset="0"/>
                </a:rPr>
                <a:t>Universities</a:t>
              </a:r>
              <a:endParaRPr lang="en-US" sz="1400" b="0" dirty="0">
                <a:latin typeface="Arial" charset="0"/>
              </a:endParaRPr>
            </a:p>
            <a:p>
              <a:pPr marL="330200" lvl="1" indent="-119063">
                <a:spcBef>
                  <a:spcPct val="25000"/>
                </a:spcBef>
                <a:buClr>
                  <a:srgbClr val="000099"/>
                </a:buClr>
                <a:buFont typeface="Wingdings" pitchFamily="2" charset="2"/>
                <a:buChar char="§"/>
              </a:pPr>
              <a:endParaRPr lang="en-US" sz="1400" b="0" dirty="0">
                <a:latin typeface="Arial" charset="0"/>
              </a:endParaRPr>
            </a:p>
            <a:p>
              <a:pPr marL="209550" indent="-209550">
                <a:spcBef>
                  <a:spcPct val="50000"/>
                </a:spcBef>
                <a:buClr>
                  <a:srgbClr val="000099"/>
                </a:buClr>
                <a:buSzPct val="70000"/>
              </a:pPr>
              <a:r>
                <a:rPr lang="en-US" sz="1400" dirty="0">
                  <a:latin typeface="Arial" charset="0"/>
                </a:rPr>
                <a:t>Details about strengths:</a:t>
              </a:r>
            </a:p>
            <a:p>
              <a:pPr marL="330200" lvl="1" indent="-119063">
                <a:spcBef>
                  <a:spcPct val="25000"/>
                </a:spcBef>
                <a:buClr>
                  <a:srgbClr val="000099"/>
                </a:buClr>
                <a:buFont typeface="Wingdings" pitchFamily="2" charset="2"/>
                <a:buChar char="§"/>
              </a:pPr>
              <a:r>
                <a:rPr lang="en-US" sz="1400" b="0" dirty="0">
                  <a:latin typeface="Arial" charset="0"/>
                </a:rPr>
                <a:t>Market shares</a:t>
              </a:r>
            </a:p>
            <a:p>
              <a:pPr marL="330200" lvl="1" indent="-119063">
                <a:spcBef>
                  <a:spcPct val="25000"/>
                </a:spcBef>
                <a:buClr>
                  <a:srgbClr val="000099"/>
                </a:buClr>
                <a:buFont typeface="Wingdings" pitchFamily="2" charset="2"/>
                <a:buChar char="§"/>
              </a:pPr>
              <a:r>
                <a:rPr lang="en-US" sz="1400" b="0" dirty="0">
                  <a:latin typeface="Arial" charset="0"/>
                </a:rPr>
                <a:t>Growth rates</a:t>
              </a:r>
            </a:p>
            <a:p>
              <a:pPr marL="330200" lvl="1" indent="-119063">
                <a:spcBef>
                  <a:spcPct val="25000"/>
                </a:spcBef>
                <a:buClr>
                  <a:srgbClr val="000099"/>
                </a:buClr>
                <a:buFont typeface="Wingdings" pitchFamily="2" charset="2"/>
                <a:buChar char="§"/>
              </a:pPr>
              <a:r>
                <a:rPr lang="en-US" sz="1400" b="0" dirty="0">
                  <a:latin typeface="Arial" charset="0"/>
                </a:rPr>
                <a:t>Top competitors</a:t>
              </a:r>
            </a:p>
            <a:p>
              <a:pPr marL="330200" lvl="1" indent="-119063">
                <a:spcBef>
                  <a:spcPct val="25000"/>
                </a:spcBef>
                <a:buClr>
                  <a:srgbClr val="000099"/>
                </a:buClr>
                <a:buFont typeface="Wingdings" pitchFamily="2" charset="2"/>
                <a:buChar char="§"/>
              </a:pPr>
              <a:r>
                <a:rPr lang="en-US" sz="1400" b="0" dirty="0">
                  <a:latin typeface="Arial" charset="0"/>
                </a:rPr>
                <a:t>Top researchers</a:t>
              </a:r>
            </a:p>
          </p:txBody>
        </p:sp>
      </p:grpSp>
      <p:sp>
        <p:nvSpPr>
          <p:cNvPr id="402437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000125" y="1420813"/>
            <a:ext cx="3467100" cy="4527550"/>
          </a:xfrm>
          <a:prstGeom prst="rect">
            <a:avLst/>
          </a:prstGeom>
          <a:solidFill>
            <a:srgbClr val="F3F3F3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02438" name="Rectangle 1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00125" y="1420813"/>
            <a:ext cx="3467100" cy="376237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402439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239838" y="1517650"/>
            <a:ext cx="2762250" cy="2095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>
              <a:lnSpc>
                <a:spcPct val="85000"/>
              </a:lnSpc>
              <a:spcBef>
                <a:spcPct val="35000"/>
              </a:spcBef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GB" sz="1600">
                <a:solidFill>
                  <a:schemeClr val="bg1"/>
                </a:solidFill>
                <a:latin typeface="Arial" charset="0"/>
              </a:rPr>
              <a:t>Identifying areas of strength</a:t>
            </a:r>
          </a:p>
        </p:txBody>
      </p: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1192213" y="2089150"/>
            <a:ext cx="3165475" cy="3168650"/>
            <a:chOff x="630" y="1638"/>
            <a:chExt cx="2185" cy="2189"/>
          </a:xfrm>
        </p:grpSpPr>
        <p:pic>
          <p:nvPicPr>
            <p:cNvPr id="402445" name="Picture 3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647" y="1659"/>
              <a:ext cx="2156" cy="2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02446" name="Picture 5"/>
            <p:cNvPicPr>
              <a:picLocks noChangeAspect="1" noChangeArrowheads="1"/>
            </p:cNvPicPr>
            <p:nvPr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630" y="1638"/>
              <a:ext cx="2185" cy="218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402441" name="Picture 21" descr="MxArrow2a down arrow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57188" y="3544888"/>
            <a:ext cx="741362" cy="59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2442" name="Picture 22" descr="MxArrow2a down arrow.png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4500563" y="3544888"/>
            <a:ext cx="741362" cy="59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2443" name="Rectangle 17"/>
          <p:cNvSpPr>
            <a:spLocks noChangeArrowheads="1"/>
          </p:cNvSpPr>
          <p:nvPr/>
        </p:nvSpPr>
        <p:spPr bwMode="auto">
          <a:xfrm>
            <a:off x="584200" y="584200"/>
            <a:ext cx="8077200" cy="3175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402444" name="Picture 19" descr="logo.png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283450" y="254000"/>
            <a:ext cx="139065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940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B27BF73-9058-486D-9E85-641261AF1D00}" type="slidenum">
              <a:rPr lang="en-GB" smtClean="0"/>
              <a:pPr/>
              <a:t>22</a:t>
            </a:fld>
            <a:endParaRPr lang="en-GB" smtClean="0"/>
          </a:p>
        </p:txBody>
      </p:sp>
      <p:sp>
        <p:nvSpPr>
          <p:cNvPr id="295941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762000" y="354013"/>
            <a:ext cx="7620000" cy="425450"/>
          </a:xfrm>
        </p:spPr>
        <p:txBody>
          <a:bodyPr lIns="91440" tIns="45720" rIns="91440" bIns="45720" anchor="ctr">
            <a:normAutofit fontScale="90000"/>
          </a:bodyPr>
          <a:lstStyle/>
          <a:p>
            <a:pPr eaLnBrk="1" hangingPunct="1"/>
            <a:r>
              <a:rPr lang="en-US" sz="2400" smtClean="0">
                <a:latin typeface="Arial" charset="0"/>
                <a:cs typeface="Arial" charset="0"/>
              </a:rPr>
              <a:t>IDENTIFYING NATIONAL STRENGTHS</a:t>
            </a:r>
          </a:p>
        </p:txBody>
      </p:sp>
      <p:graphicFrame>
        <p:nvGraphicFramePr>
          <p:cNvPr id="295939" name="Rectangle 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" r:id="rId22" imgW="0" imgH="0" progId="">
              <p:embed/>
            </p:oleObj>
          </a:graphicData>
        </a:graphic>
      </p:graphicFrame>
      <p:sp>
        <p:nvSpPr>
          <p:cNvPr id="296156" name="Text Box 220"/>
          <p:cNvSpPr txBox="1">
            <a:spLocks noChangeArrowheads="1"/>
          </p:cNvSpPr>
          <p:nvPr/>
        </p:nvSpPr>
        <p:spPr bwMode="auto">
          <a:xfrm>
            <a:off x="152400" y="6210300"/>
            <a:ext cx="89916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eaLnBrk="0" hangingPunct="0">
              <a:buFont typeface="Symbol" pitchFamily="18" charset="2"/>
              <a:buNone/>
              <a:tabLst>
                <a:tab pos="461963" algn="l"/>
              </a:tabLst>
            </a:pPr>
            <a:r>
              <a:rPr lang="en-US" sz="900" dirty="0">
                <a:latin typeface="Verdana" pitchFamily="34" charset="0"/>
              </a:rPr>
              <a:t>Source:  </a:t>
            </a:r>
            <a:r>
              <a:rPr lang="en-US" sz="900" b="0" dirty="0" err="1">
                <a:latin typeface="Verdana" pitchFamily="34" charset="0"/>
              </a:rPr>
              <a:t>Klavans</a:t>
            </a:r>
            <a:r>
              <a:rPr lang="en-US" sz="900" b="0" dirty="0">
                <a:latin typeface="Verdana" pitchFamily="34" charset="0"/>
              </a:rPr>
              <a:t> &amp; </a:t>
            </a:r>
            <a:r>
              <a:rPr lang="en-US" sz="900" b="0" dirty="0" err="1">
                <a:latin typeface="Verdana" pitchFamily="34" charset="0"/>
              </a:rPr>
              <a:t>Boyack</a:t>
            </a:r>
            <a:r>
              <a:rPr lang="en-US" sz="900" b="0" dirty="0">
                <a:latin typeface="Verdana" pitchFamily="34" charset="0"/>
              </a:rPr>
              <a:t>, “US vulnerabilities in science and engineering,” 10th International Conference on Science and Technology Indicators, 	   Vienna, Austria, Sept. 17-20, 2008</a:t>
            </a:r>
          </a:p>
        </p:txBody>
      </p:sp>
      <p:grpSp>
        <p:nvGrpSpPr>
          <p:cNvPr id="3" name="Group 228"/>
          <p:cNvGrpSpPr>
            <a:grpSpLocks/>
          </p:cNvGrpSpPr>
          <p:nvPr/>
        </p:nvGrpSpPr>
        <p:grpSpPr bwMode="auto">
          <a:xfrm>
            <a:off x="4803775" y="1384300"/>
            <a:ext cx="3468688" cy="4564063"/>
            <a:chOff x="4943475" y="1420813"/>
            <a:chExt cx="3468688" cy="4527550"/>
          </a:xfrm>
        </p:grpSpPr>
        <p:sp>
          <p:nvSpPr>
            <p:cNvPr id="296368" name="Rectangle 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943475" y="1420813"/>
              <a:ext cx="3468688" cy="4527550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4" name="Group 224"/>
            <p:cNvGrpSpPr>
              <a:grpSpLocks/>
            </p:cNvGrpSpPr>
            <p:nvPr/>
          </p:nvGrpSpPr>
          <p:grpSpPr bwMode="auto">
            <a:xfrm>
              <a:off x="4943475" y="1420813"/>
              <a:ext cx="3468688" cy="376237"/>
              <a:chOff x="4943475" y="1420813"/>
              <a:chExt cx="3468688" cy="376237"/>
            </a:xfrm>
          </p:grpSpPr>
          <p:sp>
            <p:nvSpPr>
              <p:cNvPr id="296377" name="Rectangle 5"/>
              <p:cNvSpPr>
                <a:spLocks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943475" y="1420813"/>
                <a:ext cx="3468688" cy="376237"/>
              </a:xfrm>
              <a:prstGeom prst="rect">
                <a:avLst/>
              </a:prstGeom>
              <a:solidFill>
                <a:srgbClr val="FF99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6378" name="Rectangle 6"/>
              <p:cNvSpPr>
                <a:spLocks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5064125" y="1517650"/>
                <a:ext cx="2438745" cy="2354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lnSpc>
                    <a:spcPct val="85000"/>
                  </a:lnSpc>
                  <a:spcBef>
                    <a:spcPct val="35000"/>
                  </a:spcBef>
                  <a:buClr>
                    <a:srgbClr val="000099"/>
                  </a:buClr>
                  <a:buSzPct val="70000"/>
                  <a:buFont typeface="Wingdings" pitchFamily="2" charset="2"/>
                  <a:buNone/>
                </a:pPr>
                <a:r>
                  <a:rPr lang="en-GB" sz="1800">
                    <a:solidFill>
                      <a:schemeClr val="bg1"/>
                    </a:solidFill>
                  </a:rPr>
                  <a:t>Strengths – Top 40 Nations</a:t>
                </a:r>
              </a:p>
            </p:txBody>
          </p:sp>
        </p:grpSp>
        <p:grpSp>
          <p:nvGrpSpPr>
            <p:cNvPr id="5" name="Group 212"/>
            <p:cNvGrpSpPr>
              <a:grpSpLocks/>
            </p:cNvGrpSpPr>
            <p:nvPr/>
          </p:nvGrpSpPr>
          <p:grpSpPr bwMode="auto">
            <a:xfrm>
              <a:off x="4972050" y="2079625"/>
              <a:ext cx="3409950" cy="3409950"/>
              <a:chOff x="2928" y="1035"/>
              <a:chExt cx="2592" cy="2592"/>
            </a:xfrm>
          </p:grpSpPr>
          <p:grpSp>
            <p:nvGrpSpPr>
              <p:cNvPr id="6" name="Group 25"/>
              <p:cNvGrpSpPr>
                <a:grpSpLocks/>
              </p:cNvGrpSpPr>
              <p:nvPr/>
            </p:nvGrpSpPr>
            <p:grpSpPr bwMode="auto">
              <a:xfrm>
                <a:off x="3043" y="1148"/>
                <a:ext cx="2381" cy="2383"/>
                <a:chOff x="4983480" y="1399032"/>
                <a:chExt cx="3779520" cy="3782568"/>
              </a:xfrm>
            </p:grpSpPr>
            <p:pic>
              <p:nvPicPr>
                <p:cNvPr id="296374" name="Picture 35" descr="circle-disc-gray.eps"/>
                <p:cNvPicPr>
                  <a:picLocks noChangeAspect="1"/>
                </p:cNvPicPr>
                <p:nvPr/>
              </p:nvPicPr>
              <p:blipFill>
                <a:blip r:embed="rId23"/>
                <a:srcRect/>
                <a:stretch>
                  <a:fillRect/>
                </a:stretch>
              </p:blipFill>
              <p:spPr bwMode="auto">
                <a:xfrm>
                  <a:off x="4983480" y="1399032"/>
                  <a:ext cx="3749040" cy="374904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237" name="Rectangle 236"/>
                <p:cNvSpPr/>
                <p:nvPr/>
              </p:nvSpPr>
              <p:spPr bwMode="auto">
                <a:xfrm>
                  <a:off x="5029200" y="1447800"/>
                  <a:ext cx="3657600" cy="3657600"/>
                </a:xfrm>
                <a:prstGeom prst="rect">
                  <a:avLst/>
                </a:prstGeom>
                <a:noFill/>
              </p:spPr>
              <p:txBody>
                <a:bodyPr spcFirstLastPara="1" wrap="none">
                  <a:prstTxWarp prst="textCircle">
                    <a:avLst/>
                  </a:prstTxWarp>
                  <a:spAutoFit/>
                </a:bodyPr>
                <a:lstStyle/>
                <a:p>
                  <a:pPr algn="ctr">
                    <a:defRPr/>
                  </a:pPr>
                  <a:r>
                    <a:rPr lang="en-US" sz="700" b="0" dirty="0">
                      <a:latin typeface="Arial" charset="0"/>
                    </a:rPr>
                    <a:t>Humanities               Social Sciences                            CS / EE                 Math / Physics       Chemistry                           Engineering                            Earth                 Biology           </a:t>
                  </a:r>
                  <a:r>
                    <a:rPr lang="en-US" sz="700" b="0" dirty="0" err="1">
                      <a:latin typeface="Arial" charset="0"/>
                    </a:rPr>
                    <a:t>BioTech</a:t>
                  </a:r>
                  <a:r>
                    <a:rPr lang="en-US" sz="700" b="0" dirty="0">
                      <a:latin typeface="Arial" charset="0"/>
                    </a:rPr>
                    <a:t>   Inf. Disease                  Medical Spec.                                    Health Svc.                          Brain</a:t>
                  </a:r>
                </a:p>
              </p:txBody>
            </p:sp>
            <p:sp>
              <p:nvSpPr>
                <p:cNvPr id="296376" name="Rectangle 87"/>
                <p:cNvSpPr>
                  <a:spLocks noChangeArrowheads="1"/>
                </p:cNvSpPr>
                <p:nvPr/>
              </p:nvSpPr>
              <p:spPr bwMode="auto">
                <a:xfrm>
                  <a:off x="8534400" y="4953000"/>
                  <a:ext cx="228600" cy="228600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1800" b="0">
                    <a:latin typeface="Arial" charset="0"/>
                  </a:endParaRPr>
                </a:p>
              </p:txBody>
            </p:sp>
          </p:grpSp>
          <p:pic>
            <p:nvPicPr>
              <p:cNvPr id="296373" name="Picture 36" descr="ALL_STR.eps"/>
              <p:cNvPicPr>
                <a:picLocks noChangeAspect="1"/>
              </p:cNvPicPr>
              <p:nvPr/>
            </p:nvPicPr>
            <p:blipFill>
              <a:blip r:embed="rId24">
                <a:lum bright="-50000" contrast="-80000"/>
                <a:grayscl/>
                <a:biLevel thresh="50000"/>
              </a:blip>
              <a:srcRect/>
              <a:stretch>
                <a:fillRect/>
              </a:stretch>
            </p:blipFill>
            <p:spPr bwMode="auto">
              <a:xfrm>
                <a:off x="2928" y="1035"/>
                <a:ext cx="2592" cy="259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96371" name="Rectangle 219"/>
            <p:cNvSpPr>
              <a:spLocks noChangeArrowheads="1"/>
            </p:cNvSpPr>
            <p:nvPr/>
          </p:nvSpPr>
          <p:spPr bwMode="auto">
            <a:xfrm>
              <a:off x="7658100" y="5041900"/>
              <a:ext cx="723900" cy="708025"/>
            </a:xfrm>
            <a:prstGeom prst="rect">
              <a:avLst/>
            </a:prstGeom>
            <a:solidFill>
              <a:srgbClr val="F3F3F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</p:grpSp>
      <p:sp>
        <p:nvSpPr>
          <p:cNvPr id="653" name="Rectangle 652"/>
          <p:cNvSpPr>
            <a:spLocks noChangeArrowheads="1"/>
          </p:cNvSpPr>
          <p:nvPr/>
        </p:nvSpPr>
        <p:spPr bwMode="auto">
          <a:xfrm>
            <a:off x="317500" y="1092200"/>
            <a:ext cx="8623300" cy="49911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7" name="Group 227"/>
          <p:cNvGrpSpPr>
            <a:grpSpLocks/>
          </p:cNvGrpSpPr>
          <p:nvPr/>
        </p:nvGrpSpPr>
        <p:grpSpPr bwMode="auto">
          <a:xfrm>
            <a:off x="1092200" y="1408113"/>
            <a:ext cx="3479800" cy="4552950"/>
            <a:chOff x="1079500" y="1395413"/>
            <a:chExt cx="3479800" cy="4552950"/>
          </a:xfrm>
        </p:grpSpPr>
        <p:sp>
          <p:nvSpPr>
            <p:cNvPr id="296161" name="Rectangle 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1079500" y="1420813"/>
              <a:ext cx="3467100" cy="4527550"/>
            </a:xfrm>
            <a:prstGeom prst="rect">
              <a:avLst/>
            </a:prstGeom>
            <a:solidFill>
              <a:srgbClr val="F3F3F3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8" name="Group 223"/>
            <p:cNvGrpSpPr>
              <a:grpSpLocks/>
            </p:cNvGrpSpPr>
            <p:nvPr/>
          </p:nvGrpSpPr>
          <p:grpSpPr bwMode="auto">
            <a:xfrm>
              <a:off x="1092200" y="1395413"/>
              <a:ext cx="3467100" cy="376237"/>
              <a:chOff x="1092200" y="1395413"/>
              <a:chExt cx="3467100" cy="376237"/>
            </a:xfrm>
          </p:grpSpPr>
          <p:sp>
            <p:nvSpPr>
              <p:cNvPr id="296366" name="Rectangle 8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092200" y="1395413"/>
                <a:ext cx="3467100" cy="376237"/>
              </a:xfrm>
              <a:prstGeom prst="rect">
                <a:avLst/>
              </a:prstGeom>
              <a:solidFill>
                <a:srgbClr val="FF99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296367" name="Rectangle 9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1239838" y="1517650"/>
                <a:ext cx="1493999" cy="2354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lnSpc>
                    <a:spcPct val="85000"/>
                  </a:lnSpc>
                  <a:spcBef>
                    <a:spcPct val="35000"/>
                  </a:spcBef>
                  <a:buClr>
                    <a:srgbClr val="000099"/>
                  </a:buClr>
                  <a:buSzPct val="70000"/>
                  <a:buFont typeface="Wingdings" pitchFamily="2" charset="2"/>
                  <a:buNone/>
                </a:pPr>
                <a:r>
                  <a:rPr lang="en-GB" sz="1800">
                    <a:solidFill>
                      <a:schemeClr val="bg1"/>
                    </a:solidFill>
                  </a:rPr>
                  <a:t>Strengths – USA</a:t>
                </a:r>
              </a:p>
            </p:txBody>
          </p:sp>
        </p:grpSp>
        <p:grpSp>
          <p:nvGrpSpPr>
            <p:cNvPr id="9" name="Group 26"/>
            <p:cNvGrpSpPr>
              <a:grpSpLocks/>
            </p:cNvGrpSpPr>
            <p:nvPr/>
          </p:nvGrpSpPr>
          <p:grpSpPr bwMode="auto">
            <a:xfrm>
              <a:off x="1296988" y="2228850"/>
              <a:ext cx="3079750" cy="3081338"/>
              <a:chOff x="4983480" y="1399032"/>
              <a:chExt cx="3779520" cy="3782568"/>
            </a:xfrm>
          </p:grpSpPr>
          <p:pic>
            <p:nvPicPr>
              <p:cNvPr id="296363" name="Picture 35" descr="circle-disc-gray.eps"/>
              <p:cNvPicPr>
                <a:picLocks noChangeAspect="1"/>
              </p:cNvPicPr>
              <p:nvPr/>
            </p:nvPicPr>
            <p:blipFill>
              <a:blip r:embed="rId23"/>
              <a:srcRect/>
              <a:stretch>
                <a:fillRect/>
              </a:stretch>
            </p:blipFill>
            <p:spPr bwMode="auto">
              <a:xfrm>
                <a:off x="4983480" y="1399032"/>
                <a:ext cx="3749040" cy="374904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070" name="Rectangle 1069"/>
              <p:cNvSpPr/>
              <p:nvPr/>
            </p:nvSpPr>
            <p:spPr bwMode="auto">
              <a:xfrm>
                <a:off x="5029200" y="1447800"/>
                <a:ext cx="3657600" cy="3657600"/>
              </a:xfrm>
              <a:prstGeom prst="rect">
                <a:avLst/>
              </a:prstGeom>
              <a:noFill/>
            </p:spPr>
            <p:txBody>
              <a:bodyPr spcFirstLastPara="1" wrap="none">
                <a:prstTxWarp prst="textCircle">
                  <a:avLst/>
                </a:prstTxWarp>
                <a:spAutoFit/>
              </a:bodyPr>
              <a:lstStyle/>
              <a:p>
                <a:pPr algn="ctr">
                  <a:defRPr/>
                </a:pPr>
                <a:r>
                  <a:rPr lang="en-US" sz="700" b="0" dirty="0">
                    <a:latin typeface="Arial" charset="0"/>
                  </a:rPr>
                  <a:t>Humanities               Social Sciences                            CS / EE                 Math / Physics       Chemistry                           Engineering                            Earth                 Biology           </a:t>
                </a:r>
                <a:r>
                  <a:rPr lang="en-US" sz="700" b="0" dirty="0" err="1">
                    <a:latin typeface="Arial" charset="0"/>
                  </a:rPr>
                  <a:t>BioTech</a:t>
                </a:r>
                <a:r>
                  <a:rPr lang="en-US" sz="700" b="0" dirty="0">
                    <a:latin typeface="Arial" charset="0"/>
                  </a:rPr>
                  <a:t>   Inf. Disease                  Medical Spec.                                    Health Svc.                          Brain</a:t>
                </a:r>
              </a:p>
            </p:txBody>
          </p:sp>
          <p:sp>
            <p:nvSpPr>
              <p:cNvPr id="296365" name="Rectangle 87"/>
              <p:cNvSpPr>
                <a:spLocks noChangeArrowheads="1"/>
              </p:cNvSpPr>
              <p:nvPr/>
            </p:nvSpPr>
            <p:spPr bwMode="auto">
              <a:xfrm>
                <a:off x="8534400" y="4953000"/>
                <a:ext cx="228600" cy="228600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1800" b="0">
                  <a:latin typeface="Arial" charset="0"/>
                </a:endParaRPr>
              </a:p>
            </p:txBody>
          </p:sp>
        </p:grpSp>
        <p:pic>
          <p:nvPicPr>
            <p:cNvPr id="296164" name="Picture 23" descr="US_STR.eps"/>
            <p:cNvPicPr>
              <a:picLocks noChangeAspect="1"/>
            </p:cNvPicPr>
            <p:nvPr/>
          </p:nvPicPr>
          <p:blipFill>
            <a:blip r:embed="rId25">
              <a:lum bright="30000" contrast="-80000"/>
              <a:grayscl/>
              <a:biLevel thresh="50000"/>
            </a:blip>
            <a:srcRect/>
            <a:stretch>
              <a:fillRect/>
            </a:stretch>
          </p:blipFill>
          <p:spPr bwMode="auto">
            <a:xfrm>
              <a:off x="1147763" y="2079625"/>
              <a:ext cx="3352800" cy="3352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96165" name="Rectangle 218"/>
            <p:cNvSpPr>
              <a:spLocks noChangeArrowheads="1"/>
            </p:cNvSpPr>
            <p:nvPr/>
          </p:nvSpPr>
          <p:spPr bwMode="auto">
            <a:xfrm>
              <a:off x="3776663" y="4999038"/>
              <a:ext cx="723900" cy="708025"/>
            </a:xfrm>
            <a:prstGeom prst="rect">
              <a:avLst/>
            </a:prstGeom>
            <a:solidFill>
              <a:srgbClr val="F3F3F3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/>
            </a:p>
          </p:txBody>
        </p:sp>
        <p:grpSp>
          <p:nvGrpSpPr>
            <p:cNvPr id="10" name="Group 18"/>
            <p:cNvGrpSpPr>
              <a:grpSpLocks/>
            </p:cNvGrpSpPr>
            <p:nvPr/>
          </p:nvGrpSpPr>
          <p:grpSpPr bwMode="auto">
            <a:xfrm>
              <a:off x="1582738" y="2389186"/>
              <a:ext cx="2530475" cy="2673350"/>
              <a:chOff x="3459" y="1010"/>
              <a:chExt cx="1956" cy="2067"/>
            </a:xfrm>
          </p:grpSpPr>
          <p:sp>
            <p:nvSpPr>
              <p:cNvPr id="296167" name="Freeform 19"/>
              <p:cNvSpPr>
                <a:spLocks/>
              </p:cNvSpPr>
              <p:nvPr/>
            </p:nvSpPr>
            <p:spPr bwMode="auto">
              <a:xfrm>
                <a:off x="4950" y="1897"/>
                <a:ext cx="465" cy="465"/>
              </a:xfrm>
              <a:custGeom>
                <a:avLst/>
                <a:gdLst>
                  <a:gd name="T0" fmla="*/ 465 w 465"/>
                  <a:gd name="T1" fmla="*/ 233 h 465"/>
                  <a:gd name="T2" fmla="*/ 463 w 465"/>
                  <a:gd name="T3" fmla="*/ 201 h 465"/>
                  <a:gd name="T4" fmla="*/ 456 w 465"/>
                  <a:gd name="T5" fmla="*/ 171 h 465"/>
                  <a:gd name="T6" fmla="*/ 447 w 465"/>
                  <a:gd name="T7" fmla="*/ 142 h 465"/>
                  <a:gd name="T8" fmla="*/ 434 w 465"/>
                  <a:gd name="T9" fmla="*/ 115 h 465"/>
                  <a:gd name="T10" fmla="*/ 416 w 465"/>
                  <a:gd name="T11" fmla="*/ 90 h 465"/>
                  <a:gd name="T12" fmla="*/ 398 w 465"/>
                  <a:gd name="T13" fmla="*/ 68 h 465"/>
                  <a:gd name="T14" fmla="*/ 375 w 465"/>
                  <a:gd name="T15" fmla="*/ 49 h 465"/>
                  <a:gd name="T16" fmla="*/ 350 w 465"/>
                  <a:gd name="T17" fmla="*/ 31 h 465"/>
                  <a:gd name="T18" fmla="*/ 323 w 465"/>
                  <a:gd name="T19" fmla="*/ 18 h 465"/>
                  <a:gd name="T20" fmla="*/ 295 w 465"/>
                  <a:gd name="T21" fmla="*/ 9 h 465"/>
                  <a:gd name="T22" fmla="*/ 264 w 465"/>
                  <a:gd name="T23" fmla="*/ 2 h 465"/>
                  <a:gd name="T24" fmla="*/ 233 w 465"/>
                  <a:gd name="T25" fmla="*/ 0 h 465"/>
                  <a:gd name="T26" fmla="*/ 201 w 465"/>
                  <a:gd name="T27" fmla="*/ 2 h 465"/>
                  <a:gd name="T28" fmla="*/ 170 w 465"/>
                  <a:gd name="T29" fmla="*/ 9 h 465"/>
                  <a:gd name="T30" fmla="*/ 142 w 465"/>
                  <a:gd name="T31" fmla="*/ 18 h 465"/>
                  <a:gd name="T32" fmla="*/ 115 w 465"/>
                  <a:gd name="T33" fmla="*/ 31 h 465"/>
                  <a:gd name="T34" fmla="*/ 90 w 465"/>
                  <a:gd name="T35" fmla="*/ 49 h 465"/>
                  <a:gd name="T36" fmla="*/ 68 w 465"/>
                  <a:gd name="T37" fmla="*/ 68 h 465"/>
                  <a:gd name="T38" fmla="*/ 49 w 465"/>
                  <a:gd name="T39" fmla="*/ 90 h 465"/>
                  <a:gd name="T40" fmla="*/ 32 w 465"/>
                  <a:gd name="T41" fmla="*/ 115 h 465"/>
                  <a:gd name="T42" fmla="*/ 18 w 465"/>
                  <a:gd name="T43" fmla="*/ 142 h 465"/>
                  <a:gd name="T44" fmla="*/ 9 w 465"/>
                  <a:gd name="T45" fmla="*/ 171 h 465"/>
                  <a:gd name="T46" fmla="*/ 2 w 465"/>
                  <a:gd name="T47" fmla="*/ 201 h 465"/>
                  <a:gd name="T48" fmla="*/ 0 w 465"/>
                  <a:gd name="T49" fmla="*/ 233 h 465"/>
                  <a:gd name="T50" fmla="*/ 2 w 465"/>
                  <a:gd name="T51" fmla="*/ 264 h 465"/>
                  <a:gd name="T52" fmla="*/ 9 w 465"/>
                  <a:gd name="T53" fmla="*/ 295 h 465"/>
                  <a:gd name="T54" fmla="*/ 18 w 465"/>
                  <a:gd name="T55" fmla="*/ 323 h 465"/>
                  <a:gd name="T56" fmla="*/ 32 w 465"/>
                  <a:gd name="T57" fmla="*/ 350 h 465"/>
                  <a:gd name="T58" fmla="*/ 49 w 465"/>
                  <a:gd name="T59" fmla="*/ 375 h 465"/>
                  <a:gd name="T60" fmla="*/ 68 w 465"/>
                  <a:gd name="T61" fmla="*/ 397 h 465"/>
                  <a:gd name="T62" fmla="*/ 90 w 465"/>
                  <a:gd name="T63" fmla="*/ 416 h 465"/>
                  <a:gd name="T64" fmla="*/ 115 w 465"/>
                  <a:gd name="T65" fmla="*/ 433 h 465"/>
                  <a:gd name="T66" fmla="*/ 142 w 465"/>
                  <a:gd name="T67" fmla="*/ 447 h 465"/>
                  <a:gd name="T68" fmla="*/ 170 w 465"/>
                  <a:gd name="T69" fmla="*/ 457 h 465"/>
                  <a:gd name="T70" fmla="*/ 201 w 465"/>
                  <a:gd name="T71" fmla="*/ 463 h 465"/>
                  <a:gd name="T72" fmla="*/ 233 w 465"/>
                  <a:gd name="T73" fmla="*/ 465 h 465"/>
                  <a:gd name="T74" fmla="*/ 264 w 465"/>
                  <a:gd name="T75" fmla="*/ 463 h 465"/>
                  <a:gd name="T76" fmla="*/ 295 w 465"/>
                  <a:gd name="T77" fmla="*/ 457 h 465"/>
                  <a:gd name="T78" fmla="*/ 323 w 465"/>
                  <a:gd name="T79" fmla="*/ 447 h 465"/>
                  <a:gd name="T80" fmla="*/ 350 w 465"/>
                  <a:gd name="T81" fmla="*/ 433 h 465"/>
                  <a:gd name="T82" fmla="*/ 375 w 465"/>
                  <a:gd name="T83" fmla="*/ 416 h 465"/>
                  <a:gd name="T84" fmla="*/ 398 w 465"/>
                  <a:gd name="T85" fmla="*/ 397 h 465"/>
                  <a:gd name="T86" fmla="*/ 416 w 465"/>
                  <a:gd name="T87" fmla="*/ 375 h 465"/>
                  <a:gd name="T88" fmla="*/ 434 w 465"/>
                  <a:gd name="T89" fmla="*/ 350 h 465"/>
                  <a:gd name="T90" fmla="*/ 447 w 465"/>
                  <a:gd name="T91" fmla="*/ 323 h 465"/>
                  <a:gd name="T92" fmla="*/ 456 w 465"/>
                  <a:gd name="T93" fmla="*/ 295 h 465"/>
                  <a:gd name="T94" fmla="*/ 463 w 465"/>
                  <a:gd name="T95" fmla="*/ 264 h 465"/>
                  <a:gd name="T96" fmla="*/ 465 w 465"/>
                  <a:gd name="T97" fmla="*/ 233 h 46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65"/>
                  <a:gd name="T148" fmla="*/ 0 h 465"/>
                  <a:gd name="T149" fmla="*/ 465 w 465"/>
                  <a:gd name="T150" fmla="*/ 465 h 46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65" h="465">
                    <a:moveTo>
                      <a:pt x="465" y="233"/>
                    </a:moveTo>
                    <a:lnTo>
                      <a:pt x="463" y="201"/>
                    </a:lnTo>
                    <a:lnTo>
                      <a:pt x="456" y="171"/>
                    </a:lnTo>
                    <a:lnTo>
                      <a:pt x="447" y="142"/>
                    </a:lnTo>
                    <a:lnTo>
                      <a:pt x="434" y="115"/>
                    </a:lnTo>
                    <a:lnTo>
                      <a:pt x="416" y="90"/>
                    </a:lnTo>
                    <a:lnTo>
                      <a:pt x="398" y="68"/>
                    </a:lnTo>
                    <a:lnTo>
                      <a:pt x="375" y="49"/>
                    </a:lnTo>
                    <a:lnTo>
                      <a:pt x="350" y="31"/>
                    </a:lnTo>
                    <a:lnTo>
                      <a:pt x="323" y="18"/>
                    </a:lnTo>
                    <a:lnTo>
                      <a:pt x="295" y="9"/>
                    </a:lnTo>
                    <a:lnTo>
                      <a:pt x="264" y="2"/>
                    </a:lnTo>
                    <a:lnTo>
                      <a:pt x="233" y="0"/>
                    </a:lnTo>
                    <a:lnTo>
                      <a:pt x="201" y="2"/>
                    </a:lnTo>
                    <a:lnTo>
                      <a:pt x="170" y="9"/>
                    </a:lnTo>
                    <a:lnTo>
                      <a:pt x="142" y="18"/>
                    </a:lnTo>
                    <a:lnTo>
                      <a:pt x="115" y="31"/>
                    </a:lnTo>
                    <a:lnTo>
                      <a:pt x="90" y="49"/>
                    </a:lnTo>
                    <a:lnTo>
                      <a:pt x="68" y="68"/>
                    </a:lnTo>
                    <a:lnTo>
                      <a:pt x="49" y="90"/>
                    </a:lnTo>
                    <a:lnTo>
                      <a:pt x="32" y="115"/>
                    </a:lnTo>
                    <a:lnTo>
                      <a:pt x="18" y="142"/>
                    </a:lnTo>
                    <a:lnTo>
                      <a:pt x="9" y="171"/>
                    </a:lnTo>
                    <a:lnTo>
                      <a:pt x="2" y="201"/>
                    </a:lnTo>
                    <a:lnTo>
                      <a:pt x="0" y="233"/>
                    </a:lnTo>
                    <a:lnTo>
                      <a:pt x="2" y="264"/>
                    </a:lnTo>
                    <a:lnTo>
                      <a:pt x="9" y="295"/>
                    </a:lnTo>
                    <a:lnTo>
                      <a:pt x="18" y="323"/>
                    </a:lnTo>
                    <a:lnTo>
                      <a:pt x="32" y="350"/>
                    </a:lnTo>
                    <a:lnTo>
                      <a:pt x="49" y="375"/>
                    </a:lnTo>
                    <a:lnTo>
                      <a:pt x="68" y="397"/>
                    </a:lnTo>
                    <a:lnTo>
                      <a:pt x="90" y="416"/>
                    </a:lnTo>
                    <a:lnTo>
                      <a:pt x="115" y="433"/>
                    </a:lnTo>
                    <a:lnTo>
                      <a:pt x="142" y="447"/>
                    </a:lnTo>
                    <a:lnTo>
                      <a:pt x="170" y="457"/>
                    </a:lnTo>
                    <a:lnTo>
                      <a:pt x="201" y="463"/>
                    </a:lnTo>
                    <a:lnTo>
                      <a:pt x="233" y="465"/>
                    </a:lnTo>
                    <a:lnTo>
                      <a:pt x="264" y="463"/>
                    </a:lnTo>
                    <a:lnTo>
                      <a:pt x="295" y="457"/>
                    </a:lnTo>
                    <a:lnTo>
                      <a:pt x="323" y="447"/>
                    </a:lnTo>
                    <a:lnTo>
                      <a:pt x="350" y="433"/>
                    </a:lnTo>
                    <a:lnTo>
                      <a:pt x="375" y="416"/>
                    </a:lnTo>
                    <a:lnTo>
                      <a:pt x="398" y="397"/>
                    </a:lnTo>
                    <a:lnTo>
                      <a:pt x="416" y="375"/>
                    </a:lnTo>
                    <a:lnTo>
                      <a:pt x="434" y="350"/>
                    </a:lnTo>
                    <a:lnTo>
                      <a:pt x="447" y="323"/>
                    </a:lnTo>
                    <a:lnTo>
                      <a:pt x="456" y="295"/>
                    </a:lnTo>
                    <a:lnTo>
                      <a:pt x="463" y="264"/>
                    </a:lnTo>
                    <a:lnTo>
                      <a:pt x="465" y="23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68" name="Freeform 20"/>
              <p:cNvSpPr>
                <a:spLocks/>
              </p:cNvSpPr>
              <p:nvPr/>
            </p:nvSpPr>
            <p:spPr bwMode="auto">
              <a:xfrm>
                <a:off x="4950" y="1897"/>
                <a:ext cx="465" cy="465"/>
              </a:xfrm>
              <a:custGeom>
                <a:avLst/>
                <a:gdLst>
                  <a:gd name="T0" fmla="*/ 465 w 465"/>
                  <a:gd name="T1" fmla="*/ 233 h 465"/>
                  <a:gd name="T2" fmla="*/ 463 w 465"/>
                  <a:gd name="T3" fmla="*/ 201 h 465"/>
                  <a:gd name="T4" fmla="*/ 456 w 465"/>
                  <a:gd name="T5" fmla="*/ 171 h 465"/>
                  <a:gd name="T6" fmla="*/ 447 w 465"/>
                  <a:gd name="T7" fmla="*/ 142 h 465"/>
                  <a:gd name="T8" fmla="*/ 434 w 465"/>
                  <a:gd name="T9" fmla="*/ 115 h 465"/>
                  <a:gd name="T10" fmla="*/ 416 w 465"/>
                  <a:gd name="T11" fmla="*/ 90 h 465"/>
                  <a:gd name="T12" fmla="*/ 398 w 465"/>
                  <a:gd name="T13" fmla="*/ 68 h 465"/>
                  <a:gd name="T14" fmla="*/ 375 w 465"/>
                  <a:gd name="T15" fmla="*/ 49 h 465"/>
                  <a:gd name="T16" fmla="*/ 350 w 465"/>
                  <a:gd name="T17" fmla="*/ 31 h 465"/>
                  <a:gd name="T18" fmla="*/ 323 w 465"/>
                  <a:gd name="T19" fmla="*/ 18 h 465"/>
                  <a:gd name="T20" fmla="*/ 295 w 465"/>
                  <a:gd name="T21" fmla="*/ 9 h 465"/>
                  <a:gd name="T22" fmla="*/ 264 w 465"/>
                  <a:gd name="T23" fmla="*/ 2 h 465"/>
                  <a:gd name="T24" fmla="*/ 233 w 465"/>
                  <a:gd name="T25" fmla="*/ 0 h 465"/>
                  <a:gd name="T26" fmla="*/ 201 w 465"/>
                  <a:gd name="T27" fmla="*/ 2 h 465"/>
                  <a:gd name="T28" fmla="*/ 170 w 465"/>
                  <a:gd name="T29" fmla="*/ 9 h 465"/>
                  <a:gd name="T30" fmla="*/ 142 w 465"/>
                  <a:gd name="T31" fmla="*/ 18 h 465"/>
                  <a:gd name="T32" fmla="*/ 115 w 465"/>
                  <a:gd name="T33" fmla="*/ 31 h 465"/>
                  <a:gd name="T34" fmla="*/ 90 w 465"/>
                  <a:gd name="T35" fmla="*/ 49 h 465"/>
                  <a:gd name="T36" fmla="*/ 68 w 465"/>
                  <a:gd name="T37" fmla="*/ 68 h 465"/>
                  <a:gd name="T38" fmla="*/ 49 w 465"/>
                  <a:gd name="T39" fmla="*/ 90 h 465"/>
                  <a:gd name="T40" fmla="*/ 32 w 465"/>
                  <a:gd name="T41" fmla="*/ 115 h 465"/>
                  <a:gd name="T42" fmla="*/ 18 w 465"/>
                  <a:gd name="T43" fmla="*/ 142 h 465"/>
                  <a:gd name="T44" fmla="*/ 9 w 465"/>
                  <a:gd name="T45" fmla="*/ 171 h 465"/>
                  <a:gd name="T46" fmla="*/ 2 w 465"/>
                  <a:gd name="T47" fmla="*/ 201 h 465"/>
                  <a:gd name="T48" fmla="*/ 0 w 465"/>
                  <a:gd name="T49" fmla="*/ 233 h 465"/>
                  <a:gd name="T50" fmla="*/ 2 w 465"/>
                  <a:gd name="T51" fmla="*/ 264 h 465"/>
                  <a:gd name="T52" fmla="*/ 9 w 465"/>
                  <a:gd name="T53" fmla="*/ 295 h 465"/>
                  <a:gd name="T54" fmla="*/ 18 w 465"/>
                  <a:gd name="T55" fmla="*/ 323 h 465"/>
                  <a:gd name="T56" fmla="*/ 32 w 465"/>
                  <a:gd name="T57" fmla="*/ 350 h 465"/>
                  <a:gd name="T58" fmla="*/ 49 w 465"/>
                  <a:gd name="T59" fmla="*/ 375 h 465"/>
                  <a:gd name="T60" fmla="*/ 68 w 465"/>
                  <a:gd name="T61" fmla="*/ 397 h 465"/>
                  <a:gd name="T62" fmla="*/ 90 w 465"/>
                  <a:gd name="T63" fmla="*/ 416 h 465"/>
                  <a:gd name="T64" fmla="*/ 115 w 465"/>
                  <a:gd name="T65" fmla="*/ 433 h 465"/>
                  <a:gd name="T66" fmla="*/ 142 w 465"/>
                  <a:gd name="T67" fmla="*/ 447 h 465"/>
                  <a:gd name="T68" fmla="*/ 170 w 465"/>
                  <a:gd name="T69" fmla="*/ 457 h 465"/>
                  <a:gd name="T70" fmla="*/ 201 w 465"/>
                  <a:gd name="T71" fmla="*/ 463 h 465"/>
                  <a:gd name="T72" fmla="*/ 233 w 465"/>
                  <a:gd name="T73" fmla="*/ 465 h 465"/>
                  <a:gd name="T74" fmla="*/ 264 w 465"/>
                  <a:gd name="T75" fmla="*/ 463 h 465"/>
                  <a:gd name="T76" fmla="*/ 295 w 465"/>
                  <a:gd name="T77" fmla="*/ 457 h 465"/>
                  <a:gd name="T78" fmla="*/ 323 w 465"/>
                  <a:gd name="T79" fmla="*/ 447 h 465"/>
                  <a:gd name="T80" fmla="*/ 350 w 465"/>
                  <a:gd name="T81" fmla="*/ 433 h 465"/>
                  <a:gd name="T82" fmla="*/ 375 w 465"/>
                  <a:gd name="T83" fmla="*/ 416 h 465"/>
                  <a:gd name="T84" fmla="*/ 398 w 465"/>
                  <a:gd name="T85" fmla="*/ 397 h 465"/>
                  <a:gd name="T86" fmla="*/ 416 w 465"/>
                  <a:gd name="T87" fmla="*/ 375 h 465"/>
                  <a:gd name="T88" fmla="*/ 434 w 465"/>
                  <a:gd name="T89" fmla="*/ 350 h 465"/>
                  <a:gd name="T90" fmla="*/ 447 w 465"/>
                  <a:gd name="T91" fmla="*/ 323 h 465"/>
                  <a:gd name="T92" fmla="*/ 456 w 465"/>
                  <a:gd name="T93" fmla="*/ 295 h 465"/>
                  <a:gd name="T94" fmla="*/ 463 w 465"/>
                  <a:gd name="T95" fmla="*/ 264 h 465"/>
                  <a:gd name="T96" fmla="*/ 465 w 465"/>
                  <a:gd name="T97" fmla="*/ 233 h 465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465"/>
                  <a:gd name="T148" fmla="*/ 0 h 465"/>
                  <a:gd name="T149" fmla="*/ 465 w 465"/>
                  <a:gd name="T150" fmla="*/ 465 h 465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465" h="465">
                    <a:moveTo>
                      <a:pt x="465" y="233"/>
                    </a:moveTo>
                    <a:lnTo>
                      <a:pt x="463" y="201"/>
                    </a:lnTo>
                    <a:lnTo>
                      <a:pt x="456" y="171"/>
                    </a:lnTo>
                    <a:lnTo>
                      <a:pt x="447" y="142"/>
                    </a:lnTo>
                    <a:lnTo>
                      <a:pt x="434" y="115"/>
                    </a:lnTo>
                    <a:lnTo>
                      <a:pt x="416" y="90"/>
                    </a:lnTo>
                    <a:lnTo>
                      <a:pt x="398" y="68"/>
                    </a:lnTo>
                    <a:lnTo>
                      <a:pt x="375" y="49"/>
                    </a:lnTo>
                    <a:lnTo>
                      <a:pt x="350" y="31"/>
                    </a:lnTo>
                    <a:lnTo>
                      <a:pt x="323" y="18"/>
                    </a:lnTo>
                    <a:lnTo>
                      <a:pt x="295" y="9"/>
                    </a:lnTo>
                    <a:lnTo>
                      <a:pt x="264" y="2"/>
                    </a:lnTo>
                    <a:lnTo>
                      <a:pt x="233" y="0"/>
                    </a:lnTo>
                    <a:lnTo>
                      <a:pt x="201" y="2"/>
                    </a:lnTo>
                    <a:lnTo>
                      <a:pt x="170" y="9"/>
                    </a:lnTo>
                    <a:lnTo>
                      <a:pt x="142" y="18"/>
                    </a:lnTo>
                    <a:lnTo>
                      <a:pt x="115" y="31"/>
                    </a:lnTo>
                    <a:lnTo>
                      <a:pt x="90" y="49"/>
                    </a:lnTo>
                    <a:lnTo>
                      <a:pt x="68" y="68"/>
                    </a:lnTo>
                    <a:lnTo>
                      <a:pt x="49" y="90"/>
                    </a:lnTo>
                    <a:lnTo>
                      <a:pt x="32" y="115"/>
                    </a:lnTo>
                    <a:lnTo>
                      <a:pt x="18" y="142"/>
                    </a:lnTo>
                    <a:lnTo>
                      <a:pt x="9" y="171"/>
                    </a:lnTo>
                    <a:lnTo>
                      <a:pt x="2" y="201"/>
                    </a:lnTo>
                    <a:lnTo>
                      <a:pt x="0" y="233"/>
                    </a:lnTo>
                    <a:lnTo>
                      <a:pt x="2" y="264"/>
                    </a:lnTo>
                    <a:lnTo>
                      <a:pt x="9" y="295"/>
                    </a:lnTo>
                    <a:lnTo>
                      <a:pt x="18" y="323"/>
                    </a:lnTo>
                    <a:lnTo>
                      <a:pt x="32" y="350"/>
                    </a:lnTo>
                    <a:lnTo>
                      <a:pt x="49" y="375"/>
                    </a:lnTo>
                    <a:lnTo>
                      <a:pt x="68" y="397"/>
                    </a:lnTo>
                    <a:lnTo>
                      <a:pt x="90" y="416"/>
                    </a:lnTo>
                    <a:lnTo>
                      <a:pt x="115" y="433"/>
                    </a:lnTo>
                    <a:lnTo>
                      <a:pt x="142" y="447"/>
                    </a:lnTo>
                    <a:lnTo>
                      <a:pt x="170" y="457"/>
                    </a:lnTo>
                    <a:lnTo>
                      <a:pt x="201" y="463"/>
                    </a:lnTo>
                    <a:lnTo>
                      <a:pt x="233" y="465"/>
                    </a:lnTo>
                    <a:lnTo>
                      <a:pt x="264" y="463"/>
                    </a:lnTo>
                    <a:lnTo>
                      <a:pt x="295" y="457"/>
                    </a:lnTo>
                    <a:lnTo>
                      <a:pt x="323" y="447"/>
                    </a:lnTo>
                    <a:lnTo>
                      <a:pt x="350" y="433"/>
                    </a:lnTo>
                    <a:lnTo>
                      <a:pt x="375" y="416"/>
                    </a:lnTo>
                    <a:lnTo>
                      <a:pt x="398" y="397"/>
                    </a:lnTo>
                    <a:lnTo>
                      <a:pt x="416" y="375"/>
                    </a:lnTo>
                    <a:lnTo>
                      <a:pt x="434" y="350"/>
                    </a:lnTo>
                    <a:lnTo>
                      <a:pt x="447" y="323"/>
                    </a:lnTo>
                    <a:lnTo>
                      <a:pt x="456" y="295"/>
                    </a:lnTo>
                    <a:lnTo>
                      <a:pt x="463" y="264"/>
                    </a:lnTo>
                    <a:lnTo>
                      <a:pt x="465" y="23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69" name="Freeform 21"/>
              <p:cNvSpPr>
                <a:spLocks/>
              </p:cNvSpPr>
              <p:nvPr/>
            </p:nvSpPr>
            <p:spPr bwMode="auto">
              <a:xfrm>
                <a:off x="4091" y="2682"/>
                <a:ext cx="376" cy="376"/>
              </a:xfrm>
              <a:custGeom>
                <a:avLst/>
                <a:gdLst>
                  <a:gd name="T0" fmla="*/ 376 w 376"/>
                  <a:gd name="T1" fmla="*/ 188 h 376"/>
                  <a:gd name="T2" fmla="*/ 373 w 376"/>
                  <a:gd name="T3" fmla="*/ 157 h 376"/>
                  <a:gd name="T4" fmla="*/ 366 w 376"/>
                  <a:gd name="T5" fmla="*/ 128 h 376"/>
                  <a:gd name="T6" fmla="*/ 355 w 376"/>
                  <a:gd name="T7" fmla="*/ 101 h 376"/>
                  <a:gd name="T8" fmla="*/ 340 w 376"/>
                  <a:gd name="T9" fmla="*/ 77 h 376"/>
                  <a:gd name="T10" fmla="*/ 321 w 376"/>
                  <a:gd name="T11" fmla="*/ 55 h 376"/>
                  <a:gd name="T12" fmla="*/ 299 w 376"/>
                  <a:gd name="T13" fmla="*/ 36 h 376"/>
                  <a:gd name="T14" fmla="*/ 274 w 376"/>
                  <a:gd name="T15" fmla="*/ 21 h 376"/>
                  <a:gd name="T16" fmla="*/ 248 w 376"/>
                  <a:gd name="T17" fmla="*/ 9 h 376"/>
                  <a:gd name="T18" fmla="*/ 219 w 376"/>
                  <a:gd name="T19" fmla="*/ 2 h 376"/>
                  <a:gd name="T20" fmla="*/ 188 w 376"/>
                  <a:gd name="T21" fmla="*/ 0 h 376"/>
                  <a:gd name="T22" fmla="*/ 157 w 376"/>
                  <a:gd name="T23" fmla="*/ 2 h 376"/>
                  <a:gd name="T24" fmla="*/ 128 w 376"/>
                  <a:gd name="T25" fmla="*/ 9 h 376"/>
                  <a:gd name="T26" fmla="*/ 102 w 376"/>
                  <a:gd name="T27" fmla="*/ 21 h 376"/>
                  <a:gd name="T28" fmla="*/ 77 w 376"/>
                  <a:gd name="T29" fmla="*/ 36 h 376"/>
                  <a:gd name="T30" fmla="*/ 55 w 376"/>
                  <a:gd name="T31" fmla="*/ 55 h 376"/>
                  <a:gd name="T32" fmla="*/ 36 w 376"/>
                  <a:gd name="T33" fmla="*/ 77 h 376"/>
                  <a:gd name="T34" fmla="*/ 21 w 376"/>
                  <a:gd name="T35" fmla="*/ 101 h 376"/>
                  <a:gd name="T36" fmla="*/ 10 w 376"/>
                  <a:gd name="T37" fmla="*/ 128 h 376"/>
                  <a:gd name="T38" fmla="*/ 3 w 376"/>
                  <a:gd name="T39" fmla="*/ 157 h 376"/>
                  <a:gd name="T40" fmla="*/ 0 w 376"/>
                  <a:gd name="T41" fmla="*/ 188 h 376"/>
                  <a:gd name="T42" fmla="*/ 3 w 376"/>
                  <a:gd name="T43" fmla="*/ 218 h 376"/>
                  <a:gd name="T44" fmla="*/ 10 w 376"/>
                  <a:gd name="T45" fmla="*/ 247 h 376"/>
                  <a:gd name="T46" fmla="*/ 21 w 376"/>
                  <a:gd name="T47" fmla="*/ 274 h 376"/>
                  <a:gd name="T48" fmla="*/ 36 w 376"/>
                  <a:gd name="T49" fmla="*/ 299 h 376"/>
                  <a:gd name="T50" fmla="*/ 55 w 376"/>
                  <a:gd name="T51" fmla="*/ 321 h 376"/>
                  <a:gd name="T52" fmla="*/ 77 w 376"/>
                  <a:gd name="T53" fmla="*/ 339 h 376"/>
                  <a:gd name="T54" fmla="*/ 102 w 376"/>
                  <a:gd name="T55" fmla="*/ 354 h 376"/>
                  <a:gd name="T56" fmla="*/ 128 w 376"/>
                  <a:gd name="T57" fmla="*/ 366 h 376"/>
                  <a:gd name="T58" fmla="*/ 157 w 376"/>
                  <a:gd name="T59" fmla="*/ 373 h 376"/>
                  <a:gd name="T60" fmla="*/ 188 w 376"/>
                  <a:gd name="T61" fmla="*/ 376 h 376"/>
                  <a:gd name="T62" fmla="*/ 219 w 376"/>
                  <a:gd name="T63" fmla="*/ 373 h 376"/>
                  <a:gd name="T64" fmla="*/ 248 w 376"/>
                  <a:gd name="T65" fmla="*/ 366 h 376"/>
                  <a:gd name="T66" fmla="*/ 274 w 376"/>
                  <a:gd name="T67" fmla="*/ 354 h 376"/>
                  <a:gd name="T68" fmla="*/ 299 w 376"/>
                  <a:gd name="T69" fmla="*/ 339 h 376"/>
                  <a:gd name="T70" fmla="*/ 321 w 376"/>
                  <a:gd name="T71" fmla="*/ 321 h 376"/>
                  <a:gd name="T72" fmla="*/ 340 w 376"/>
                  <a:gd name="T73" fmla="*/ 299 h 376"/>
                  <a:gd name="T74" fmla="*/ 355 w 376"/>
                  <a:gd name="T75" fmla="*/ 274 h 376"/>
                  <a:gd name="T76" fmla="*/ 366 w 376"/>
                  <a:gd name="T77" fmla="*/ 247 h 376"/>
                  <a:gd name="T78" fmla="*/ 373 w 376"/>
                  <a:gd name="T79" fmla="*/ 218 h 376"/>
                  <a:gd name="T80" fmla="*/ 376 w 376"/>
                  <a:gd name="T81" fmla="*/ 188 h 37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76"/>
                  <a:gd name="T124" fmla="*/ 0 h 376"/>
                  <a:gd name="T125" fmla="*/ 376 w 376"/>
                  <a:gd name="T126" fmla="*/ 376 h 37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76" h="376">
                    <a:moveTo>
                      <a:pt x="376" y="188"/>
                    </a:moveTo>
                    <a:lnTo>
                      <a:pt x="373" y="157"/>
                    </a:lnTo>
                    <a:lnTo>
                      <a:pt x="366" y="128"/>
                    </a:lnTo>
                    <a:lnTo>
                      <a:pt x="355" y="101"/>
                    </a:lnTo>
                    <a:lnTo>
                      <a:pt x="340" y="77"/>
                    </a:lnTo>
                    <a:lnTo>
                      <a:pt x="321" y="55"/>
                    </a:lnTo>
                    <a:lnTo>
                      <a:pt x="299" y="36"/>
                    </a:lnTo>
                    <a:lnTo>
                      <a:pt x="274" y="21"/>
                    </a:lnTo>
                    <a:lnTo>
                      <a:pt x="248" y="9"/>
                    </a:lnTo>
                    <a:lnTo>
                      <a:pt x="219" y="2"/>
                    </a:lnTo>
                    <a:lnTo>
                      <a:pt x="188" y="0"/>
                    </a:lnTo>
                    <a:lnTo>
                      <a:pt x="157" y="2"/>
                    </a:lnTo>
                    <a:lnTo>
                      <a:pt x="128" y="9"/>
                    </a:lnTo>
                    <a:lnTo>
                      <a:pt x="102" y="21"/>
                    </a:lnTo>
                    <a:lnTo>
                      <a:pt x="77" y="36"/>
                    </a:lnTo>
                    <a:lnTo>
                      <a:pt x="55" y="55"/>
                    </a:lnTo>
                    <a:lnTo>
                      <a:pt x="36" y="77"/>
                    </a:lnTo>
                    <a:lnTo>
                      <a:pt x="21" y="101"/>
                    </a:lnTo>
                    <a:lnTo>
                      <a:pt x="10" y="128"/>
                    </a:lnTo>
                    <a:lnTo>
                      <a:pt x="3" y="157"/>
                    </a:lnTo>
                    <a:lnTo>
                      <a:pt x="0" y="188"/>
                    </a:lnTo>
                    <a:lnTo>
                      <a:pt x="3" y="218"/>
                    </a:lnTo>
                    <a:lnTo>
                      <a:pt x="10" y="247"/>
                    </a:lnTo>
                    <a:lnTo>
                      <a:pt x="21" y="274"/>
                    </a:lnTo>
                    <a:lnTo>
                      <a:pt x="36" y="299"/>
                    </a:lnTo>
                    <a:lnTo>
                      <a:pt x="55" y="321"/>
                    </a:lnTo>
                    <a:lnTo>
                      <a:pt x="77" y="339"/>
                    </a:lnTo>
                    <a:lnTo>
                      <a:pt x="102" y="354"/>
                    </a:lnTo>
                    <a:lnTo>
                      <a:pt x="128" y="366"/>
                    </a:lnTo>
                    <a:lnTo>
                      <a:pt x="157" y="373"/>
                    </a:lnTo>
                    <a:lnTo>
                      <a:pt x="188" y="376"/>
                    </a:lnTo>
                    <a:lnTo>
                      <a:pt x="219" y="373"/>
                    </a:lnTo>
                    <a:lnTo>
                      <a:pt x="248" y="366"/>
                    </a:lnTo>
                    <a:lnTo>
                      <a:pt x="274" y="354"/>
                    </a:lnTo>
                    <a:lnTo>
                      <a:pt x="299" y="339"/>
                    </a:lnTo>
                    <a:lnTo>
                      <a:pt x="321" y="321"/>
                    </a:lnTo>
                    <a:lnTo>
                      <a:pt x="340" y="299"/>
                    </a:lnTo>
                    <a:lnTo>
                      <a:pt x="355" y="274"/>
                    </a:lnTo>
                    <a:lnTo>
                      <a:pt x="366" y="247"/>
                    </a:lnTo>
                    <a:lnTo>
                      <a:pt x="373" y="218"/>
                    </a:lnTo>
                    <a:lnTo>
                      <a:pt x="376" y="18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0" name="Freeform 22"/>
              <p:cNvSpPr>
                <a:spLocks/>
              </p:cNvSpPr>
              <p:nvPr/>
            </p:nvSpPr>
            <p:spPr bwMode="auto">
              <a:xfrm>
                <a:off x="4091" y="2682"/>
                <a:ext cx="376" cy="376"/>
              </a:xfrm>
              <a:custGeom>
                <a:avLst/>
                <a:gdLst>
                  <a:gd name="T0" fmla="*/ 376 w 376"/>
                  <a:gd name="T1" fmla="*/ 188 h 376"/>
                  <a:gd name="T2" fmla="*/ 373 w 376"/>
                  <a:gd name="T3" fmla="*/ 157 h 376"/>
                  <a:gd name="T4" fmla="*/ 366 w 376"/>
                  <a:gd name="T5" fmla="*/ 128 h 376"/>
                  <a:gd name="T6" fmla="*/ 355 w 376"/>
                  <a:gd name="T7" fmla="*/ 101 h 376"/>
                  <a:gd name="T8" fmla="*/ 340 w 376"/>
                  <a:gd name="T9" fmla="*/ 77 h 376"/>
                  <a:gd name="T10" fmla="*/ 321 w 376"/>
                  <a:gd name="T11" fmla="*/ 55 h 376"/>
                  <a:gd name="T12" fmla="*/ 299 w 376"/>
                  <a:gd name="T13" fmla="*/ 36 h 376"/>
                  <a:gd name="T14" fmla="*/ 274 w 376"/>
                  <a:gd name="T15" fmla="*/ 21 h 376"/>
                  <a:gd name="T16" fmla="*/ 248 w 376"/>
                  <a:gd name="T17" fmla="*/ 9 h 376"/>
                  <a:gd name="T18" fmla="*/ 219 w 376"/>
                  <a:gd name="T19" fmla="*/ 2 h 376"/>
                  <a:gd name="T20" fmla="*/ 188 w 376"/>
                  <a:gd name="T21" fmla="*/ 0 h 376"/>
                  <a:gd name="T22" fmla="*/ 157 w 376"/>
                  <a:gd name="T23" fmla="*/ 2 h 376"/>
                  <a:gd name="T24" fmla="*/ 128 w 376"/>
                  <a:gd name="T25" fmla="*/ 9 h 376"/>
                  <a:gd name="T26" fmla="*/ 102 w 376"/>
                  <a:gd name="T27" fmla="*/ 21 h 376"/>
                  <a:gd name="T28" fmla="*/ 77 w 376"/>
                  <a:gd name="T29" fmla="*/ 36 h 376"/>
                  <a:gd name="T30" fmla="*/ 55 w 376"/>
                  <a:gd name="T31" fmla="*/ 55 h 376"/>
                  <a:gd name="T32" fmla="*/ 36 w 376"/>
                  <a:gd name="T33" fmla="*/ 77 h 376"/>
                  <a:gd name="T34" fmla="*/ 21 w 376"/>
                  <a:gd name="T35" fmla="*/ 101 h 376"/>
                  <a:gd name="T36" fmla="*/ 10 w 376"/>
                  <a:gd name="T37" fmla="*/ 128 h 376"/>
                  <a:gd name="T38" fmla="*/ 3 w 376"/>
                  <a:gd name="T39" fmla="*/ 157 h 376"/>
                  <a:gd name="T40" fmla="*/ 0 w 376"/>
                  <a:gd name="T41" fmla="*/ 188 h 376"/>
                  <a:gd name="T42" fmla="*/ 3 w 376"/>
                  <a:gd name="T43" fmla="*/ 218 h 376"/>
                  <a:gd name="T44" fmla="*/ 10 w 376"/>
                  <a:gd name="T45" fmla="*/ 247 h 376"/>
                  <a:gd name="T46" fmla="*/ 21 w 376"/>
                  <a:gd name="T47" fmla="*/ 274 h 376"/>
                  <a:gd name="T48" fmla="*/ 36 w 376"/>
                  <a:gd name="T49" fmla="*/ 299 h 376"/>
                  <a:gd name="T50" fmla="*/ 55 w 376"/>
                  <a:gd name="T51" fmla="*/ 321 h 376"/>
                  <a:gd name="T52" fmla="*/ 77 w 376"/>
                  <a:gd name="T53" fmla="*/ 339 h 376"/>
                  <a:gd name="T54" fmla="*/ 102 w 376"/>
                  <a:gd name="T55" fmla="*/ 354 h 376"/>
                  <a:gd name="T56" fmla="*/ 128 w 376"/>
                  <a:gd name="T57" fmla="*/ 366 h 376"/>
                  <a:gd name="T58" fmla="*/ 157 w 376"/>
                  <a:gd name="T59" fmla="*/ 373 h 376"/>
                  <a:gd name="T60" fmla="*/ 188 w 376"/>
                  <a:gd name="T61" fmla="*/ 376 h 376"/>
                  <a:gd name="T62" fmla="*/ 219 w 376"/>
                  <a:gd name="T63" fmla="*/ 373 h 376"/>
                  <a:gd name="T64" fmla="*/ 248 w 376"/>
                  <a:gd name="T65" fmla="*/ 366 h 376"/>
                  <a:gd name="T66" fmla="*/ 274 w 376"/>
                  <a:gd name="T67" fmla="*/ 354 h 376"/>
                  <a:gd name="T68" fmla="*/ 299 w 376"/>
                  <a:gd name="T69" fmla="*/ 339 h 376"/>
                  <a:gd name="T70" fmla="*/ 321 w 376"/>
                  <a:gd name="T71" fmla="*/ 321 h 376"/>
                  <a:gd name="T72" fmla="*/ 340 w 376"/>
                  <a:gd name="T73" fmla="*/ 299 h 376"/>
                  <a:gd name="T74" fmla="*/ 355 w 376"/>
                  <a:gd name="T75" fmla="*/ 274 h 376"/>
                  <a:gd name="T76" fmla="*/ 366 w 376"/>
                  <a:gd name="T77" fmla="*/ 247 h 376"/>
                  <a:gd name="T78" fmla="*/ 373 w 376"/>
                  <a:gd name="T79" fmla="*/ 218 h 376"/>
                  <a:gd name="T80" fmla="*/ 376 w 376"/>
                  <a:gd name="T81" fmla="*/ 188 h 37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76"/>
                  <a:gd name="T124" fmla="*/ 0 h 376"/>
                  <a:gd name="T125" fmla="*/ 376 w 376"/>
                  <a:gd name="T126" fmla="*/ 376 h 37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76" h="376">
                    <a:moveTo>
                      <a:pt x="376" y="188"/>
                    </a:moveTo>
                    <a:lnTo>
                      <a:pt x="373" y="157"/>
                    </a:lnTo>
                    <a:lnTo>
                      <a:pt x="366" y="128"/>
                    </a:lnTo>
                    <a:lnTo>
                      <a:pt x="355" y="101"/>
                    </a:lnTo>
                    <a:lnTo>
                      <a:pt x="340" y="77"/>
                    </a:lnTo>
                    <a:lnTo>
                      <a:pt x="321" y="55"/>
                    </a:lnTo>
                    <a:lnTo>
                      <a:pt x="299" y="36"/>
                    </a:lnTo>
                    <a:lnTo>
                      <a:pt x="274" y="21"/>
                    </a:lnTo>
                    <a:lnTo>
                      <a:pt x="248" y="9"/>
                    </a:lnTo>
                    <a:lnTo>
                      <a:pt x="219" y="2"/>
                    </a:lnTo>
                    <a:lnTo>
                      <a:pt x="188" y="0"/>
                    </a:lnTo>
                    <a:lnTo>
                      <a:pt x="157" y="2"/>
                    </a:lnTo>
                    <a:lnTo>
                      <a:pt x="128" y="9"/>
                    </a:lnTo>
                    <a:lnTo>
                      <a:pt x="102" y="21"/>
                    </a:lnTo>
                    <a:lnTo>
                      <a:pt x="77" y="36"/>
                    </a:lnTo>
                    <a:lnTo>
                      <a:pt x="55" y="55"/>
                    </a:lnTo>
                    <a:lnTo>
                      <a:pt x="36" y="77"/>
                    </a:lnTo>
                    <a:lnTo>
                      <a:pt x="21" y="101"/>
                    </a:lnTo>
                    <a:lnTo>
                      <a:pt x="10" y="128"/>
                    </a:lnTo>
                    <a:lnTo>
                      <a:pt x="3" y="157"/>
                    </a:lnTo>
                    <a:lnTo>
                      <a:pt x="0" y="188"/>
                    </a:lnTo>
                    <a:lnTo>
                      <a:pt x="3" y="218"/>
                    </a:lnTo>
                    <a:lnTo>
                      <a:pt x="10" y="247"/>
                    </a:lnTo>
                    <a:lnTo>
                      <a:pt x="21" y="274"/>
                    </a:lnTo>
                    <a:lnTo>
                      <a:pt x="36" y="299"/>
                    </a:lnTo>
                    <a:lnTo>
                      <a:pt x="55" y="321"/>
                    </a:lnTo>
                    <a:lnTo>
                      <a:pt x="77" y="339"/>
                    </a:lnTo>
                    <a:lnTo>
                      <a:pt x="102" y="354"/>
                    </a:lnTo>
                    <a:lnTo>
                      <a:pt x="128" y="366"/>
                    </a:lnTo>
                    <a:lnTo>
                      <a:pt x="157" y="373"/>
                    </a:lnTo>
                    <a:lnTo>
                      <a:pt x="188" y="376"/>
                    </a:lnTo>
                    <a:lnTo>
                      <a:pt x="219" y="373"/>
                    </a:lnTo>
                    <a:lnTo>
                      <a:pt x="248" y="366"/>
                    </a:lnTo>
                    <a:lnTo>
                      <a:pt x="274" y="354"/>
                    </a:lnTo>
                    <a:lnTo>
                      <a:pt x="299" y="339"/>
                    </a:lnTo>
                    <a:lnTo>
                      <a:pt x="321" y="321"/>
                    </a:lnTo>
                    <a:lnTo>
                      <a:pt x="340" y="299"/>
                    </a:lnTo>
                    <a:lnTo>
                      <a:pt x="355" y="274"/>
                    </a:lnTo>
                    <a:lnTo>
                      <a:pt x="366" y="247"/>
                    </a:lnTo>
                    <a:lnTo>
                      <a:pt x="373" y="218"/>
                    </a:lnTo>
                    <a:lnTo>
                      <a:pt x="376" y="18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1" name="Freeform 23"/>
              <p:cNvSpPr>
                <a:spLocks/>
              </p:cNvSpPr>
              <p:nvPr/>
            </p:nvSpPr>
            <p:spPr bwMode="auto">
              <a:xfrm>
                <a:off x="3576" y="2225"/>
                <a:ext cx="311" cy="310"/>
              </a:xfrm>
              <a:custGeom>
                <a:avLst/>
                <a:gdLst>
                  <a:gd name="T0" fmla="*/ 311 w 311"/>
                  <a:gd name="T1" fmla="*/ 155 h 310"/>
                  <a:gd name="T2" fmla="*/ 309 w 311"/>
                  <a:gd name="T3" fmla="*/ 130 h 310"/>
                  <a:gd name="T4" fmla="*/ 303 w 311"/>
                  <a:gd name="T5" fmla="*/ 106 h 310"/>
                  <a:gd name="T6" fmla="*/ 294 w 311"/>
                  <a:gd name="T7" fmla="*/ 84 h 310"/>
                  <a:gd name="T8" fmla="*/ 281 w 311"/>
                  <a:gd name="T9" fmla="*/ 63 h 310"/>
                  <a:gd name="T10" fmla="*/ 265 w 311"/>
                  <a:gd name="T11" fmla="*/ 45 h 310"/>
                  <a:gd name="T12" fmla="*/ 247 w 311"/>
                  <a:gd name="T13" fmla="*/ 30 h 310"/>
                  <a:gd name="T14" fmla="*/ 227 w 311"/>
                  <a:gd name="T15" fmla="*/ 17 h 310"/>
                  <a:gd name="T16" fmla="*/ 204 w 311"/>
                  <a:gd name="T17" fmla="*/ 8 h 310"/>
                  <a:gd name="T18" fmla="*/ 180 w 311"/>
                  <a:gd name="T19" fmla="*/ 2 h 310"/>
                  <a:gd name="T20" fmla="*/ 155 w 311"/>
                  <a:gd name="T21" fmla="*/ 0 h 310"/>
                  <a:gd name="T22" fmla="*/ 130 w 311"/>
                  <a:gd name="T23" fmla="*/ 2 h 310"/>
                  <a:gd name="T24" fmla="*/ 107 w 311"/>
                  <a:gd name="T25" fmla="*/ 8 h 310"/>
                  <a:gd name="T26" fmla="*/ 84 w 311"/>
                  <a:gd name="T27" fmla="*/ 17 h 310"/>
                  <a:gd name="T28" fmla="*/ 63 w 311"/>
                  <a:gd name="T29" fmla="*/ 30 h 310"/>
                  <a:gd name="T30" fmla="*/ 45 w 311"/>
                  <a:gd name="T31" fmla="*/ 45 h 310"/>
                  <a:gd name="T32" fmla="*/ 30 w 311"/>
                  <a:gd name="T33" fmla="*/ 63 h 310"/>
                  <a:gd name="T34" fmla="*/ 17 w 311"/>
                  <a:gd name="T35" fmla="*/ 84 h 310"/>
                  <a:gd name="T36" fmla="*/ 8 w 311"/>
                  <a:gd name="T37" fmla="*/ 106 h 310"/>
                  <a:gd name="T38" fmla="*/ 2 w 311"/>
                  <a:gd name="T39" fmla="*/ 130 h 310"/>
                  <a:gd name="T40" fmla="*/ 0 w 311"/>
                  <a:gd name="T41" fmla="*/ 155 h 310"/>
                  <a:gd name="T42" fmla="*/ 2 w 311"/>
                  <a:gd name="T43" fmla="*/ 180 h 310"/>
                  <a:gd name="T44" fmla="*/ 8 w 311"/>
                  <a:gd name="T45" fmla="*/ 204 h 310"/>
                  <a:gd name="T46" fmla="*/ 17 w 311"/>
                  <a:gd name="T47" fmla="*/ 227 h 310"/>
                  <a:gd name="T48" fmla="*/ 30 w 311"/>
                  <a:gd name="T49" fmla="*/ 246 h 310"/>
                  <a:gd name="T50" fmla="*/ 45 w 311"/>
                  <a:gd name="T51" fmla="*/ 264 h 310"/>
                  <a:gd name="T52" fmla="*/ 63 w 311"/>
                  <a:gd name="T53" fmla="*/ 280 h 310"/>
                  <a:gd name="T54" fmla="*/ 84 w 311"/>
                  <a:gd name="T55" fmla="*/ 293 h 310"/>
                  <a:gd name="T56" fmla="*/ 107 w 311"/>
                  <a:gd name="T57" fmla="*/ 302 h 310"/>
                  <a:gd name="T58" fmla="*/ 130 w 311"/>
                  <a:gd name="T59" fmla="*/ 308 h 310"/>
                  <a:gd name="T60" fmla="*/ 155 w 311"/>
                  <a:gd name="T61" fmla="*/ 310 h 310"/>
                  <a:gd name="T62" fmla="*/ 180 w 311"/>
                  <a:gd name="T63" fmla="*/ 308 h 310"/>
                  <a:gd name="T64" fmla="*/ 204 w 311"/>
                  <a:gd name="T65" fmla="*/ 302 h 310"/>
                  <a:gd name="T66" fmla="*/ 227 w 311"/>
                  <a:gd name="T67" fmla="*/ 293 h 310"/>
                  <a:gd name="T68" fmla="*/ 247 w 311"/>
                  <a:gd name="T69" fmla="*/ 280 h 310"/>
                  <a:gd name="T70" fmla="*/ 265 w 311"/>
                  <a:gd name="T71" fmla="*/ 264 h 310"/>
                  <a:gd name="T72" fmla="*/ 281 w 311"/>
                  <a:gd name="T73" fmla="*/ 246 h 310"/>
                  <a:gd name="T74" fmla="*/ 294 w 311"/>
                  <a:gd name="T75" fmla="*/ 227 h 310"/>
                  <a:gd name="T76" fmla="*/ 303 w 311"/>
                  <a:gd name="T77" fmla="*/ 204 h 310"/>
                  <a:gd name="T78" fmla="*/ 309 w 311"/>
                  <a:gd name="T79" fmla="*/ 180 h 310"/>
                  <a:gd name="T80" fmla="*/ 311 w 311"/>
                  <a:gd name="T81" fmla="*/ 155 h 31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11"/>
                  <a:gd name="T124" fmla="*/ 0 h 310"/>
                  <a:gd name="T125" fmla="*/ 311 w 311"/>
                  <a:gd name="T126" fmla="*/ 310 h 31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11" h="310">
                    <a:moveTo>
                      <a:pt x="311" y="155"/>
                    </a:moveTo>
                    <a:lnTo>
                      <a:pt x="309" y="130"/>
                    </a:lnTo>
                    <a:lnTo>
                      <a:pt x="303" y="106"/>
                    </a:lnTo>
                    <a:lnTo>
                      <a:pt x="294" y="84"/>
                    </a:lnTo>
                    <a:lnTo>
                      <a:pt x="281" y="63"/>
                    </a:lnTo>
                    <a:lnTo>
                      <a:pt x="265" y="45"/>
                    </a:lnTo>
                    <a:lnTo>
                      <a:pt x="247" y="30"/>
                    </a:lnTo>
                    <a:lnTo>
                      <a:pt x="227" y="17"/>
                    </a:lnTo>
                    <a:lnTo>
                      <a:pt x="204" y="8"/>
                    </a:lnTo>
                    <a:lnTo>
                      <a:pt x="180" y="2"/>
                    </a:lnTo>
                    <a:lnTo>
                      <a:pt x="155" y="0"/>
                    </a:lnTo>
                    <a:lnTo>
                      <a:pt x="130" y="2"/>
                    </a:lnTo>
                    <a:lnTo>
                      <a:pt x="107" y="8"/>
                    </a:lnTo>
                    <a:lnTo>
                      <a:pt x="84" y="17"/>
                    </a:lnTo>
                    <a:lnTo>
                      <a:pt x="63" y="30"/>
                    </a:lnTo>
                    <a:lnTo>
                      <a:pt x="45" y="45"/>
                    </a:lnTo>
                    <a:lnTo>
                      <a:pt x="30" y="63"/>
                    </a:lnTo>
                    <a:lnTo>
                      <a:pt x="17" y="84"/>
                    </a:lnTo>
                    <a:lnTo>
                      <a:pt x="8" y="106"/>
                    </a:lnTo>
                    <a:lnTo>
                      <a:pt x="2" y="130"/>
                    </a:lnTo>
                    <a:lnTo>
                      <a:pt x="0" y="155"/>
                    </a:lnTo>
                    <a:lnTo>
                      <a:pt x="2" y="180"/>
                    </a:lnTo>
                    <a:lnTo>
                      <a:pt x="8" y="204"/>
                    </a:lnTo>
                    <a:lnTo>
                      <a:pt x="17" y="227"/>
                    </a:lnTo>
                    <a:lnTo>
                      <a:pt x="30" y="246"/>
                    </a:lnTo>
                    <a:lnTo>
                      <a:pt x="45" y="264"/>
                    </a:lnTo>
                    <a:lnTo>
                      <a:pt x="63" y="280"/>
                    </a:lnTo>
                    <a:lnTo>
                      <a:pt x="84" y="293"/>
                    </a:lnTo>
                    <a:lnTo>
                      <a:pt x="107" y="302"/>
                    </a:lnTo>
                    <a:lnTo>
                      <a:pt x="130" y="308"/>
                    </a:lnTo>
                    <a:lnTo>
                      <a:pt x="155" y="310"/>
                    </a:lnTo>
                    <a:lnTo>
                      <a:pt x="180" y="308"/>
                    </a:lnTo>
                    <a:lnTo>
                      <a:pt x="204" y="302"/>
                    </a:lnTo>
                    <a:lnTo>
                      <a:pt x="227" y="293"/>
                    </a:lnTo>
                    <a:lnTo>
                      <a:pt x="247" y="280"/>
                    </a:lnTo>
                    <a:lnTo>
                      <a:pt x="265" y="264"/>
                    </a:lnTo>
                    <a:lnTo>
                      <a:pt x="281" y="246"/>
                    </a:lnTo>
                    <a:lnTo>
                      <a:pt x="294" y="227"/>
                    </a:lnTo>
                    <a:lnTo>
                      <a:pt x="303" y="204"/>
                    </a:lnTo>
                    <a:lnTo>
                      <a:pt x="309" y="180"/>
                    </a:lnTo>
                    <a:lnTo>
                      <a:pt x="311" y="15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2" name="Freeform 24"/>
              <p:cNvSpPr>
                <a:spLocks/>
              </p:cNvSpPr>
              <p:nvPr/>
            </p:nvSpPr>
            <p:spPr bwMode="auto">
              <a:xfrm>
                <a:off x="3576" y="2225"/>
                <a:ext cx="311" cy="310"/>
              </a:xfrm>
              <a:custGeom>
                <a:avLst/>
                <a:gdLst>
                  <a:gd name="T0" fmla="*/ 311 w 311"/>
                  <a:gd name="T1" fmla="*/ 155 h 310"/>
                  <a:gd name="T2" fmla="*/ 309 w 311"/>
                  <a:gd name="T3" fmla="*/ 130 h 310"/>
                  <a:gd name="T4" fmla="*/ 303 w 311"/>
                  <a:gd name="T5" fmla="*/ 106 h 310"/>
                  <a:gd name="T6" fmla="*/ 294 w 311"/>
                  <a:gd name="T7" fmla="*/ 84 h 310"/>
                  <a:gd name="T8" fmla="*/ 281 w 311"/>
                  <a:gd name="T9" fmla="*/ 63 h 310"/>
                  <a:gd name="T10" fmla="*/ 265 w 311"/>
                  <a:gd name="T11" fmla="*/ 45 h 310"/>
                  <a:gd name="T12" fmla="*/ 247 w 311"/>
                  <a:gd name="T13" fmla="*/ 30 h 310"/>
                  <a:gd name="T14" fmla="*/ 227 w 311"/>
                  <a:gd name="T15" fmla="*/ 17 h 310"/>
                  <a:gd name="T16" fmla="*/ 204 w 311"/>
                  <a:gd name="T17" fmla="*/ 8 h 310"/>
                  <a:gd name="T18" fmla="*/ 180 w 311"/>
                  <a:gd name="T19" fmla="*/ 2 h 310"/>
                  <a:gd name="T20" fmla="*/ 155 w 311"/>
                  <a:gd name="T21" fmla="*/ 0 h 310"/>
                  <a:gd name="T22" fmla="*/ 130 w 311"/>
                  <a:gd name="T23" fmla="*/ 2 h 310"/>
                  <a:gd name="T24" fmla="*/ 107 w 311"/>
                  <a:gd name="T25" fmla="*/ 8 h 310"/>
                  <a:gd name="T26" fmla="*/ 84 w 311"/>
                  <a:gd name="T27" fmla="*/ 17 h 310"/>
                  <a:gd name="T28" fmla="*/ 63 w 311"/>
                  <a:gd name="T29" fmla="*/ 30 h 310"/>
                  <a:gd name="T30" fmla="*/ 45 w 311"/>
                  <a:gd name="T31" fmla="*/ 45 h 310"/>
                  <a:gd name="T32" fmla="*/ 30 w 311"/>
                  <a:gd name="T33" fmla="*/ 63 h 310"/>
                  <a:gd name="T34" fmla="*/ 17 w 311"/>
                  <a:gd name="T35" fmla="*/ 84 h 310"/>
                  <a:gd name="T36" fmla="*/ 8 w 311"/>
                  <a:gd name="T37" fmla="*/ 106 h 310"/>
                  <a:gd name="T38" fmla="*/ 2 w 311"/>
                  <a:gd name="T39" fmla="*/ 130 h 310"/>
                  <a:gd name="T40" fmla="*/ 0 w 311"/>
                  <a:gd name="T41" fmla="*/ 155 h 310"/>
                  <a:gd name="T42" fmla="*/ 2 w 311"/>
                  <a:gd name="T43" fmla="*/ 180 h 310"/>
                  <a:gd name="T44" fmla="*/ 8 w 311"/>
                  <a:gd name="T45" fmla="*/ 204 h 310"/>
                  <a:gd name="T46" fmla="*/ 17 w 311"/>
                  <a:gd name="T47" fmla="*/ 227 h 310"/>
                  <a:gd name="T48" fmla="*/ 30 w 311"/>
                  <a:gd name="T49" fmla="*/ 246 h 310"/>
                  <a:gd name="T50" fmla="*/ 45 w 311"/>
                  <a:gd name="T51" fmla="*/ 264 h 310"/>
                  <a:gd name="T52" fmla="*/ 63 w 311"/>
                  <a:gd name="T53" fmla="*/ 280 h 310"/>
                  <a:gd name="T54" fmla="*/ 84 w 311"/>
                  <a:gd name="T55" fmla="*/ 293 h 310"/>
                  <a:gd name="T56" fmla="*/ 107 w 311"/>
                  <a:gd name="T57" fmla="*/ 302 h 310"/>
                  <a:gd name="T58" fmla="*/ 130 w 311"/>
                  <a:gd name="T59" fmla="*/ 308 h 310"/>
                  <a:gd name="T60" fmla="*/ 155 w 311"/>
                  <a:gd name="T61" fmla="*/ 310 h 310"/>
                  <a:gd name="T62" fmla="*/ 180 w 311"/>
                  <a:gd name="T63" fmla="*/ 308 h 310"/>
                  <a:gd name="T64" fmla="*/ 204 w 311"/>
                  <a:gd name="T65" fmla="*/ 302 h 310"/>
                  <a:gd name="T66" fmla="*/ 227 w 311"/>
                  <a:gd name="T67" fmla="*/ 293 h 310"/>
                  <a:gd name="T68" fmla="*/ 247 w 311"/>
                  <a:gd name="T69" fmla="*/ 280 h 310"/>
                  <a:gd name="T70" fmla="*/ 265 w 311"/>
                  <a:gd name="T71" fmla="*/ 264 h 310"/>
                  <a:gd name="T72" fmla="*/ 281 w 311"/>
                  <a:gd name="T73" fmla="*/ 246 h 310"/>
                  <a:gd name="T74" fmla="*/ 294 w 311"/>
                  <a:gd name="T75" fmla="*/ 227 h 310"/>
                  <a:gd name="T76" fmla="*/ 303 w 311"/>
                  <a:gd name="T77" fmla="*/ 204 h 310"/>
                  <a:gd name="T78" fmla="*/ 309 w 311"/>
                  <a:gd name="T79" fmla="*/ 180 h 310"/>
                  <a:gd name="T80" fmla="*/ 311 w 311"/>
                  <a:gd name="T81" fmla="*/ 155 h 31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11"/>
                  <a:gd name="T124" fmla="*/ 0 h 310"/>
                  <a:gd name="T125" fmla="*/ 311 w 311"/>
                  <a:gd name="T126" fmla="*/ 310 h 31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11" h="310">
                    <a:moveTo>
                      <a:pt x="311" y="155"/>
                    </a:moveTo>
                    <a:lnTo>
                      <a:pt x="309" y="130"/>
                    </a:lnTo>
                    <a:lnTo>
                      <a:pt x="303" y="106"/>
                    </a:lnTo>
                    <a:lnTo>
                      <a:pt x="294" y="84"/>
                    </a:lnTo>
                    <a:lnTo>
                      <a:pt x="281" y="63"/>
                    </a:lnTo>
                    <a:lnTo>
                      <a:pt x="265" y="45"/>
                    </a:lnTo>
                    <a:lnTo>
                      <a:pt x="247" y="30"/>
                    </a:lnTo>
                    <a:lnTo>
                      <a:pt x="227" y="17"/>
                    </a:lnTo>
                    <a:lnTo>
                      <a:pt x="204" y="8"/>
                    </a:lnTo>
                    <a:lnTo>
                      <a:pt x="180" y="2"/>
                    </a:lnTo>
                    <a:lnTo>
                      <a:pt x="155" y="0"/>
                    </a:lnTo>
                    <a:lnTo>
                      <a:pt x="130" y="2"/>
                    </a:lnTo>
                    <a:lnTo>
                      <a:pt x="107" y="8"/>
                    </a:lnTo>
                    <a:lnTo>
                      <a:pt x="84" y="17"/>
                    </a:lnTo>
                    <a:lnTo>
                      <a:pt x="63" y="30"/>
                    </a:lnTo>
                    <a:lnTo>
                      <a:pt x="45" y="45"/>
                    </a:lnTo>
                    <a:lnTo>
                      <a:pt x="30" y="63"/>
                    </a:lnTo>
                    <a:lnTo>
                      <a:pt x="17" y="84"/>
                    </a:lnTo>
                    <a:lnTo>
                      <a:pt x="8" y="106"/>
                    </a:lnTo>
                    <a:lnTo>
                      <a:pt x="2" y="130"/>
                    </a:lnTo>
                    <a:lnTo>
                      <a:pt x="0" y="155"/>
                    </a:lnTo>
                    <a:lnTo>
                      <a:pt x="2" y="180"/>
                    </a:lnTo>
                    <a:lnTo>
                      <a:pt x="8" y="204"/>
                    </a:lnTo>
                    <a:lnTo>
                      <a:pt x="17" y="227"/>
                    </a:lnTo>
                    <a:lnTo>
                      <a:pt x="30" y="246"/>
                    </a:lnTo>
                    <a:lnTo>
                      <a:pt x="45" y="264"/>
                    </a:lnTo>
                    <a:lnTo>
                      <a:pt x="63" y="280"/>
                    </a:lnTo>
                    <a:lnTo>
                      <a:pt x="84" y="293"/>
                    </a:lnTo>
                    <a:lnTo>
                      <a:pt x="107" y="302"/>
                    </a:lnTo>
                    <a:lnTo>
                      <a:pt x="130" y="308"/>
                    </a:lnTo>
                    <a:lnTo>
                      <a:pt x="155" y="310"/>
                    </a:lnTo>
                    <a:lnTo>
                      <a:pt x="180" y="308"/>
                    </a:lnTo>
                    <a:lnTo>
                      <a:pt x="204" y="302"/>
                    </a:lnTo>
                    <a:lnTo>
                      <a:pt x="227" y="293"/>
                    </a:lnTo>
                    <a:lnTo>
                      <a:pt x="247" y="280"/>
                    </a:lnTo>
                    <a:lnTo>
                      <a:pt x="265" y="264"/>
                    </a:lnTo>
                    <a:lnTo>
                      <a:pt x="281" y="246"/>
                    </a:lnTo>
                    <a:lnTo>
                      <a:pt x="294" y="227"/>
                    </a:lnTo>
                    <a:lnTo>
                      <a:pt x="303" y="204"/>
                    </a:lnTo>
                    <a:lnTo>
                      <a:pt x="309" y="180"/>
                    </a:lnTo>
                    <a:lnTo>
                      <a:pt x="311" y="15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3" name="Freeform 25"/>
              <p:cNvSpPr>
                <a:spLocks/>
              </p:cNvSpPr>
              <p:nvPr/>
            </p:nvSpPr>
            <p:spPr bwMode="auto">
              <a:xfrm>
                <a:off x="3621" y="1403"/>
                <a:ext cx="294" cy="294"/>
              </a:xfrm>
              <a:custGeom>
                <a:avLst/>
                <a:gdLst>
                  <a:gd name="T0" fmla="*/ 294 w 294"/>
                  <a:gd name="T1" fmla="*/ 148 h 294"/>
                  <a:gd name="T2" fmla="*/ 292 w 294"/>
                  <a:gd name="T3" fmla="*/ 121 h 294"/>
                  <a:gd name="T4" fmla="*/ 285 w 294"/>
                  <a:gd name="T5" fmla="*/ 96 h 294"/>
                  <a:gd name="T6" fmla="*/ 274 w 294"/>
                  <a:gd name="T7" fmla="*/ 73 h 294"/>
                  <a:gd name="T8" fmla="*/ 260 w 294"/>
                  <a:gd name="T9" fmla="*/ 52 h 294"/>
                  <a:gd name="T10" fmla="*/ 242 w 294"/>
                  <a:gd name="T11" fmla="*/ 34 h 294"/>
                  <a:gd name="T12" fmla="*/ 221 w 294"/>
                  <a:gd name="T13" fmla="*/ 20 h 294"/>
                  <a:gd name="T14" fmla="*/ 198 w 294"/>
                  <a:gd name="T15" fmla="*/ 9 h 294"/>
                  <a:gd name="T16" fmla="*/ 173 w 294"/>
                  <a:gd name="T17" fmla="*/ 2 h 294"/>
                  <a:gd name="T18" fmla="*/ 146 w 294"/>
                  <a:gd name="T19" fmla="*/ 0 h 294"/>
                  <a:gd name="T20" fmla="*/ 120 w 294"/>
                  <a:gd name="T21" fmla="*/ 2 h 294"/>
                  <a:gd name="T22" fmla="*/ 95 w 294"/>
                  <a:gd name="T23" fmla="*/ 9 h 294"/>
                  <a:gd name="T24" fmla="*/ 73 w 294"/>
                  <a:gd name="T25" fmla="*/ 20 h 294"/>
                  <a:gd name="T26" fmla="*/ 52 w 294"/>
                  <a:gd name="T27" fmla="*/ 34 h 294"/>
                  <a:gd name="T28" fmla="*/ 34 w 294"/>
                  <a:gd name="T29" fmla="*/ 52 h 294"/>
                  <a:gd name="T30" fmla="*/ 20 w 294"/>
                  <a:gd name="T31" fmla="*/ 73 h 294"/>
                  <a:gd name="T32" fmla="*/ 9 w 294"/>
                  <a:gd name="T33" fmla="*/ 96 h 294"/>
                  <a:gd name="T34" fmla="*/ 2 w 294"/>
                  <a:gd name="T35" fmla="*/ 121 h 294"/>
                  <a:gd name="T36" fmla="*/ 0 w 294"/>
                  <a:gd name="T37" fmla="*/ 148 h 294"/>
                  <a:gd name="T38" fmla="*/ 2 w 294"/>
                  <a:gd name="T39" fmla="*/ 174 h 294"/>
                  <a:gd name="T40" fmla="*/ 9 w 294"/>
                  <a:gd name="T41" fmla="*/ 199 h 294"/>
                  <a:gd name="T42" fmla="*/ 20 w 294"/>
                  <a:gd name="T43" fmla="*/ 221 h 294"/>
                  <a:gd name="T44" fmla="*/ 34 w 294"/>
                  <a:gd name="T45" fmla="*/ 242 h 294"/>
                  <a:gd name="T46" fmla="*/ 52 w 294"/>
                  <a:gd name="T47" fmla="*/ 260 h 294"/>
                  <a:gd name="T48" fmla="*/ 73 w 294"/>
                  <a:gd name="T49" fmla="*/ 274 h 294"/>
                  <a:gd name="T50" fmla="*/ 95 w 294"/>
                  <a:gd name="T51" fmla="*/ 285 h 294"/>
                  <a:gd name="T52" fmla="*/ 120 w 294"/>
                  <a:gd name="T53" fmla="*/ 292 h 294"/>
                  <a:gd name="T54" fmla="*/ 146 w 294"/>
                  <a:gd name="T55" fmla="*/ 294 h 294"/>
                  <a:gd name="T56" fmla="*/ 173 w 294"/>
                  <a:gd name="T57" fmla="*/ 292 h 294"/>
                  <a:gd name="T58" fmla="*/ 198 w 294"/>
                  <a:gd name="T59" fmla="*/ 285 h 294"/>
                  <a:gd name="T60" fmla="*/ 221 w 294"/>
                  <a:gd name="T61" fmla="*/ 274 h 294"/>
                  <a:gd name="T62" fmla="*/ 242 w 294"/>
                  <a:gd name="T63" fmla="*/ 260 h 294"/>
                  <a:gd name="T64" fmla="*/ 260 w 294"/>
                  <a:gd name="T65" fmla="*/ 242 h 294"/>
                  <a:gd name="T66" fmla="*/ 274 w 294"/>
                  <a:gd name="T67" fmla="*/ 221 h 294"/>
                  <a:gd name="T68" fmla="*/ 285 w 294"/>
                  <a:gd name="T69" fmla="*/ 199 h 294"/>
                  <a:gd name="T70" fmla="*/ 292 w 294"/>
                  <a:gd name="T71" fmla="*/ 174 h 294"/>
                  <a:gd name="T72" fmla="*/ 294 w 294"/>
                  <a:gd name="T73" fmla="*/ 148 h 29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94"/>
                  <a:gd name="T112" fmla="*/ 0 h 294"/>
                  <a:gd name="T113" fmla="*/ 294 w 294"/>
                  <a:gd name="T114" fmla="*/ 294 h 29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94" h="294">
                    <a:moveTo>
                      <a:pt x="294" y="148"/>
                    </a:moveTo>
                    <a:lnTo>
                      <a:pt x="292" y="121"/>
                    </a:lnTo>
                    <a:lnTo>
                      <a:pt x="285" y="96"/>
                    </a:lnTo>
                    <a:lnTo>
                      <a:pt x="274" y="73"/>
                    </a:lnTo>
                    <a:lnTo>
                      <a:pt x="260" y="52"/>
                    </a:lnTo>
                    <a:lnTo>
                      <a:pt x="242" y="34"/>
                    </a:lnTo>
                    <a:lnTo>
                      <a:pt x="221" y="20"/>
                    </a:lnTo>
                    <a:lnTo>
                      <a:pt x="198" y="9"/>
                    </a:lnTo>
                    <a:lnTo>
                      <a:pt x="173" y="2"/>
                    </a:lnTo>
                    <a:lnTo>
                      <a:pt x="146" y="0"/>
                    </a:lnTo>
                    <a:lnTo>
                      <a:pt x="120" y="2"/>
                    </a:lnTo>
                    <a:lnTo>
                      <a:pt x="95" y="9"/>
                    </a:lnTo>
                    <a:lnTo>
                      <a:pt x="73" y="20"/>
                    </a:lnTo>
                    <a:lnTo>
                      <a:pt x="52" y="34"/>
                    </a:lnTo>
                    <a:lnTo>
                      <a:pt x="34" y="52"/>
                    </a:lnTo>
                    <a:lnTo>
                      <a:pt x="20" y="73"/>
                    </a:lnTo>
                    <a:lnTo>
                      <a:pt x="9" y="96"/>
                    </a:lnTo>
                    <a:lnTo>
                      <a:pt x="2" y="121"/>
                    </a:lnTo>
                    <a:lnTo>
                      <a:pt x="0" y="148"/>
                    </a:lnTo>
                    <a:lnTo>
                      <a:pt x="2" y="174"/>
                    </a:lnTo>
                    <a:lnTo>
                      <a:pt x="9" y="199"/>
                    </a:lnTo>
                    <a:lnTo>
                      <a:pt x="20" y="221"/>
                    </a:lnTo>
                    <a:lnTo>
                      <a:pt x="34" y="242"/>
                    </a:lnTo>
                    <a:lnTo>
                      <a:pt x="52" y="260"/>
                    </a:lnTo>
                    <a:lnTo>
                      <a:pt x="73" y="274"/>
                    </a:lnTo>
                    <a:lnTo>
                      <a:pt x="95" y="285"/>
                    </a:lnTo>
                    <a:lnTo>
                      <a:pt x="120" y="292"/>
                    </a:lnTo>
                    <a:lnTo>
                      <a:pt x="146" y="294"/>
                    </a:lnTo>
                    <a:lnTo>
                      <a:pt x="173" y="292"/>
                    </a:lnTo>
                    <a:lnTo>
                      <a:pt x="198" y="285"/>
                    </a:lnTo>
                    <a:lnTo>
                      <a:pt x="221" y="274"/>
                    </a:lnTo>
                    <a:lnTo>
                      <a:pt x="242" y="260"/>
                    </a:lnTo>
                    <a:lnTo>
                      <a:pt x="260" y="242"/>
                    </a:lnTo>
                    <a:lnTo>
                      <a:pt x="274" y="221"/>
                    </a:lnTo>
                    <a:lnTo>
                      <a:pt x="285" y="199"/>
                    </a:lnTo>
                    <a:lnTo>
                      <a:pt x="292" y="174"/>
                    </a:lnTo>
                    <a:lnTo>
                      <a:pt x="294" y="14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4" name="Freeform 26"/>
              <p:cNvSpPr>
                <a:spLocks/>
              </p:cNvSpPr>
              <p:nvPr/>
            </p:nvSpPr>
            <p:spPr bwMode="auto">
              <a:xfrm>
                <a:off x="3621" y="1403"/>
                <a:ext cx="294" cy="294"/>
              </a:xfrm>
              <a:custGeom>
                <a:avLst/>
                <a:gdLst>
                  <a:gd name="T0" fmla="*/ 294 w 294"/>
                  <a:gd name="T1" fmla="*/ 148 h 294"/>
                  <a:gd name="T2" fmla="*/ 292 w 294"/>
                  <a:gd name="T3" fmla="*/ 121 h 294"/>
                  <a:gd name="T4" fmla="*/ 285 w 294"/>
                  <a:gd name="T5" fmla="*/ 96 h 294"/>
                  <a:gd name="T6" fmla="*/ 274 w 294"/>
                  <a:gd name="T7" fmla="*/ 73 h 294"/>
                  <a:gd name="T8" fmla="*/ 260 w 294"/>
                  <a:gd name="T9" fmla="*/ 52 h 294"/>
                  <a:gd name="T10" fmla="*/ 242 w 294"/>
                  <a:gd name="T11" fmla="*/ 34 h 294"/>
                  <a:gd name="T12" fmla="*/ 221 w 294"/>
                  <a:gd name="T13" fmla="*/ 20 h 294"/>
                  <a:gd name="T14" fmla="*/ 198 w 294"/>
                  <a:gd name="T15" fmla="*/ 9 h 294"/>
                  <a:gd name="T16" fmla="*/ 173 w 294"/>
                  <a:gd name="T17" fmla="*/ 2 h 294"/>
                  <a:gd name="T18" fmla="*/ 146 w 294"/>
                  <a:gd name="T19" fmla="*/ 0 h 294"/>
                  <a:gd name="T20" fmla="*/ 120 w 294"/>
                  <a:gd name="T21" fmla="*/ 2 h 294"/>
                  <a:gd name="T22" fmla="*/ 95 w 294"/>
                  <a:gd name="T23" fmla="*/ 9 h 294"/>
                  <a:gd name="T24" fmla="*/ 73 w 294"/>
                  <a:gd name="T25" fmla="*/ 20 h 294"/>
                  <a:gd name="T26" fmla="*/ 52 w 294"/>
                  <a:gd name="T27" fmla="*/ 34 h 294"/>
                  <a:gd name="T28" fmla="*/ 34 w 294"/>
                  <a:gd name="T29" fmla="*/ 52 h 294"/>
                  <a:gd name="T30" fmla="*/ 20 w 294"/>
                  <a:gd name="T31" fmla="*/ 73 h 294"/>
                  <a:gd name="T32" fmla="*/ 9 w 294"/>
                  <a:gd name="T33" fmla="*/ 96 h 294"/>
                  <a:gd name="T34" fmla="*/ 2 w 294"/>
                  <a:gd name="T35" fmla="*/ 121 h 294"/>
                  <a:gd name="T36" fmla="*/ 0 w 294"/>
                  <a:gd name="T37" fmla="*/ 148 h 294"/>
                  <a:gd name="T38" fmla="*/ 2 w 294"/>
                  <a:gd name="T39" fmla="*/ 174 h 294"/>
                  <a:gd name="T40" fmla="*/ 9 w 294"/>
                  <a:gd name="T41" fmla="*/ 199 h 294"/>
                  <a:gd name="T42" fmla="*/ 20 w 294"/>
                  <a:gd name="T43" fmla="*/ 221 h 294"/>
                  <a:gd name="T44" fmla="*/ 34 w 294"/>
                  <a:gd name="T45" fmla="*/ 242 h 294"/>
                  <a:gd name="T46" fmla="*/ 52 w 294"/>
                  <a:gd name="T47" fmla="*/ 260 h 294"/>
                  <a:gd name="T48" fmla="*/ 73 w 294"/>
                  <a:gd name="T49" fmla="*/ 274 h 294"/>
                  <a:gd name="T50" fmla="*/ 95 w 294"/>
                  <a:gd name="T51" fmla="*/ 285 h 294"/>
                  <a:gd name="T52" fmla="*/ 120 w 294"/>
                  <a:gd name="T53" fmla="*/ 292 h 294"/>
                  <a:gd name="T54" fmla="*/ 146 w 294"/>
                  <a:gd name="T55" fmla="*/ 294 h 294"/>
                  <a:gd name="T56" fmla="*/ 173 w 294"/>
                  <a:gd name="T57" fmla="*/ 292 h 294"/>
                  <a:gd name="T58" fmla="*/ 198 w 294"/>
                  <a:gd name="T59" fmla="*/ 285 h 294"/>
                  <a:gd name="T60" fmla="*/ 221 w 294"/>
                  <a:gd name="T61" fmla="*/ 274 h 294"/>
                  <a:gd name="T62" fmla="*/ 242 w 294"/>
                  <a:gd name="T63" fmla="*/ 260 h 294"/>
                  <a:gd name="T64" fmla="*/ 260 w 294"/>
                  <a:gd name="T65" fmla="*/ 242 h 294"/>
                  <a:gd name="T66" fmla="*/ 274 w 294"/>
                  <a:gd name="T67" fmla="*/ 221 h 294"/>
                  <a:gd name="T68" fmla="*/ 285 w 294"/>
                  <a:gd name="T69" fmla="*/ 199 h 294"/>
                  <a:gd name="T70" fmla="*/ 292 w 294"/>
                  <a:gd name="T71" fmla="*/ 174 h 294"/>
                  <a:gd name="T72" fmla="*/ 294 w 294"/>
                  <a:gd name="T73" fmla="*/ 148 h 29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94"/>
                  <a:gd name="T112" fmla="*/ 0 h 294"/>
                  <a:gd name="T113" fmla="*/ 294 w 294"/>
                  <a:gd name="T114" fmla="*/ 294 h 29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94" h="294">
                    <a:moveTo>
                      <a:pt x="294" y="148"/>
                    </a:moveTo>
                    <a:lnTo>
                      <a:pt x="292" y="121"/>
                    </a:lnTo>
                    <a:lnTo>
                      <a:pt x="285" y="96"/>
                    </a:lnTo>
                    <a:lnTo>
                      <a:pt x="274" y="73"/>
                    </a:lnTo>
                    <a:lnTo>
                      <a:pt x="260" y="52"/>
                    </a:lnTo>
                    <a:lnTo>
                      <a:pt x="242" y="34"/>
                    </a:lnTo>
                    <a:lnTo>
                      <a:pt x="221" y="20"/>
                    </a:lnTo>
                    <a:lnTo>
                      <a:pt x="198" y="9"/>
                    </a:lnTo>
                    <a:lnTo>
                      <a:pt x="173" y="2"/>
                    </a:lnTo>
                    <a:lnTo>
                      <a:pt x="146" y="0"/>
                    </a:lnTo>
                    <a:lnTo>
                      <a:pt x="120" y="2"/>
                    </a:lnTo>
                    <a:lnTo>
                      <a:pt x="95" y="9"/>
                    </a:lnTo>
                    <a:lnTo>
                      <a:pt x="73" y="20"/>
                    </a:lnTo>
                    <a:lnTo>
                      <a:pt x="52" y="34"/>
                    </a:lnTo>
                    <a:lnTo>
                      <a:pt x="34" y="52"/>
                    </a:lnTo>
                    <a:lnTo>
                      <a:pt x="20" y="73"/>
                    </a:lnTo>
                    <a:lnTo>
                      <a:pt x="9" y="96"/>
                    </a:lnTo>
                    <a:lnTo>
                      <a:pt x="2" y="121"/>
                    </a:lnTo>
                    <a:lnTo>
                      <a:pt x="0" y="148"/>
                    </a:lnTo>
                    <a:lnTo>
                      <a:pt x="2" y="174"/>
                    </a:lnTo>
                    <a:lnTo>
                      <a:pt x="9" y="199"/>
                    </a:lnTo>
                    <a:lnTo>
                      <a:pt x="20" y="221"/>
                    </a:lnTo>
                    <a:lnTo>
                      <a:pt x="34" y="242"/>
                    </a:lnTo>
                    <a:lnTo>
                      <a:pt x="52" y="260"/>
                    </a:lnTo>
                    <a:lnTo>
                      <a:pt x="73" y="274"/>
                    </a:lnTo>
                    <a:lnTo>
                      <a:pt x="95" y="285"/>
                    </a:lnTo>
                    <a:lnTo>
                      <a:pt x="120" y="292"/>
                    </a:lnTo>
                    <a:lnTo>
                      <a:pt x="146" y="294"/>
                    </a:lnTo>
                    <a:lnTo>
                      <a:pt x="173" y="292"/>
                    </a:lnTo>
                    <a:lnTo>
                      <a:pt x="198" y="285"/>
                    </a:lnTo>
                    <a:lnTo>
                      <a:pt x="221" y="274"/>
                    </a:lnTo>
                    <a:lnTo>
                      <a:pt x="242" y="260"/>
                    </a:lnTo>
                    <a:lnTo>
                      <a:pt x="260" y="242"/>
                    </a:lnTo>
                    <a:lnTo>
                      <a:pt x="274" y="221"/>
                    </a:lnTo>
                    <a:lnTo>
                      <a:pt x="285" y="199"/>
                    </a:lnTo>
                    <a:lnTo>
                      <a:pt x="292" y="174"/>
                    </a:lnTo>
                    <a:lnTo>
                      <a:pt x="294" y="14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5" name="Freeform 27"/>
              <p:cNvSpPr>
                <a:spLocks/>
              </p:cNvSpPr>
              <p:nvPr/>
            </p:nvSpPr>
            <p:spPr bwMode="auto">
              <a:xfrm>
                <a:off x="4450" y="2639"/>
                <a:ext cx="289" cy="288"/>
              </a:xfrm>
              <a:custGeom>
                <a:avLst/>
                <a:gdLst>
                  <a:gd name="T0" fmla="*/ 289 w 289"/>
                  <a:gd name="T1" fmla="*/ 144 h 288"/>
                  <a:gd name="T2" fmla="*/ 287 w 289"/>
                  <a:gd name="T3" fmla="*/ 118 h 288"/>
                  <a:gd name="T4" fmla="*/ 280 w 289"/>
                  <a:gd name="T5" fmla="*/ 94 h 288"/>
                  <a:gd name="T6" fmla="*/ 270 w 289"/>
                  <a:gd name="T7" fmla="*/ 71 h 288"/>
                  <a:gd name="T8" fmla="*/ 256 w 289"/>
                  <a:gd name="T9" fmla="*/ 51 h 288"/>
                  <a:gd name="T10" fmla="*/ 238 w 289"/>
                  <a:gd name="T11" fmla="*/ 34 h 288"/>
                  <a:gd name="T12" fmla="*/ 218 w 289"/>
                  <a:gd name="T13" fmla="*/ 19 h 288"/>
                  <a:gd name="T14" fmla="*/ 195 w 289"/>
                  <a:gd name="T15" fmla="*/ 8 h 288"/>
                  <a:gd name="T16" fmla="*/ 171 w 289"/>
                  <a:gd name="T17" fmla="*/ 2 h 288"/>
                  <a:gd name="T18" fmla="*/ 145 w 289"/>
                  <a:gd name="T19" fmla="*/ 0 h 288"/>
                  <a:gd name="T20" fmla="*/ 119 w 289"/>
                  <a:gd name="T21" fmla="*/ 2 h 288"/>
                  <a:gd name="T22" fmla="*/ 95 w 289"/>
                  <a:gd name="T23" fmla="*/ 8 h 288"/>
                  <a:gd name="T24" fmla="*/ 72 w 289"/>
                  <a:gd name="T25" fmla="*/ 19 h 288"/>
                  <a:gd name="T26" fmla="*/ 52 w 289"/>
                  <a:gd name="T27" fmla="*/ 34 h 288"/>
                  <a:gd name="T28" fmla="*/ 34 w 289"/>
                  <a:gd name="T29" fmla="*/ 51 h 288"/>
                  <a:gd name="T30" fmla="*/ 20 w 289"/>
                  <a:gd name="T31" fmla="*/ 71 h 288"/>
                  <a:gd name="T32" fmla="*/ 10 w 289"/>
                  <a:gd name="T33" fmla="*/ 94 h 288"/>
                  <a:gd name="T34" fmla="*/ 3 w 289"/>
                  <a:gd name="T35" fmla="*/ 118 h 288"/>
                  <a:gd name="T36" fmla="*/ 0 w 289"/>
                  <a:gd name="T37" fmla="*/ 144 h 288"/>
                  <a:gd name="T38" fmla="*/ 3 w 289"/>
                  <a:gd name="T39" fmla="*/ 170 h 288"/>
                  <a:gd name="T40" fmla="*/ 10 w 289"/>
                  <a:gd name="T41" fmla="*/ 195 h 288"/>
                  <a:gd name="T42" fmla="*/ 20 w 289"/>
                  <a:gd name="T43" fmla="*/ 217 h 288"/>
                  <a:gd name="T44" fmla="*/ 34 w 289"/>
                  <a:gd name="T45" fmla="*/ 237 h 288"/>
                  <a:gd name="T46" fmla="*/ 52 w 289"/>
                  <a:gd name="T47" fmla="*/ 254 h 288"/>
                  <a:gd name="T48" fmla="*/ 72 w 289"/>
                  <a:gd name="T49" fmla="*/ 268 h 288"/>
                  <a:gd name="T50" fmla="*/ 95 w 289"/>
                  <a:gd name="T51" fmla="*/ 279 h 288"/>
                  <a:gd name="T52" fmla="*/ 119 w 289"/>
                  <a:gd name="T53" fmla="*/ 286 h 288"/>
                  <a:gd name="T54" fmla="*/ 145 w 289"/>
                  <a:gd name="T55" fmla="*/ 288 h 288"/>
                  <a:gd name="T56" fmla="*/ 171 w 289"/>
                  <a:gd name="T57" fmla="*/ 286 h 288"/>
                  <a:gd name="T58" fmla="*/ 195 w 289"/>
                  <a:gd name="T59" fmla="*/ 279 h 288"/>
                  <a:gd name="T60" fmla="*/ 218 w 289"/>
                  <a:gd name="T61" fmla="*/ 268 h 288"/>
                  <a:gd name="T62" fmla="*/ 238 w 289"/>
                  <a:gd name="T63" fmla="*/ 254 h 288"/>
                  <a:gd name="T64" fmla="*/ 256 w 289"/>
                  <a:gd name="T65" fmla="*/ 237 h 288"/>
                  <a:gd name="T66" fmla="*/ 270 w 289"/>
                  <a:gd name="T67" fmla="*/ 217 h 288"/>
                  <a:gd name="T68" fmla="*/ 280 w 289"/>
                  <a:gd name="T69" fmla="*/ 195 h 288"/>
                  <a:gd name="T70" fmla="*/ 287 w 289"/>
                  <a:gd name="T71" fmla="*/ 170 h 288"/>
                  <a:gd name="T72" fmla="*/ 289 w 289"/>
                  <a:gd name="T73" fmla="*/ 144 h 28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9"/>
                  <a:gd name="T112" fmla="*/ 0 h 288"/>
                  <a:gd name="T113" fmla="*/ 289 w 289"/>
                  <a:gd name="T114" fmla="*/ 288 h 28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9" h="288">
                    <a:moveTo>
                      <a:pt x="289" y="144"/>
                    </a:moveTo>
                    <a:lnTo>
                      <a:pt x="287" y="118"/>
                    </a:lnTo>
                    <a:lnTo>
                      <a:pt x="280" y="94"/>
                    </a:lnTo>
                    <a:lnTo>
                      <a:pt x="270" y="71"/>
                    </a:lnTo>
                    <a:lnTo>
                      <a:pt x="256" y="51"/>
                    </a:lnTo>
                    <a:lnTo>
                      <a:pt x="238" y="34"/>
                    </a:lnTo>
                    <a:lnTo>
                      <a:pt x="218" y="19"/>
                    </a:lnTo>
                    <a:lnTo>
                      <a:pt x="195" y="8"/>
                    </a:lnTo>
                    <a:lnTo>
                      <a:pt x="171" y="2"/>
                    </a:lnTo>
                    <a:lnTo>
                      <a:pt x="145" y="0"/>
                    </a:lnTo>
                    <a:lnTo>
                      <a:pt x="119" y="2"/>
                    </a:lnTo>
                    <a:lnTo>
                      <a:pt x="95" y="8"/>
                    </a:lnTo>
                    <a:lnTo>
                      <a:pt x="72" y="19"/>
                    </a:lnTo>
                    <a:lnTo>
                      <a:pt x="52" y="34"/>
                    </a:lnTo>
                    <a:lnTo>
                      <a:pt x="34" y="51"/>
                    </a:lnTo>
                    <a:lnTo>
                      <a:pt x="20" y="71"/>
                    </a:lnTo>
                    <a:lnTo>
                      <a:pt x="10" y="94"/>
                    </a:lnTo>
                    <a:lnTo>
                      <a:pt x="3" y="118"/>
                    </a:lnTo>
                    <a:lnTo>
                      <a:pt x="0" y="144"/>
                    </a:lnTo>
                    <a:lnTo>
                      <a:pt x="3" y="170"/>
                    </a:lnTo>
                    <a:lnTo>
                      <a:pt x="10" y="195"/>
                    </a:lnTo>
                    <a:lnTo>
                      <a:pt x="20" y="217"/>
                    </a:lnTo>
                    <a:lnTo>
                      <a:pt x="34" y="237"/>
                    </a:lnTo>
                    <a:lnTo>
                      <a:pt x="52" y="254"/>
                    </a:lnTo>
                    <a:lnTo>
                      <a:pt x="72" y="268"/>
                    </a:lnTo>
                    <a:lnTo>
                      <a:pt x="95" y="279"/>
                    </a:lnTo>
                    <a:lnTo>
                      <a:pt x="119" y="286"/>
                    </a:lnTo>
                    <a:lnTo>
                      <a:pt x="145" y="288"/>
                    </a:lnTo>
                    <a:lnTo>
                      <a:pt x="171" y="286"/>
                    </a:lnTo>
                    <a:lnTo>
                      <a:pt x="195" y="279"/>
                    </a:lnTo>
                    <a:lnTo>
                      <a:pt x="218" y="268"/>
                    </a:lnTo>
                    <a:lnTo>
                      <a:pt x="238" y="254"/>
                    </a:lnTo>
                    <a:lnTo>
                      <a:pt x="256" y="237"/>
                    </a:lnTo>
                    <a:lnTo>
                      <a:pt x="270" y="217"/>
                    </a:lnTo>
                    <a:lnTo>
                      <a:pt x="280" y="195"/>
                    </a:lnTo>
                    <a:lnTo>
                      <a:pt x="287" y="170"/>
                    </a:lnTo>
                    <a:lnTo>
                      <a:pt x="289" y="144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6" name="Freeform 28"/>
              <p:cNvSpPr>
                <a:spLocks/>
              </p:cNvSpPr>
              <p:nvPr/>
            </p:nvSpPr>
            <p:spPr bwMode="auto">
              <a:xfrm>
                <a:off x="4450" y="2639"/>
                <a:ext cx="289" cy="288"/>
              </a:xfrm>
              <a:custGeom>
                <a:avLst/>
                <a:gdLst>
                  <a:gd name="T0" fmla="*/ 289 w 289"/>
                  <a:gd name="T1" fmla="*/ 144 h 288"/>
                  <a:gd name="T2" fmla="*/ 287 w 289"/>
                  <a:gd name="T3" fmla="*/ 118 h 288"/>
                  <a:gd name="T4" fmla="*/ 280 w 289"/>
                  <a:gd name="T5" fmla="*/ 94 h 288"/>
                  <a:gd name="T6" fmla="*/ 270 w 289"/>
                  <a:gd name="T7" fmla="*/ 71 h 288"/>
                  <a:gd name="T8" fmla="*/ 256 w 289"/>
                  <a:gd name="T9" fmla="*/ 51 h 288"/>
                  <a:gd name="T10" fmla="*/ 238 w 289"/>
                  <a:gd name="T11" fmla="*/ 34 h 288"/>
                  <a:gd name="T12" fmla="*/ 218 w 289"/>
                  <a:gd name="T13" fmla="*/ 19 h 288"/>
                  <a:gd name="T14" fmla="*/ 195 w 289"/>
                  <a:gd name="T15" fmla="*/ 8 h 288"/>
                  <a:gd name="T16" fmla="*/ 171 w 289"/>
                  <a:gd name="T17" fmla="*/ 2 h 288"/>
                  <a:gd name="T18" fmla="*/ 145 w 289"/>
                  <a:gd name="T19" fmla="*/ 0 h 288"/>
                  <a:gd name="T20" fmla="*/ 119 w 289"/>
                  <a:gd name="T21" fmla="*/ 2 h 288"/>
                  <a:gd name="T22" fmla="*/ 95 w 289"/>
                  <a:gd name="T23" fmla="*/ 8 h 288"/>
                  <a:gd name="T24" fmla="*/ 72 w 289"/>
                  <a:gd name="T25" fmla="*/ 19 h 288"/>
                  <a:gd name="T26" fmla="*/ 52 w 289"/>
                  <a:gd name="T27" fmla="*/ 34 h 288"/>
                  <a:gd name="T28" fmla="*/ 34 w 289"/>
                  <a:gd name="T29" fmla="*/ 51 h 288"/>
                  <a:gd name="T30" fmla="*/ 20 w 289"/>
                  <a:gd name="T31" fmla="*/ 71 h 288"/>
                  <a:gd name="T32" fmla="*/ 10 w 289"/>
                  <a:gd name="T33" fmla="*/ 94 h 288"/>
                  <a:gd name="T34" fmla="*/ 3 w 289"/>
                  <a:gd name="T35" fmla="*/ 118 h 288"/>
                  <a:gd name="T36" fmla="*/ 0 w 289"/>
                  <a:gd name="T37" fmla="*/ 144 h 288"/>
                  <a:gd name="T38" fmla="*/ 3 w 289"/>
                  <a:gd name="T39" fmla="*/ 170 h 288"/>
                  <a:gd name="T40" fmla="*/ 10 w 289"/>
                  <a:gd name="T41" fmla="*/ 195 h 288"/>
                  <a:gd name="T42" fmla="*/ 20 w 289"/>
                  <a:gd name="T43" fmla="*/ 217 h 288"/>
                  <a:gd name="T44" fmla="*/ 34 w 289"/>
                  <a:gd name="T45" fmla="*/ 237 h 288"/>
                  <a:gd name="T46" fmla="*/ 52 w 289"/>
                  <a:gd name="T47" fmla="*/ 254 h 288"/>
                  <a:gd name="T48" fmla="*/ 72 w 289"/>
                  <a:gd name="T49" fmla="*/ 268 h 288"/>
                  <a:gd name="T50" fmla="*/ 95 w 289"/>
                  <a:gd name="T51" fmla="*/ 279 h 288"/>
                  <a:gd name="T52" fmla="*/ 119 w 289"/>
                  <a:gd name="T53" fmla="*/ 286 h 288"/>
                  <a:gd name="T54" fmla="*/ 145 w 289"/>
                  <a:gd name="T55" fmla="*/ 288 h 288"/>
                  <a:gd name="T56" fmla="*/ 171 w 289"/>
                  <a:gd name="T57" fmla="*/ 286 h 288"/>
                  <a:gd name="T58" fmla="*/ 195 w 289"/>
                  <a:gd name="T59" fmla="*/ 279 h 288"/>
                  <a:gd name="T60" fmla="*/ 218 w 289"/>
                  <a:gd name="T61" fmla="*/ 268 h 288"/>
                  <a:gd name="T62" fmla="*/ 238 w 289"/>
                  <a:gd name="T63" fmla="*/ 254 h 288"/>
                  <a:gd name="T64" fmla="*/ 256 w 289"/>
                  <a:gd name="T65" fmla="*/ 237 h 288"/>
                  <a:gd name="T66" fmla="*/ 270 w 289"/>
                  <a:gd name="T67" fmla="*/ 217 h 288"/>
                  <a:gd name="T68" fmla="*/ 280 w 289"/>
                  <a:gd name="T69" fmla="*/ 195 h 288"/>
                  <a:gd name="T70" fmla="*/ 287 w 289"/>
                  <a:gd name="T71" fmla="*/ 170 h 288"/>
                  <a:gd name="T72" fmla="*/ 289 w 289"/>
                  <a:gd name="T73" fmla="*/ 144 h 28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9"/>
                  <a:gd name="T112" fmla="*/ 0 h 288"/>
                  <a:gd name="T113" fmla="*/ 289 w 289"/>
                  <a:gd name="T114" fmla="*/ 288 h 28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9" h="288">
                    <a:moveTo>
                      <a:pt x="289" y="144"/>
                    </a:moveTo>
                    <a:lnTo>
                      <a:pt x="287" y="118"/>
                    </a:lnTo>
                    <a:lnTo>
                      <a:pt x="280" y="94"/>
                    </a:lnTo>
                    <a:lnTo>
                      <a:pt x="270" y="71"/>
                    </a:lnTo>
                    <a:lnTo>
                      <a:pt x="256" y="51"/>
                    </a:lnTo>
                    <a:lnTo>
                      <a:pt x="238" y="34"/>
                    </a:lnTo>
                    <a:lnTo>
                      <a:pt x="218" y="19"/>
                    </a:lnTo>
                    <a:lnTo>
                      <a:pt x="195" y="8"/>
                    </a:lnTo>
                    <a:lnTo>
                      <a:pt x="171" y="2"/>
                    </a:lnTo>
                    <a:lnTo>
                      <a:pt x="145" y="0"/>
                    </a:lnTo>
                    <a:lnTo>
                      <a:pt x="119" y="2"/>
                    </a:lnTo>
                    <a:lnTo>
                      <a:pt x="95" y="8"/>
                    </a:lnTo>
                    <a:lnTo>
                      <a:pt x="72" y="19"/>
                    </a:lnTo>
                    <a:lnTo>
                      <a:pt x="52" y="34"/>
                    </a:lnTo>
                    <a:lnTo>
                      <a:pt x="34" y="51"/>
                    </a:lnTo>
                    <a:lnTo>
                      <a:pt x="20" y="71"/>
                    </a:lnTo>
                    <a:lnTo>
                      <a:pt x="10" y="94"/>
                    </a:lnTo>
                    <a:lnTo>
                      <a:pt x="3" y="118"/>
                    </a:lnTo>
                    <a:lnTo>
                      <a:pt x="0" y="144"/>
                    </a:lnTo>
                    <a:lnTo>
                      <a:pt x="3" y="170"/>
                    </a:lnTo>
                    <a:lnTo>
                      <a:pt x="10" y="195"/>
                    </a:lnTo>
                    <a:lnTo>
                      <a:pt x="20" y="217"/>
                    </a:lnTo>
                    <a:lnTo>
                      <a:pt x="34" y="237"/>
                    </a:lnTo>
                    <a:lnTo>
                      <a:pt x="52" y="254"/>
                    </a:lnTo>
                    <a:lnTo>
                      <a:pt x="72" y="268"/>
                    </a:lnTo>
                    <a:lnTo>
                      <a:pt x="95" y="279"/>
                    </a:lnTo>
                    <a:lnTo>
                      <a:pt x="119" y="286"/>
                    </a:lnTo>
                    <a:lnTo>
                      <a:pt x="145" y="288"/>
                    </a:lnTo>
                    <a:lnTo>
                      <a:pt x="171" y="286"/>
                    </a:lnTo>
                    <a:lnTo>
                      <a:pt x="195" y="279"/>
                    </a:lnTo>
                    <a:lnTo>
                      <a:pt x="218" y="268"/>
                    </a:lnTo>
                    <a:lnTo>
                      <a:pt x="238" y="254"/>
                    </a:lnTo>
                    <a:lnTo>
                      <a:pt x="256" y="237"/>
                    </a:lnTo>
                    <a:lnTo>
                      <a:pt x="270" y="217"/>
                    </a:lnTo>
                    <a:lnTo>
                      <a:pt x="280" y="195"/>
                    </a:lnTo>
                    <a:lnTo>
                      <a:pt x="287" y="170"/>
                    </a:lnTo>
                    <a:lnTo>
                      <a:pt x="289" y="144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7" name="Freeform 29"/>
              <p:cNvSpPr>
                <a:spLocks/>
              </p:cNvSpPr>
              <p:nvPr/>
            </p:nvSpPr>
            <p:spPr bwMode="auto">
              <a:xfrm>
                <a:off x="4082" y="1037"/>
                <a:ext cx="288" cy="288"/>
              </a:xfrm>
              <a:custGeom>
                <a:avLst/>
                <a:gdLst>
                  <a:gd name="T0" fmla="*/ 288 w 288"/>
                  <a:gd name="T1" fmla="*/ 143 h 288"/>
                  <a:gd name="T2" fmla="*/ 286 w 288"/>
                  <a:gd name="T3" fmla="*/ 118 h 288"/>
                  <a:gd name="T4" fmla="*/ 279 w 288"/>
                  <a:gd name="T5" fmla="*/ 93 h 288"/>
                  <a:gd name="T6" fmla="*/ 268 w 288"/>
                  <a:gd name="T7" fmla="*/ 71 h 288"/>
                  <a:gd name="T8" fmla="*/ 254 w 288"/>
                  <a:gd name="T9" fmla="*/ 51 h 288"/>
                  <a:gd name="T10" fmla="*/ 237 w 288"/>
                  <a:gd name="T11" fmla="*/ 33 h 288"/>
                  <a:gd name="T12" fmla="*/ 217 w 288"/>
                  <a:gd name="T13" fmla="*/ 19 h 288"/>
                  <a:gd name="T14" fmla="*/ 195 w 288"/>
                  <a:gd name="T15" fmla="*/ 8 h 288"/>
                  <a:gd name="T16" fmla="*/ 170 w 288"/>
                  <a:gd name="T17" fmla="*/ 2 h 288"/>
                  <a:gd name="T18" fmla="*/ 144 w 288"/>
                  <a:gd name="T19" fmla="*/ 0 h 288"/>
                  <a:gd name="T20" fmla="*/ 118 w 288"/>
                  <a:gd name="T21" fmla="*/ 2 h 288"/>
                  <a:gd name="T22" fmla="*/ 94 w 288"/>
                  <a:gd name="T23" fmla="*/ 8 h 288"/>
                  <a:gd name="T24" fmla="*/ 71 w 288"/>
                  <a:gd name="T25" fmla="*/ 19 h 288"/>
                  <a:gd name="T26" fmla="*/ 51 w 288"/>
                  <a:gd name="T27" fmla="*/ 33 h 288"/>
                  <a:gd name="T28" fmla="*/ 34 w 288"/>
                  <a:gd name="T29" fmla="*/ 51 h 288"/>
                  <a:gd name="T30" fmla="*/ 19 w 288"/>
                  <a:gd name="T31" fmla="*/ 71 h 288"/>
                  <a:gd name="T32" fmla="*/ 8 w 288"/>
                  <a:gd name="T33" fmla="*/ 93 h 288"/>
                  <a:gd name="T34" fmla="*/ 2 w 288"/>
                  <a:gd name="T35" fmla="*/ 118 h 288"/>
                  <a:gd name="T36" fmla="*/ 0 w 288"/>
                  <a:gd name="T37" fmla="*/ 143 h 288"/>
                  <a:gd name="T38" fmla="*/ 2 w 288"/>
                  <a:gd name="T39" fmla="*/ 169 h 288"/>
                  <a:gd name="T40" fmla="*/ 8 w 288"/>
                  <a:gd name="T41" fmla="*/ 194 h 288"/>
                  <a:gd name="T42" fmla="*/ 19 w 288"/>
                  <a:gd name="T43" fmla="*/ 217 h 288"/>
                  <a:gd name="T44" fmla="*/ 34 w 288"/>
                  <a:gd name="T45" fmla="*/ 237 h 288"/>
                  <a:gd name="T46" fmla="*/ 51 w 288"/>
                  <a:gd name="T47" fmla="*/ 254 h 288"/>
                  <a:gd name="T48" fmla="*/ 71 w 288"/>
                  <a:gd name="T49" fmla="*/ 268 h 288"/>
                  <a:gd name="T50" fmla="*/ 94 w 288"/>
                  <a:gd name="T51" fmla="*/ 279 h 288"/>
                  <a:gd name="T52" fmla="*/ 118 w 288"/>
                  <a:gd name="T53" fmla="*/ 286 h 288"/>
                  <a:gd name="T54" fmla="*/ 144 w 288"/>
                  <a:gd name="T55" fmla="*/ 288 h 288"/>
                  <a:gd name="T56" fmla="*/ 170 w 288"/>
                  <a:gd name="T57" fmla="*/ 286 h 288"/>
                  <a:gd name="T58" fmla="*/ 195 w 288"/>
                  <a:gd name="T59" fmla="*/ 279 h 288"/>
                  <a:gd name="T60" fmla="*/ 217 w 288"/>
                  <a:gd name="T61" fmla="*/ 268 h 288"/>
                  <a:gd name="T62" fmla="*/ 237 w 288"/>
                  <a:gd name="T63" fmla="*/ 254 h 288"/>
                  <a:gd name="T64" fmla="*/ 254 w 288"/>
                  <a:gd name="T65" fmla="*/ 237 h 288"/>
                  <a:gd name="T66" fmla="*/ 268 w 288"/>
                  <a:gd name="T67" fmla="*/ 217 h 288"/>
                  <a:gd name="T68" fmla="*/ 279 w 288"/>
                  <a:gd name="T69" fmla="*/ 194 h 288"/>
                  <a:gd name="T70" fmla="*/ 286 w 288"/>
                  <a:gd name="T71" fmla="*/ 169 h 288"/>
                  <a:gd name="T72" fmla="*/ 288 w 288"/>
                  <a:gd name="T73" fmla="*/ 143 h 28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8"/>
                  <a:gd name="T112" fmla="*/ 0 h 288"/>
                  <a:gd name="T113" fmla="*/ 288 w 288"/>
                  <a:gd name="T114" fmla="*/ 288 h 28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8" h="288">
                    <a:moveTo>
                      <a:pt x="288" y="143"/>
                    </a:moveTo>
                    <a:lnTo>
                      <a:pt x="286" y="118"/>
                    </a:lnTo>
                    <a:lnTo>
                      <a:pt x="279" y="93"/>
                    </a:lnTo>
                    <a:lnTo>
                      <a:pt x="268" y="71"/>
                    </a:lnTo>
                    <a:lnTo>
                      <a:pt x="254" y="51"/>
                    </a:lnTo>
                    <a:lnTo>
                      <a:pt x="237" y="33"/>
                    </a:lnTo>
                    <a:lnTo>
                      <a:pt x="217" y="19"/>
                    </a:lnTo>
                    <a:lnTo>
                      <a:pt x="195" y="8"/>
                    </a:lnTo>
                    <a:lnTo>
                      <a:pt x="170" y="2"/>
                    </a:lnTo>
                    <a:lnTo>
                      <a:pt x="144" y="0"/>
                    </a:lnTo>
                    <a:lnTo>
                      <a:pt x="118" y="2"/>
                    </a:lnTo>
                    <a:lnTo>
                      <a:pt x="94" y="8"/>
                    </a:lnTo>
                    <a:lnTo>
                      <a:pt x="71" y="19"/>
                    </a:lnTo>
                    <a:lnTo>
                      <a:pt x="51" y="33"/>
                    </a:lnTo>
                    <a:lnTo>
                      <a:pt x="34" y="51"/>
                    </a:lnTo>
                    <a:lnTo>
                      <a:pt x="19" y="71"/>
                    </a:lnTo>
                    <a:lnTo>
                      <a:pt x="8" y="93"/>
                    </a:lnTo>
                    <a:lnTo>
                      <a:pt x="2" y="118"/>
                    </a:lnTo>
                    <a:lnTo>
                      <a:pt x="0" y="143"/>
                    </a:lnTo>
                    <a:lnTo>
                      <a:pt x="2" y="169"/>
                    </a:lnTo>
                    <a:lnTo>
                      <a:pt x="8" y="194"/>
                    </a:lnTo>
                    <a:lnTo>
                      <a:pt x="19" y="217"/>
                    </a:lnTo>
                    <a:lnTo>
                      <a:pt x="34" y="237"/>
                    </a:lnTo>
                    <a:lnTo>
                      <a:pt x="51" y="254"/>
                    </a:lnTo>
                    <a:lnTo>
                      <a:pt x="71" y="268"/>
                    </a:lnTo>
                    <a:lnTo>
                      <a:pt x="94" y="279"/>
                    </a:lnTo>
                    <a:lnTo>
                      <a:pt x="118" y="286"/>
                    </a:lnTo>
                    <a:lnTo>
                      <a:pt x="144" y="288"/>
                    </a:lnTo>
                    <a:lnTo>
                      <a:pt x="170" y="286"/>
                    </a:lnTo>
                    <a:lnTo>
                      <a:pt x="195" y="279"/>
                    </a:lnTo>
                    <a:lnTo>
                      <a:pt x="217" y="268"/>
                    </a:lnTo>
                    <a:lnTo>
                      <a:pt x="237" y="254"/>
                    </a:lnTo>
                    <a:lnTo>
                      <a:pt x="254" y="237"/>
                    </a:lnTo>
                    <a:lnTo>
                      <a:pt x="268" y="217"/>
                    </a:lnTo>
                    <a:lnTo>
                      <a:pt x="279" y="194"/>
                    </a:lnTo>
                    <a:lnTo>
                      <a:pt x="286" y="169"/>
                    </a:lnTo>
                    <a:lnTo>
                      <a:pt x="288" y="14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8" name="Freeform 30"/>
              <p:cNvSpPr>
                <a:spLocks/>
              </p:cNvSpPr>
              <p:nvPr/>
            </p:nvSpPr>
            <p:spPr bwMode="auto">
              <a:xfrm>
                <a:off x="4082" y="1037"/>
                <a:ext cx="288" cy="288"/>
              </a:xfrm>
              <a:custGeom>
                <a:avLst/>
                <a:gdLst>
                  <a:gd name="T0" fmla="*/ 288 w 288"/>
                  <a:gd name="T1" fmla="*/ 143 h 288"/>
                  <a:gd name="T2" fmla="*/ 286 w 288"/>
                  <a:gd name="T3" fmla="*/ 118 h 288"/>
                  <a:gd name="T4" fmla="*/ 279 w 288"/>
                  <a:gd name="T5" fmla="*/ 93 h 288"/>
                  <a:gd name="T6" fmla="*/ 268 w 288"/>
                  <a:gd name="T7" fmla="*/ 71 h 288"/>
                  <a:gd name="T8" fmla="*/ 254 w 288"/>
                  <a:gd name="T9" fmla="*/ 51 h 288"/>
                  <a:gd name="T10" fmla="*/ 237 w 288"/>
                  <a:gd name="T11" fmla="*/ 33 h 288"/>
                  <a:gd name="T12" fmla="*/ 217 w 288"/>
                  <a:gd name="T13" fmla="*/ 19 h 288"/>
                  <a:gd name="T14" fmla="*/ 195 w 288"/>
                  <a:gd name="T15" fmla="*/ 8 h 288"/>
                  <a:gd name="T16" fmla="*/ 170 w 288"/>
                  <a:gd name="T17" fmla="*/ 2 h 288"/>
                  <a:gd name="T18" fmla="*/ 144 w 288"/>
                  <a:gd name="T19" fmla="*/ 0 h 288"/>
                  <a:gd name="T20" fmla="*/ 118 w 288"/>
                  <a:gd name="T21" fmla="*/ 2 h 288"/>
                  <a:gd name="T22" fmla="*/ 94 w 288"/>
                  <a:gd name="T23" fmla="*/ 8 h 288"/>
                  <a:gd name="T24" fmla="*/ 71 w 288"/>
                  <a:gd name="T25" fmla="*/ 19 h 288"/>
                  <a:gd name="T26" fmla="*/ 51 w 288"/>
                  <a:gd name="T27" fmla="*/ 33 h 288"/>
                  <a:gd name="T28" fmla="*/ 34 w 288"/>
                  <a:gd name="T29" fmla="*/ 51 h 288"/>
                  <a:gd name="T30" fmla="*/ 19 w 288"/>
                  <a:gd name="T31" fmla="*/ 71 h 288"/>
                  <a:gd name="T32" fmla="*/ 8 w 288"/>
                  <a:gd name="T33" fmla="*/ 93 h 288"/>
                  <a:gd name="T34" fmla="*/ 2 w 288"/>
                  <a:gd name="T35" fmla="*/ 118 h 288"/>
                  <a:gd name="T36" fmla="*/ 0 w 288"/>
                  <a:gd name="T37" fmla="*/ 143 h 288"/>
                  <a:gd name="T38" fmla="*/ 2 w 288"/>
                  <a:gd name="T39" fmla="*/ 169 h 288"/>
                  <a:gd name="T40" fmla="*/ 8 w 288"/>
                  <a:gd name="T41" fmla="*/ 194 h 288"/>
                  <a:gd name="T42" fmla="*/ 19 w 288"/>
                  <a:gd name="T43" fmla="*/ 217 h 288"/>
                  <a:gd name="T44" fmla="*/ 34 w 288"/>
                  <a:gd name="T45" fmla="*/ 237 h 288"/>
                  <a:gd name="T46" fmla="*/ 51 w 288"/>
                  <a:gd name="T47" fmla="*/ 254 h 288"/>
                  <a:gd name="T48" fmla="*/ 71 w 288"/>
                  <a:gd name="T49" fmla="*/ 268 h 288"/>
                  <a:gd name="T50" fmla="*/ 94 w 288"/>
                  <a:gd name="T51" fmla="*/ 279 h 288"/>
                  <a:gd name="T52" fmla="*/ 118 w 288"/>
                  <a:gd name="T53" fmla="*/ 286 h 288"/>
                  <a:gd name="T54" fmla="*/ 144 w 288"/>
                  <a:gd name="T55" fmla="*/ 288 h 288"/>
                  <a:gd name="T56" fmla="*/ 170 w 288"/>
                  <a:gd name="T57" fmla="*/ 286 h 288"/>
                  <a:gd name="T58" fmla="*/ 195 w 288"/>
                  <a:gd name="T59" fmla="*/ 279 h 288"/>
                  <a:gd name="T60" fmla="*/ 217 w 288"/>
                  <a:gd name="T61" fmla="*/ 268 h 288"/>
                  <a:gd name="T62" fmla="*/ 237 w 288"/>
                  <a:gd name="T63" fmla="*/ 254 h 288"/>
                  <a:gd name="T64" fmla="*/ 254 w 288"/>
                  <a:gd name="T65" fmla="*/ 237 h 288"/>
                  <a:gd name="T66" fmla="*/ 268 w 288"/>
                  <a:gd name="T67" fmla="*/ 217 h 288"/>
                  <a:gd name="T68" fmla="*/ 279 w 288"/>
                  <a:gd name="T69" fmla="*/ 194 h 288"/>
                  <a:gd name="T70" fmla="*/ 286 w 288"/>
                  <a:gd name="T71" fmla="*/ 169 h 288"/>
                  <a:gd name="T72" fmla="*/ 288 w 288"/>
                  <a:gd name="T73" fmla="*/ 143 h 28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88"/>
                  <a:gd name="T112" fmla="*/ 0 h 288"/>
                  <a:gd name="T113" fmla="*/ 288 w 288"/>
                  <a:gd name="T114" fmla="*/ 288 h 28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88" h="288">
                    <a:moveTo>
                      <a:pt x="288" y="143"/>
                    </a:moveTo>
                    <a:lnTo>
                      <a:pt x="286" y="118"/>
                    </a:lnTo>
                    <a:lnTo>
                      <a:pt x="279" y="93"/>
                    </a:lnTo>
                    <a:lnTo>
                      <a:pt x="268" y="71"/>
                    </a:lnTo>
                    <a:lnTo>
                      <a:pt x="254" y="51"/>
                    </a:lnTo>
                    <a:lnTo>
                      <a:pt x="237" y="33"/>
                    </a:lnTo>
                    <a:lnTo>
                      <a:pt x="217" y="19"/>
                    </a:lnTo>
                    <a:lnTo>
                      <a:pt x="195" y="8"/>
                    </a:lnTo>
                    <a:lnTo>
                      <a:pt x="170" y="2"/>
                    </a:lnTo>
                    <a:lnTo>
                      <a:pt x="144" y="0"/>
                    </a:lnTo>
                    <a:lnTo>
                      <a:pt x="118" y="2"/>
                    </a:lnTo>
                    <a:lnTo>
                      <a:pt x="94" y="8"/>
                    </a:lnTo>
                    <a:lnTo>
                      <a:pt x="71" y="19"/>
                    </a:lnTo>
                    <a:lnTo>
                      <a:pt x="51" y="33"/>
                    </a:lnTo>
                    <a:lnTo>
                      <a:pt x="34" y="51"/>
                    </a:lnTo>
                    <a:lnTo>
                      <a:pt x="19" y="71"/>
                    </a:lnTo>
                    <a:lnTo>
                      <a:pt x="8" y="93"/>
                    </a:lnTo>
                    <a:lnTo>
                      <a:pt x="2" y="118"/>
                    </a:lnTo>
                    <a:lnTo>
                      <a:pt x="0" y="143"/>
                    </a:lnTo>
                    <a:lnTo>
                      <a:pt x="2" y="169"/>
                    </a:lnTo>
                    <a:lnTo>
                      <a:pt x="8" y="194"/>
                    </a:lnTo>
                    <a:lnTo>
                      <a:pt x="19" y="217"/>
                    </a:lnTo>
                    <a:lnTo>
                      <a:pt x="34" y="237"/>
                    </a:lnTo>
                    <a:lnTo>
                      <a:pt x="51" y="254"/>
                    </a:lnTo>
                    <a:lnTo>
                      <a:pt x="71" y="268"/>
                    </a:lnTo>
                    <a:lnTo>
                      <a:pt x="94" y="279"/>
                    </a:lnTo>
                    <a:lnTo>
                      <a:pt x="118" y="286"/>
                    </a:lnTo>
                    <a:lnTo>
                      <a:pt x="144" y="288"/>
                    </a:lnTo>
                    <a:lnTo>
                      <a:pt x="170" y="286"/>
                    </a:lnTo>
                    <a:lnTo>
                      <a:pt x="195" y="279"/>
                    </a:lnTo>
                    <a:lnTo>
                      <a:pt x="217" y="268"/>
                    </a:lnTo>
                    <a:lnTo>
                      <a:pt x="237" y="254"/>
                    </a:lnTo>
                    <a:lnTo>
                      <a:pt x="254" y="237"/>
                    </a:lnTo>
                    <a:lnTo>
                      <a:pt x="268" y="217"/>
                    </a:lnTo>
                    <a:lnTo>
                      <a:pt x="279" y="194"/>
                    </a:lnTo>
                    <a:lnTo>
                      <a:pt x="286" y="169"/>
                    </a:lnTo>
                    <a:lnTo>
                      <a:pt x="288" y="14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79" name="Freeform 31"/>
              <p:cNvSpPr>
                <a:spLocks/>
              </p:cNvSpPr>
              <p:nvPr/>
            </p:nvSpPr>
            <p:spPr bwMode="auto">
              <a:xfrm>
                <a:off x="4097" y="2698"/>
                <a:ext cx="269" cy="269"/>
              </a:xfrm>
              <a:custGeom>
                <a:avLst/>
                <a:gdLst>
                  <a:gd name="T0" fmla="*/ 269 w 269"/>
                  <a:gd name="T1" fmla="*/ 135 h 269"/>
                  <a:gd name="T2" fmla="*/ 267 w 269"/>
                  <a:gd name="T3" fmla="*/ 110 h 269"/>
                  <a:gd name="T4" fmla="*/ 261 w 269"/>
                  <a:gd name="T5" fmla="*/ 88 h 269"/>
                  <a:gd name="T6" fmla="*/ 251 w 269"/>
                  <a:gd name="T7" fmla="*/ 66 h 269"/>
                  <a:gd name="T8" fmla="*/ 238 w 269"/>
                  <a:gd name="T9" fmla="*/ 48 h 269"/>
                  <a:gd name="T10" fmla="*/ 221 w 269"/>
                  <a:gd name="T11" fmla="*/ 31 h 269"/>
                  <a:gd name="T12" fmla="*/ 203 w 269"/>
                  <a:gd name="T13" fmla="*/ 18 h 269"/>
                  <a:gd name="T14" fmla="*/ 182 w 269"/>
                  <a:gd name="T15" fmla="*/ 8 h 269"/>
                  <a:gd name="T16" fmla="*/ 159 w 269"/>
                  <a:gd name="T17" fmla="*/ 2 h 269"/>
                  <a:gd name="T18" fmla="*/ 135 w 269"/>
                  <a:gd name="T19" fmla="*/ 0 h 269"/>
                  <a:gd name="T20" fmla="*/ 110 w 269"/>
                  <a:gd name="T21" fmla="*/ 2 h 269"/>
                  <a:gd name="T22" fmla="*/ 88 w 269"/>
                  <a:gd name="T23" fmla="*/ 8 h 269"/>
                  <a:gd name="T24" fmla="*/ 66 w 269"/>
                  <a:gd name="T25" fmla="*/ 18 h 269"/>
                  <a:gd name="T26" fmla="*/ 48 w 269"/>
                  <a:gd name="T27" fmla="*/ 31 h 269"/>
                  <a:gd name="T28" fmla="*/ 31 w 269"/>
                  <a:gd name="T29" fmla="*/ 48 h 269"/>
                  <a:gd name="T30" fmla="*/ 18 w 269"/>
                  <a:gd name="T31" fmla="*/ 66 h 269"/>
                  <a:gd name="T32" fmla="*/ 8 w 269"/>
                  <a:gd name="T33" fmla="*/ 88 h 269"/>
                  <a:gd name="T34" fmla="*/ 2 w 269"/>
                  <a:gd name="T35" fmla="*/ 110 h 269"/>
                  <a:gd name="T36" fmla="*/ 0 w 269"/>
                  <a:gd name="T37" fmla="*/ 135 h 269"/>
                  <a:gd name="T38" fmla="*/ 2 w 269"/>
                  <a:gd name="T39" fmla="*/ 159 h 269"/>
                  <a:gd name="T40" fmla="*/ 8 w 269"/>
                  <a:gd name="T41" fmla="*/ 182 h 269"/>
                  <a:gd name="T42" fmla="*/ 18 w 269"/>
                  <a:gd name="T43" fmla="*/ 203 h 269"/>
                  <a:gd name="T44" fmla="*/ 31 w 269"/>
                  <a:gd name="T45" fmla="*/ 221 h 269"/>
                  <a:gd name="T46" fmla="*/ 48 w 269"/>
                  <a:gd name="T47" fmla="*/ 238 h 269"/>
                  <a:gd name="T48" fmla="*/ 66 w 269"/>
                  <a:gd name="T49" fmla="*/ 251 h 269"/>
                  <a:gd name="T50" fmla="*/ 88 w 269"/>
                  <a:gd name="T51" fmla="*/ 261 h 269"/>
                  <a:gd name="T52" fmla="*/ 110 w 269"/>
                  <a:gd name="T53" fmla="*/ 267 h 269"/>
                  <a:gd name="T54" fmla="*/ 135 w 269"/>
                  <a:gd name="T55" fmla="*/ 269 h 269"/>
                  <a:gd name="T56" fmla="*/ 159 w 269"/>
                  <a:gd name="T57" fmla="*/ 267 h 269"/>
                  <a:gd name="T58" fmla="*/ 182 w 269"/>
                  <a:gd name="T59" fmla="*/ 261 h 269"/>
                  <a:gd name="T60" fmla="*/ 203 w 269"/>
                  <a:gd name="T61" fmla="*/ 251 h 269"/>
                  <a:gd name="T62" fmla="*/ 221 w 269"/>
                  <a:gd name="T63" fmla="*/ 238 h 269"/>
                  <a:gd name="T64" fmla="*/ 238 w 269"/>
                  <a:gd name="T65" fmla="*/ 221 h 269"/>
                  <a:gd name="T66" fmla="*/ 251 w 269"/>
                  <a:gd name="T67" fmla="*/ 203 h 269"/>
                  <a:gd name="T68" fmla="*/ 261 w 269"/>
                  <a:gd name="T69" fmla="*/ 182 h 269"/>
                  <a:gd name="T70" fmla="*/ 267 w 269"/>
                  <a:gd name="T71" fmla="*/ 159 h 269"/>
                  <a:gd name="T72" fmla="*/ 269 w 269"/>
                  <a:gd name="T73" fmla="*/ 135 h 26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69"/>
                  <a:gd name="T112" fmla="*/ 0 h 269"/>
                  <a:gd name="T113" fmla="*/ 269 w 269"/>
                  <a:gd name="T114" fmla="*/ 269 h 26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69" h="269">
                    <a:moveTo>
                      <a:pt x="269" y="135"/>
                    </a:moveTo>
                    <a:lnTo>
                      <a:pt x="267" y="110"/>
                    </a:lnTo>
                    <a:lnTo>
                      <a:pt x="261" y="88"/>
                    </a:lnTo>
                    <a:lnTo>
                      <a:pt x="251" y="66"/>
                    </a:lnTo>
                    <a:lnTo>
                      <a:pt x="238" y="48"/>
                    </a:lnTo>
                    <a:lnTo>
                      <a:pt x="221" y="31"/>
                    </a:lnTo>
                    <a:lnTo>
                      <a:pt x="203" y="18"/>
                    </a:lnTo>
                    <a:lnTo>
                      <a:pt x="182" y="8"/>
                    </a:lnTo>
                    <a:lnTo>
                      <a:pt x="159" y="2"/>
                    </a:lnTo>
                    <a:lnTo>
                      <a:pt x="135" y="0"/>
                    </a:lnTo>
                    <a:lnTo>
                      <a:pt x="110" y="2"/>
                    </a:lnTo>
                    <a:lnTo>
                      <a:pt x="88" y="8"/>
                    </a:lnTo>
                    <a:lnTo>
                      <a:pt x="66" y="18"/>
                    </a:lnTo>
                    <a:lnTo>
                      <a:pt x="48" y="31"/>
                    </a:lnTo>
                    <a:lnTo>
                      <a:pt x="31" y="48"/>
                    </a:lnTo>
                    <a:lnTo>
                      <a:pt x="18" y="66"/>
                    </a:lnTo>
                    <a:lnTo>
                      <a:pt x="8" y="88"/>
                    </a:lnTo>
                    <a:lnTo>
                      <a:pt x="2" y="110"/>
                    </a:lnTo>
                    <a:lnTo>
                      <a:pt x="0" y="135"/>
                    </a:lnTo>
                    <a:lnTo>
                      <a:pt x="2" y="159"/>
                    </a:lnTo>
                    <a:lnTo>
                      <a:pt x="8" y="182"/>
                    </a:lnTo>
                    <a:lnTo>
                      <a:pt x="18" y="203"/>
                    </a:lnTo>
                    <a:lnTo>
                      <a:pt x="31" y="221"/>
                    </a:lnTo>
                    <a:lnTo>
                      <a:pt x="48" y="238"/>
                    </a:lnTo>
                    <a:lnTo>
                      <a:pt x="66" y="251"/>
                    </a:lnTo>
                    <a:lnTo>
                      <a:pt x="88" y="261"/>
                    </a:lnTo>
                    <a:lnTo>
                      <a:pt x="110" y="267"/>
                    </a:lnTo>
                    <a:lnTo>
                      <a:pt x="135" y="269"/>
                    </a:lnTo>
                    <a:lnTo>
                      <a:pt x="159" y="267"/>
                    </a:lnTo>
                    <a:lnTo>
                      <a:pt x="182" y="261"/>
                    </a:lnTo>
                    <a:lnTo>
                      <a:pt x="203" y="251"/>
                    </a:lnTo>
                    <a:lnTo>
                      <a:pt x="221" y="238"/>
                    </a:lnTo>
                    <a:lnTo>
                      <a:pt x="238" y="221"/>
                    </a:lnTo>
                    <a:lnTo>
                      <a:pt x="251" y="203"/>
                    </a:lnTo>
                    <a:lnTo>
                      <a:pt x="261" y="182"/>
                    </a:lnTo>
                    <a:lnTo>
                      <a:pt x="267" y="159"/>
                    </a:lnTo>
                    <a:lnTo>
                      <a:pt x="269" y="13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0" name="Freeform 32"/>
              <p:cNvSpPr>
                <a:spLocks/>
              </p:cNvSpPr>
              <p:nvPr/>
            </p:nvSpPr>
            <p:spPr bwMode="auto">
              <a:xfrm>
                <a:off x="4097" y="2698"/>
                <a:ext cx="269" cy="269"/>
              </a:xfrm>
              <a:custGeom>
                <a:avLst/>
                <a:gdLst>
                  <a:gd name="T0" fmla="*/ 269 w 269"/>
                  <a:gd name="T1" fmla="*/ 135 h 269"/>
                  <a:gd name="T2" fmla="*/ 267 w 269"/>
                  <a:gd name="T3" fmla="*/ 110 h 269"/>
                  <a:gd name="T4" fmla="*/ 261 w 269"/>
                  <a:gd name="T5" fmla="*/ 88 h 269"/>
                  <a:gd name="T6" fmla="*/ 251 w 269"/>
                  <a:gd name="T7" fmla="*/ 66 h 269"/>
                  <a:gd name="T8" fmla="*/ 238 w 269"/>
                  <a:gd name="T9" fmla="*/ 48 h 269"/>
                  <a:gd name="T10" fmla="*/ 221 w 269"/>
                  <a:gd name="T11" fmla="*/ 31 h 269"/>
                  <a:gd name="T12" fmla="*/ 203 w 269"/>
                  <a:gd name="T13" fmla="*/ 18 h 269"/>
                  <a:gd name="T14" fmla="*/ 182 w 269"/>
                  <a:gd name="T15" fmla="*/ 8 h 269"/>
                  <a:gd name="T16" fmla="*/ 159 w 269"/>
                  <a:gd name="T17" fmla="*/ 2 h 269"/>
                  <a:gd name="T18" fmla="*/ 135 w 269"/>
                  <a:gd name="T19" fmla="*/ 0 h 269"/>
                  <a:gd name="T20" fmla="*/ 110 w 269"/>
                  <a:gd name="T21" fmla="*/ 2 h 269"/>
                  <a:gd name="T22" fmla="*/ 88 w 269"/>
                  <a:gd name="T23" fmla="*/ 8 h 269"/>
                  <a:gd name="T24" fmla="*/ 66 w 269"/>
                  <a:gd name="T25" fmla="*/ 18 h 269"/>
                  <a:gd name="T26" fmla="*/ 48 w 269"/>
                  <a:gd name="T27" fmla="*/ 31 h 269"/>
                  <a:gd name="T28" fmla="*/ 31 w 269"/>
                  <a:gd name="T29" fmla="*/ 48 h 269"/>
                  <a:gd name="T30" fmla="*/ 18 w 269"/>
                  <a:gd name="T31" fmla="*/ 66 h 269"/>
                  <a:gd name="T32" fmla="*/ 8 w 269"/>
                  <a:gd name="T33" fmla="*/ 88 h 269"/>
                  <a:gd name="T34" fmla="*/ 2 w 269"/>
                  <a:gd name="T35" fmla="*/ 110 h 269"/>
                  <a:gd name="T36" fmla="*/ 0 w 269"/>
                  <a:gd name="T37" fmla="*/ 135 h 269"/>
                  <a:gd name="T38" fmla="*/ 2 w 269"/>
                  <a:gd name="T39" fmla="*/ 159 h 269"/>
                  <a:gd name="T40" fmla="*/ 8 w 269"/>
                  <a:gd name="T41" fmla="*/ 182 h 269"/>
                  <a:gd name="T42" fmla="*/ 18 w 269"/>
                  <a:gd name="T43" fmla="*/ 203 h 269"/>
                  <a:gd name="T44" fmla="*/ 31 w 269"/>
                  <a:gd name="T45" fmla="*/ 221 h 269"/>
                  <a:gd name="T46" fmla="*/ 48 w 269"/>
                  <a:gd name="T47" fmla="*/ 238 h 269"/>
                  <a:gd name="T48" fmla="*/ 66 w 269"/>
                  <a:gd name="T49" fmla="*/ 251 h 269"/>
                  <a:gd name="T50" fmla="*/ 88 w 269"/>
                  <a:gd name="T51" fmla="*/ 261 h 269"/>
                  <a:gd name="T52" fmla="*/ 110 w 269"/>
                  <a:gd name="T53" fmla="*/ 267 h 269"/>
                  <a:gd name="T54" fmla="*/ 135 w 269"/>
                  <a:gd name="T55" fmla="*/ 269 h 269"/>
                  <a:gd name="T56" fmla="*/ 159 w 269"/>
                  <a:gd name="T57" fmla="*/ 267 h 269"/>
                  <a:gd name="T58" fmla="*/ 182 w 269"/>
                  <a:gd name="T59" fmla="*/ 261 h 269"/>
                  <a:gd name="T60" fmla="*/ 203 w 269"/>
                  <a:gd name="T61" fmla="*/ 251 h 269"/>
                  <a:gd name="T62" fmla="*/ 221 w 269"/>
                  <a:gd name="T63" fmla="*/ 238 h 269"/>
                  <a:gd name="T64" fmla="*/ 238 w 269"/>
                  <a:gd name="T65" fmla="*/ 221 h 269"/>
                  <a:gd name="T66" fmla="*/ 251 w 269"/>
                  <a:gd name="T67" fmla="*/ 203 h 269"/>
                  <a:gd name="T68" fmla="*/ 261 w 269"/>
                  <a:gd name="T69" fmla="*/ 182 h 269"/>
                  <a:gd name="T70" fmla="*/ 267 w 269"/>
                  <a:gd name="T71" fmla="*/ 159 h 269"/>
                  <a:gd name="T72" fmla="*/ 269 w 269"/>
                  <a:gd name="T73" fmla="*/ 135 h 26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69"/>
                  <a:gd name="T112" fmla="*/ 0 h 269"/>
                  <a:gd name="T113" fmla="*/ 269 w 269"/>
                  <a:gd name="T114" fmla="*/ 269 h 26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69" h="269">
                    <a:moveTo>
                      <a:pt x="269" y="135"/>
                    </a:moveTo>
                    <a:lnTo>
                      <a:pt x="267" y="110"/>
                    </a:lnTo>
                    <a:lnTo>
                      <a:pt x="261" y="88"/>
                    </a:lnTo>
                    <a:lnTo>
                      <a:pt x="251" y="66"/>
                    </a:lnTo>
                    <a:lnTo>
                      <a:pt x="238" y="48"/>
                    </a:lnTo>
                    <a:lnTo>
                      <a:pt x="221" y="31"/>
                    </a:lnTo>
                    <a:lnTo>
                      <a:pt x="203" y="18"/>
                    </a:lnTo>
                    <a:lnTo>
                      <a:pt x="182" y="8"/>
                    </a:lnTo>
                    <a:lnTo>
                      <a:pt x="159" y="2"/>
                    </a:lnTo>
                    <a:lnTo>
                      <a:pt x="135" y="0"/>
                    </a:lnTo>
                    <a:lnTo>
                      <a:pt x="110" y="2"/>
                    </a:lnTo>
                    <a:lnTo>
                      <a:pt x="88" y="8"/>
                    </a:lnTo>
                    <a:lnTo>
                      <a:pt x="66" y="18"/>
                    </a:lnTo>
                    <a:lnTo>
                      <a:pt x="48" y="31"/>
                    </a:lnTo>
                    <a:lnTo>
                      <a:pt x="31" y="48"/>
                    </a:lnTo>
                    <a:lnTo>
                      <a:pt x="18" y="66"/>
                    </a:lnTo>
                    <a:lnTo>
                      <a:pt x="8" y="88"/>
                    </a:lnTo>
                    <a:lnTo>
                      <a:pt x="2" y="110"/>
                    </a:lnTo>
                    <a:lnTo>
                      <a:pt x="0" y="135"/>
                    </a:lnTo>
                    <a:lnTo>
                      <a:pt x="2" y="159"/>
                    </a:lnTo>
                    <a:lnTo>
                      <a:pt x="8" y="182"/>
                    </a:lnTo>
                    <a:lnTo>
                      <a:pt x="18" y="203"/>
                    </a:lnTo>
                    <a:lnTo>
                      <a:pt x="31" y="221"/>
                    </a:lnTo>
                    <a:lnTo>
                      <a:pt x="48" y="238"/>
                    </a:lnTo>
                    <a:lnTo>
                      <a:pt x="66" y="251"/>
                    </a:lnTo>
                    <a:lnTo>
                      <a:pt x="88" y="261"/>
                    </a:lnTo>
                    <a:lnTo>
                      <a:pt x="110" y="267"/>
                    </a:lnTo>
                    <a:lnTo>
                      <a:pt x="135" y="269"/>
                    </a:lnTo>
                    <a:lnTo>
                      <a:pt x="159" y="267"/>
                    </a:lnTo>
                    <a:lnTo>
                      <a:pt x="182" y="261"/>
                    </a:lnTo>
                    <a:lnTo>
                      <a:pt x="203" y="251"/>
                    </a:lnTo>
                    <a:lnTo>
                      <a:pt x="221" y="238"/>
                    </a:lnTo>
                    <a:lnTo>
                      <a:pt x="238" y="221"/>
                    </a:lnTo>
                    <a:lnTo>
                      <a:pt x="251" y="203"/>
                    </a:lnTo>
                    <a:lnTo>
                      <a:pt x="261" y="182"/>
                    </a:lnTo>
                    <a:lnTo>
                      <a:pt x="267" y="159"/>
                    </a:lnTo>
                    <a:lnTo>
                      <a:pt x="269" y="13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1" name="Freeform 33"/>
              <p:cNvSpPr>
                <a:spLocks/>
              </p:cNvSpPr>
              <p:nvPr/>
            </p:nvSpPr>
            <p:spPr bwMode="auto">
              <a:xfrm>
                <a:off x="4464" y="2047"/>
                <a:ext cx="269" cy="270"/>
              </a:xfrm>
              <a:custGeom>
                <a:avLst/>
                <a:gdLst>
                  <a:gd name="T0" fmla="*/ 269 w 269"/>
                  <a:gd name="T1" fmla="*/ 135 h 270"/>
                  <a:gd name="T2" fmla="*/ 267 w 269"/>
                  <a:gd name="T3" fmla="*/ 111 h 270"/>
                  <a:gd name="T4" fmla="*/ 260 w 269"/>
                  <a:gd name="T5" fmla="*/ 88 h 270"/>
                  <a:gd name="T6" fmla="*/ 251 w 269"/>
                  <a:gd name="T7" fmla="*/ 67 h 270"/>
                  <a:gd name="T8" fmla="*/ 238 w 269"/>
                  <a:gd name="T9" fmla="*/ 48 h 270"/>
                  <a:gd name="T10" fmla="*/ 221 w 269"/>
                  <a:gd name="T11" fmla="*/ 32 h 270"/>
                  <a:gd name="T12" fmla="*/ 202 w 269"/>
                  <a:gd name="T13" fmla="*/ 18 h 270"/>
                  <a:gd name="T14" fmla="*/ 181 w 269"/>
                  <a:gd name="T15" fmla="*/ 9 h 270"/>
                  <a:gd name="T16" fmla="*/ 158 w 269"/>
                  <a:gd name="T17" fmla="*/ 2 h 270"/>
                  <a:gd name="T18" fmla="*/ 134 w 269"/>
                  <a:gd name="T19" fmla="*/ 0 h 270"/>
                  <a:gd name="T20" fmla="*/ 110 w 269"/>
                  <a:gd name="T21" fmla="*/ 2 h 270"/>
                  <a:gd name="T22" fmla="*/ 88 w 269"/>
                  <a:gd name="T23" fmla="*/ 9 h 270"/>
                  <a:gd name="T24" fmla="*/ 66 w 269"/>
                  <a:gd name="T25" fmla="*/ 18 h 270"/>
                  <a:gd name="T26" fmla="*/ 48 w 269"/>
                  <a:gd name="T27" fmla="*/ 32 h 270"/>
                  <a:gd name="T28" fmla="*/ 31 w 269"/>
                  <a:gd name="T29" fmla="*/ 48 h 270"/>
                  <a:gd name="T30" fmla="*/ 18 w 269"/>
                  <a:gd name="T31" fmla="*/ 67 h 270"/>
                  <a:gd name="T32" fmla="*/ 8 w 269"/>
                  <a:gd name="T33" fmla="*/ 88 h 270"/>
                  <a:gd name="T34" fmla="*/ 2 w 269"/>
                  <a:gd name="T35" fmla="*/ 111 h 270"/>
                  <a:gd name="T36" fmla="*/ 0 w 269"/>
                  <a:gd name="T37" fmla="*/ 135 h 270"/>
                  <a:gd name="T38" fmla="*/ 2 w 269"/>
                  <a:gd name="T39" fmla="*/ 160 h 270"/>
                  <a:gd name="T40" fmla="*/ 8 w 269"/>
                  <a:gd name="T41" fmla="*/ 182 h 270"/>
                  <a:gd name="T42" fmla="*/ 18 w 269"/>
                  <a:gd name="T43" fmla="*/ 203 h 270"/>
                  <a:gd name="T44" fmla="*/ 31 w 269"/>
                  <a:gd name="T45" fmla="*/ 222 h 270"/>
                  <a:gd name="T46" fmla="*/ 48 w 269"/>
                  <a:gd name="T47" fmla="*/ 238 h 270"/>
                  <a:gd name="T48" fmla="*/ 66 w 269"/>
                  <a:gd name="T49" fmla="*/ 252 h 270"/>
                  <a:gd name="T50" fmla="*/ 88 w 269"/>
                  <a:gd name="T51" fmla="*/ 261 h 270"/>
                  <a:gd name="T52" fmla="*/ 110 w 269"/>
                  <a:gd name="T53" fmla="*/ 267 h 270"/>
                  <a:gd name="T54" fmla="*/ 134 w 269"/>
                  <a:gd name="T55" fmla="*/ 270 h 270"/>
                  <a:gd name="T56" fmla="*/ 158 w 269"/>
                  <a:gd name="T57" fmla="*/ 267 h 270"/>
                  <a:gd name="T58" fmla="*/ 181 w 269"/>
                  <a:gd name="T59" fmla="*/ 261 h 270"/>
                  <a:gd name="T60" fmla="*/ 202 w 269"/>
                  <a:gd name="T61" fmla="*/ 252 h 270"/>
                  <a:gd name="T62" fmla="*/ 221 w 269"/>
                  <a:gd name="T63" fmla="*/ 238 h 270"/>
                  <a:gd name="T64" fmla="*/ 238 w 269"/>
                  <a:gd name="T65" fmla="*/ 222 h 270"/>
                  <a:gd name="T66" fmla="*/ 251 w 269"/>
                  <a:gd name="T67" fmla="*/ 203 h 270"/>
                  <a:gd name="T68" fmla="*/ 260 w 269"/>
                  <a:gd name="T69" fmla="*/ 182 h 270"/>
                  <a:gd name="T70" fmla="*/ 267 w 269"/>
                  <a:gd name="T71" fmla="*/ 160 h 270"/>
                  <a:gd name="T72" fmla="*/ 269 w 269"/>
                  <a:gd name="T73" fmla="*/ 135 h 27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69"/>
                  <a:gd name="T112" fmla="*/ 0 h 270"/>
                  <a:gd name="T113" fmla="*/ 269 w 269"/>
                  <a:gd name="T114" fmla="*/ 270 h 27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69" h="270">
                    <a:moveTo>
                      <a:pt x="269" y="135"/>
                    </a:moveTo>
                    <a:lnTo>
                      <a:pt x="267" y="111"/>
                    </a:lnTo>
                    <a:lnTo>
                      <a:pt x="260" y="88"/>
                    </a:lnTo>
                    <a:lnTo>
                      <a:pt x="251" y="67"/>
                    </a:lnTo>
                    <a:lnTo>
                      <a:pt x="238" y="48"/>
                    </a:lnTo>
                    <a:lnTo>
                      <a:pt x="221" y="32"/>
                    </a:lnTo>
                    <a:lnTo>
                      <a:pt x="202" y="18"/>
                    </a:lnTo>
                    <a:lnTo>
                      <a:pt x="181" y="9"/>
                    </a:lnTo>
                    <a:lnTo>
                      <a:pt x="158" y="2"/>
                    </a:lnTo>
                    <a:lnTo>
                      <a:pt x="134" y="0"/>
                    </a:lnTo>
                    <a:lnTo>
                      <a:pt x="110" y="2"/>
                    </a:lnTo>
                    <a:lnTo>
                      <a:pt x="88" y="9"/>
                    </a:lnTo>
                    <a:lnTo>
                      <a:pt x="66" y="18"/>
                    </a:lnTo>
                    <a:lnTo>
                      <a:pt x="48" y="32"/>
                    </a:lnTo>
                    <a:lnTo>
                      <a:pt x="31" y="48"/>
                    </a:lnTo>
                    <a:lnTo>
                      <a:pt x="18" y="67"/>
                    </a:lnTo>
                    <a:lnTo>
                      <a:pt x="8" y="88"/>
                    </a:lnTo>
                    <a:lnTo>
                      <a:pt x="2" y="111"/>
                    </a:lnTo>
                    <a:lnTo>
                      <a:pt x="0" y="135"/>
                    </a:lnTo>
                    <a:lnTo>
                      <a:pt x="2" y="160"/>
                    </a:lnTo>
                    <a:lnTo>
                      <a:pt x="8" y="182"/>
                    </a:lnTo>
                    <a:lnTo>
                      <a:pt x="18" y="203"/>
                    </a:lnTo>
                    <a:lnTo>
                      <a:pt x="31" y="222"/>
                    </a:lnTo>
                    <a:lnTo>
                      <a:pt x="48" y="238"/>
                    </a:lnTo>
                    <a:lnTo>
                      <a:pt x="66" y="252"/>
                    </a:lnTo>
                    <a:lnTo>
                      <a:pt x="88" y="261"/>
                    </a:lnTo>
                    <a:lnTo>
                      <a:pt x="110" y="267"/>
                    </a:lnTo>
                    <a:lnTo>
                      <a:pt x="134" y="270"/>
                    </a:lnTo>
                    <a:lnTo>
                      <a:pt x="158" y="267"/>
                    </a:lnTo>
                    <a:lnTo>
                      <a:pt x="181" y="261"/>
                    </a:lnTo>
                    <a:lnTo>
                      <a:pt x="202" y="252"/>
                    </a:lnTo>
                    <a:lnTo>
                      <a:pt x="221" y="238"/>
                    </a:lnTo>
                    <a:lnTo>
                      <a:pt x="238" y="222"/>
                    </a:lnTo>
                    <a:lnTo>
                      <a:pt x="251" y="203"/>
                    </a:lnTo>
                    <a:lnTo>
                      <a:pt x="260" y="182"/>
                    </a:lnTo>
                    <a:lnTo>
                      <a:pt x="267" y="160"/>
                    </a:lnTo>
                    <a:lnTo>
                      <a:pt x="269" y="13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2" name="Freeform 34"/>
              <p:cNvSpPr>
                <a:spLocks/>
              </p:cNvSpPr>
              <p:nvPr/>
            </p:nvSpPr>
            <p:spPr bwMode="auto">
              <a:xfrm>
                <a:off x="4464" y="2047"/>
                <a:ext cx="269" cy="270"/>
              </a:xfrm>
              <a:custGeom>
                <a:avLst/>
                <a:gdLst>
                  <a:gd name="T0" fmla="*/ 269 w 269"/>
                  <a:gd name="T1" fmla="*/ 135 h 270"/>
                  <a:gd name="T2" fmla="*/ 267 w 269"/>
                  <a:gd name="T3" fmla="*/ 111 h 270"/>
                  <a:gd name="T4" fmla="*/ 260 w 269"/>
                  <a:gd name="T5" fmla="*/ 88 h 270"/>
                  <a:gd name="T6" fmla="*/ 251 w 269"/>
                  <a:gd name="T7" fmla="*/ 67 h 270"/>
                  <a:gd name="T8" fmla="*/ 238 w 269"/>
                  <a:gd name="T9" fmla="*/ 48 h 270"/>
                  <a:gd name="T10" fmla="*/ 221 w 269"/>
                  <a:gd name="T11" fmla="*/ 32 h 270"/>
                  <a:gd name="T12" fmla="*/ 202 w 269"/>
                  <a:gd name="T13" fmla="*/ 18 h 270"/>
                  <a:gd name="T14" fmla="*/ 181 w 269"/>
                  <a:gd name="T15" fmla="*/ 9 h 270"/>
                  <a:gd name="T16" fmla="*/ 158 w 269"/>
                  <a:gd name="T17" fmla="*/ 2 h 270"/>
                  <a:gd name="T18" fmla="*/ 134 w 269"/>
                  <a:gd name="T19" fmla="*/ 0 h 270"/>
                  <a:gd name="T20" fmla="*/ 110 w 269"/>
                  <a:gd name="T21" fmla="*/ 2 h 270"/>
                  <a:gd name="T22" fmla="*/ 88 w 269"/>
                  <a:gd name="T23" fmla="*/ 9 h 270"/>
                  <a:gd name="T24" fmla="*/ 66 w 269"/>
                  <a:gd name="T25" fmla="*/ 18 h 270"/>
                  <a:gd name="T26" fmla="*/ 48 w 269"/>
                  <a:gd name="T27" fmla="*/ 32 h 270"/>
                  <a:gd name="T28" fmla="*/ 31 w 269"/>
                  <a:gd name="T29" fmla="*/ 48 h 270"/>
                  <a:gd name="T30" fmla="*/ 18 w 269"/>
                  <a:gd name="T31" fmla="*/ 67 h 270"/>
                  <a:gd name="T32" fmla="*/ 8 w 269"/>
                  <a:gd name="T33" fmla="*/ 88 h 270"/>
                  <a:gd name="T34" fmla="*/ 2 w 269"/>
                  <a:gd name="T35" fmla="*/ 111 h 270"/>
                  <a:gd name="T36" fmla="*/ 0 w 269"/>
                  <a:gd name="T37" fmla="*/ 135 h 270"/>
                  <a:gd name="T38" fmla="*/ 2 w 269"/>
                  <a:gd name="T39" fmla="*/ 160 h 270"/>
                  <a:gd name="T40" fmla="*/ 8 w 269"/>
                  <a:gd name="T41" fmla="*/ 182 h 270"/>
                  <a:gd name="T42" fmla="*/ 18 w 269"/>
                  <a:gd name="T43" fmla="*/ 203 h 270"/>
                  <a:gd name="T44" fmla="*/ 31 w 269"/>
                  <a:gd name="T45" fmla="*/ 222 h 270"/>
                  <a:gd name="T46" fmla="*/ 48 w 269"/>
                  <a:gd name="T47" fmla="*/ 238 h 270"/>
                  <a:gd name="T48" fmla="*/ 66 w 269"/>
                  <a:gd name="T49" fmla="*/ 252 h 270"/>
                  <a:gd name="T50" fmla="*/ 88 w 269"/>
                  <a:gd name="T51" fmla="*/ 261 h 270"/>
                  <a:gd name="T52" fmla="*/ 110 w 269"/>
                  <a:gd name="T53" fmla="*/ 267 h 270"/>
                  <a:gd name="T54" fmla="*/ 134 w 269"/>
                  <a:gd name="T55" fmla="*/ 270 h 270"/>
                  <a:gd name="T56" fmla="*/ 158 w 269"/>
                  <a:gd name="T57" fmla="*/ 267 h 270"/>
                  <a:gd name="T58" fmla="*/ 181 w 269"/>
                  <a:gd name="T59" fmla="*/ 261 h 270"/>
                  <a:gd name="T60" fmla="*/ 202 w 269"/>
                  <a:gd name="T61" fmla="*/ 252 h 270"/>
                  <a:gd name="T62" fmla="*/ 221 w 269"/>
                  <a:gd name="T63" fmla="*/ 238 h 270"/>
                  <a:gd name="T64" fmla="*/ 238 w 269"/>
                  <a:gd name="T65" fmla="*/ 222 h 270"/>
                  <a:gd name="T66" fmla="*/ 251 w 269"/>
                  <a:gd name="T67" fmla="*/ 203 h 270"/>
                  <a:gd name="T68" fmla="*/ 260 w 269"/>
                  <a:gd name="T69" fmla="*/ 182 h 270"/>
                  <a:gd name="T70" fmla="*/ 267 w 269"/>
                  <a:gd name="T71" fmla="*/ 160 h 270"/>
                  <a:gd name="T72" fmla="*/ 269 w 269"/>
                  <a:gd name="T73" fmla="*/ 135 h 27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69"/>
                  <a:gd name="T112" fmla="*/ 0 h 270"/>
                  <a:gd name="T113" fmla="*/ 269 w 269"/>
                  <a:gd name="T114" fmla="*/ 270 h 27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69" h="270">
                    <a:moveTo>
                      <a:pt x="269" y="135"/>
                    </a:moveTo>
                    <a:lnTo>
                      <a:pt x="267" y="111"/>
                    </a:lnTo>
                    <a:lnTo>
                      <a:pt x="260" y="88"/>
                    </a:lnTo>
                    <a:lnTo>
                      <a:pt x="251" y="67"/>
                    </a:lnTo>
                    <a:lnTo>
                      <a:pt x="238" y="48"/>
                    </a:lnTo>
                    <a:lnTo>
                      <a:pt x="221" y="32"/>
                    </a:lnTo>
                    <a:lnTo>
                      <a:pt x="202" y="18"/>
                    </a:lnTo>
                    <a:lnTo>
                      <a:pt x="181" y="9"/>
                    </a:lnTo>
                    <a:lnTo>
                      <a:pt x="158" y="2"/>
                    </a:lnTo>
                    <a:lnTo>
                      <a:pt x="134" y="0"/>
                    </a:lnTo>
                    <a:lnTo>
                      <a:pt x="110" y="2"/>
                    </a:lnTo>
                    <a:lnTo>
                      <a:pt x="88" y="9"/>
                    </a:lnTo>
                    <a:lnTo>
                      <a:pt x="66" y="18"/>
                    </a:lnTo>
                    <a:lnTo>
                      <a:pt x="48" y="32"/>
                    </a:lnTo>
                    <a:lnTo>
                      <a:pt x="31" y="48"/>
                    </a:lnTo>
                    <a:lnTo>
                      <a:pt x="18" y="67"/>
                    </a:lnTo>
                    <a:lnTo>
                      <a:pt x="8" y="88"/>
                    </a:lnTo>
                    <a:lnTo>
                      <a:pt x="2" y="111"/>
                    </a:lnTo>
                    <a:lnTo>
                      <a:pt x="0" y="135"/>
                    </a:lnTo>
                    <a:lnTo>
                      <a:pt x="2" y="160"/>
                    </a:lnTo>
                    <a:lnTo>
                      <a:pt x="8" y="182"/>
                    </a:lnTo>
                    <a:lnTo>
                      <a:pt x="18" y="203"/>
                    </a:lnTo>
                    <a:lnTo>
                      <a:pt x="31" y="222"/>
                    </a:lnTo>
                    <a:lnTo>
                      <a:pt x="48" y="238"/>
                    </a:lnTo>
                    <a:lnTo>
                      <a:pt x="66" y="252"/>
                    </a:lnTo>
                    <a:lnTo>
                      <a:pt x="88" y="261"/>
                    </a:lnTo>
                    <a:lnTo>
                      <a:pt x="110" y="267"/>
                    </a:lnTo>
                    <a:lnTo>
                      <a:pt x="134" y="270"/>
                    </a:lnTo>
                    <a:lnTo>
                      <a:pt x="158" y="267"/>
                    </a:lnTo>
                    <a:lnTo>
                      <a:pt x="181" y="261"/>
                    </a:lnTo>
                    <a:lnTo>
                      <a:pt x="202" y="252"/>
                    </a:lnTo>
                    <a:lnTo>
                      <a:pt x="221" y="238"/>
                    </a:lnTo>
                    <a:lnTo>
                      <a:pt x="238" y="222"/>
                    </a:lnTo>
                    <a:lnTo>
                      <a:pt x="251" y="203"/>
                    </a:lnTo>
                    <a:lnTo>
                      <a:pt x="260" y="182"/>
                    </a:lnTo>
                    <a:lnTo>
                      <a:pt x="267" y="160"/>
                    </a:lnTo>
                    <a:lnTo>
                      <a:pt x="269" y="13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3" name="Freeform 35"/>
              <p:cNvSpPr>
                <a:spLocks/>
              </p:cNvSpPr>
              <p:nvPr/>
            </p:nvSpPr>
            <p:spPr bwMode="auto">
              <a:xfrm>
                <a:off x="4062" y="1049"/>
                <a:ext cx="260" cy="260"/>
              </a:xfrm>
              <a:custGeom>
                <a:avLst/>
                <a:gdLst>
                  <a:gd name="T0" fmla="*/ 260 w 260"/>
                  <a:gd name="T1" fmla="*/ 130 h 260"/>
                  <a:gd name="T2" fmla="*/ 258 w 260"/>
                  <a:gd name="T3" fmla="*/ 106 h 260"/>
                  <a:gd name="T4" fmla="*/ 252 w 260"/>
                  <a:gd name="T5" fmla="*/ 84 h 260"/>
                  <a:gd name="T6" fmla="*/ 242 w 260"/>
                  <a:gd name="T7" fmla="*/ 65 h 260"/>
                  <a:gd name="T8" fmla="*/ 230 w 260"/>
                  <a:gd name="T9" fmla="*/ 47 h 260"/>
                  <a:gd name="T10" fmla="*/ 214 w 260"/>
                  <a:gd name="T11" fmla="*/ 31 h 260"/>
                  <a:gd name="T12" fmla="*/ 196 w 260"/>
                  <a:gd name="T13" fmla="*/ 18 h 260"/>
                  <a:gd name="T14" fmla="*/ 176 w 260"/>
                  <a:gd name="T15" fmla="*/ 8 h 260"/>
                  <a:gd name="T16" fmla="*/ 154 w 260"/>
                  <a:gd name="T17" fmla="*/ 3 h 260"/>
                  <a:gd name="T18" fmla="*/ 131 w 260"/>
                  <a:gd name="T19" fmla="*/ 0 h 260"/>
                  <a:gd name="T20" fmla="*/ 107 w 260"/>
                  <a:gd name="T21" fmla="*/ 3 h 260"/>
                  <a:gd name="T22" fmla="*/ 85 w 260"/>
                  <a:gd name="T23" fmla="*/ 8 h 260"/>
                  <a:gd name="T24" fmla="*/ 65 w 260"/>
                  <a:gd name="T25" fmla="*/ 18 h 260"/>
                  <a:gd name="T26" fmla="*/ 46 w 260"/>
                  <a:gd name="T27" fmla="*/ 31 h 260"/>
                  <a:gd name="T28" fmla="*/ 31 w 260"/>
                  <a:gd name="T29" fmla="*/ 47 h 260"/>
                  <a:gd name="T30" fmla="*/ 18 w 260"/>
                  <a:gd name="T31" fmla="*/ 65 h 260"/>
                  <a:gd name="T32" fmla="*/ 8 w 260"/>
                  <a:gd name="T33" fmla="*/ 84 h 260"/>
                  <a:gd name="T34" fmla="*/ 2 w 260"/>
                  <a:gd name="T35" fmla="*/ 106 h 260"/>
                  <a:gd name="T36" fmla="*/ 0 w 260"/>
                  <a:gd name="T37" fmla="*/ 130 h 260"/>
                  <a:gd name="T38" fmla="*/ 2 w 260"/>
                  <a:gd name="T39" fmla="*/ 153 h 260"/>
                  <a:gd name="T40" fmla="*/ 8 w 260"/>
                  <a:gd name="T41" fmla="*/ 175 h 260"/>
                  <a:gd name="T42" fmla="*/ 18 w 260"/>
                  <a:gd name="T43" fmla="*/ 196 h 260"/>
                  <a:gd name="T44" fmla="*/ 31 w 260"/>
                  <a:gd name="T45" fmla="*/ 214 h 260"/>
                  <a:gd name="T46" fmla="*/ 46 w 260"/>
                  <a:gd name="T47" fmla="*/ 230 h 260"/>
                  <a:gd name="T48" fmla="*/ 65 w 260"/>
                  <a:gd name="T49" fmla="*/ 242 h 260"/>
                  <a:gd name="T50" fmla="*/ 85 w 260"/>
                  <a:gd name="T51" fmla="*/ 252 h 260"/>
                  <a:gd name="T52" fmla="*/ 107 w 260"/>
                  <a:gd name="T53" fmla="*/ 258 h 260"/>
                  <a:gd name="T54" fmla="*/ 131 w 260"/>
                  <a:gd name="T55" fmla="*/ 260 h 260"/>
                  <a:gd name="T56" fmla="*/ 154 w 260"/>
                  <a:gd name="T57" fmla="*/ 258 h 260"/>
                  <a:gd name="T58" fmla="*/ 176 w 260"/>
                  <a:gd name="T59" fmla="*/ 252 h 260"/>
                  <a:gd name="T60" fmla="*/ 196 w 260"/>
                  <a:gd name="T61" fmla="*/ 242 h 260"/>
                  <a:gd name="T62" fmla="*/ 214 w 260"/>
                  <a:gd name="T63" fmla="*/ 230 h 260"/>
                  <a:gd name="T64" fmla="*/ 230 w 260"/>
                  <a:gd name="T65" fmla="*/ 214 h 260"/>
                  <a:gd name="T66" fmla="*/ 242 w 260"/>
                  <a:gd name="T67" fmla="*/ 196 h 260"/>
                  <a:gd name="T68" fmla="*/ 252 w 260"/>
                  <a:gd name="T69" fmla="*/ 175 h 260"/>
                  <a:gd name="T70" fmla="*/ 258 w 260"/>
                  <a:gd name="T71" fmla="*/ 153 h 260"/>
                  <a:gd name="T72" fmla="*/ 260 w 260"/>
                  <a:gd name="T73" fmla="*/ 130 h 26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60"/>
                  <a:gd name="T112" fmla="*/ 0 h 260"/>
                  <a:gd name="T113" fmla="*/ 260 w 260"/>
                  <a:gd name="T114" fmla="*/ 260 h 26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60" h="260">
                    <a:moveTo>
                      <a:pt x="260" y="130"/>
                    </a:moveTo>
                    <a:lnTo>
                      <a:pt x="258" y="106"/>
                    </a:lnTo>
                    <a:lnTo>
                      <a:pt x="252" y="84"/>
                    </a:lnTo>
                    <a:lnTo>
                      <a:pt x="242" y="65"/>
                    </a:lnTo>
                    <a:lnTo>
                      <a:pt x="230" y="47"/>
                    </a:lnTo>
                    <a:lnTo>
                      <a:pt x="214" y="31"/>
                    </a:lnTo>
                    <a:lnTo>
                      <a:pt x="196" y="18"/>
                    </a:lnTo>
                    <a:lnTo>
                      <a:pt x="176" y="8"/>
                    </a:lnTo>
                    <a:lnTo>
                      <a:pt x="154" y="3"/>
                    </a:lnTo>
                    <a:lnTo>
                      <a:pt x="131" y="0"/>
                    </a:lnTo>
                    <a:lnTo>
                      <a:pt x="107" y="3"/>
                    </a:lnTo>
                    <a:lnTo>
                      <a:pt x="85" y="8"/>
                    </a:lnTo>
                    <a:lnTo>
                      <a:pt x="65" y="18"/>
                    </a:lnTo>
                    <a:lnTo>
                      <a:pt x="46" y="31"/>
                    </a:lnTo>
                    <a:lnTo>
                      <a:pt x="31" y="47"/>
                    </a:lnTo>
                    <a:lnTo>
                      <a:pt x="18" y="65"/>
                    </a:lnTo>
                    <a:lnTo>
                      <a:pt x="8" y="84"/>
                    </a:lnTo>
                    <a:lnTo>
                      <a:pt x="2" y="106"/>
                    </a:lnTo>
                    <a:lnTo>
                      <a:pt x="0" y="130"/>
                    </a:lnTo>
                    <a:lnTo>
                      <a:pt x="2" y="153"/>
                    </a:lnTo>
                    <a:lnTo>
                      <a:pt x="8" y="175"/>
                    </a:lnTo>
                    <a:lnTo>
                      <a:pt x="18" y="196"/>
                    </a:lnTo>
                    <a:lnTo>
                      <a:pt x="31" y="214"/>
                    </a:lnTo>
                    <a:lnTo>
                      <a:pt x="46" y="230"/>
                    </a:lnTo>
                    <a:lnTo>
                      <a:pt x="65" y="242"/>
                    </a:lnTo>
                    <a:lnTo>
                      <a:pt x="85" y="252"/>
                    </a:lnTo>
                    <a:lnTo>
                      <a:pt x="107" y="258"/>
                    </a:lnTo>
                    <a:lnTo>
                      <a:pt x="131" y="260"/>
                    </a:lnTo>
                    <a:lnTo>
                      <a:pt x="154" y="258"/>
                    </a:lnTo>
                    <a:lnTo>
                      <a:pt x="176" y="252"/>
                    </a:lnTo>
                    <a:lnTo>
                      <a:pt x="196" y="242"/>
                    </a:lnTo>
                    <a:lnTo>
                      <a:pt x="214" y="230"/>
                    </a:lnTo>
                    <a:lnTo>
                      <a:pt x="230" y="214"/>
                    </a:lnTo>
                    <a:lnTo>
                      <a:pt x="242" y="196"/>
                    </a:lnTo>
                    <a:lnTo>
                      <a:pt x="252" y="175"/>
                    </a:lnTo>
                    <a:lnTo>
                      <a:pt x="258" y="153"/>
                    </a:lnTo>
                    <a:lnTo>
                      <a:pt x="260" y="13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4" name="Freeform 36"/>
              <p:cNvSpPr>
                <a:spLocks/>
              </p:cNvSpPr>
              <p:nvPr/>
            </p:nvSpPr>
            <p:spPr bwMode="auto">
              <a:xfrm>
                <a:off x="4062" y="1049"/>
                <a:ext cx="260" cy="260"/>
              </a:xfrm>
              <a:custGeom>
                <a:avLst/>
                <a:gdLst>
                  <a:gd name="T0" fmla="*/ 260 w 260"/>
                  <a:gd name="T1" fmla="*/ 130 h 260"/>
                  <a:gd name="T2" fmla="*/ 258 w 260"/>
                  <a:gd name="T3" fmla="*/ 106 h 260"/>
                  <a:gd name="T4" fmla="*/ 252 w 260"/>
                  <a:gd name="T5" fmla="*/ 84 h 260"/>
                  <a:gd name="T6" fmla="*/ 242 w 260"/>
                  <a:gd name="T7" fmla="*/ 65 h 260"/>
                  <a:gd name="T8" fmla="*/ 230 w 260"/>
                  <a:gd name="T9" fmla="*/ 47 h 260"/>
                  <a:gd name="T10" fmla="*/ 214 w 260"/>
                  <a:gd name="T11" fmla="*/ 31 h 260"/>
                  <a:gd name="T12" fmla="*/ 196 w 260"/>
                  <a:gd name="T13" fmla="*/ 18 h 260"/>
                  <a:gd name="T14" fmla="*/ 176 w 260"/>
                  <a:gd name="T15" fmla="*/ 8 h 260"/>
                  <a:gd name="T16" fmla="*/ 154 w 260"/>
                  <a:gd name="T17" fmla="*/ 3 h 260"/>
                  <a:gd name="T18" fmla="*/ 131 w 260"/>
                  <a:gd name="T19" fmla="*/ 0 h 260"/>
                  <a:gd name="T20" fmla="*/ 107 w 260"/>
                  <a:gd name="T21" fmla="*/ 3 h 260"/>
                  <a:gd name="T22" fmla="*/ 85 w 260"/>
                  <a:gd name="T23" fmla="*/ 8 h 260"/>
                  <a:gd name="T24" fmla="*/ 65 w 260"/>
                  <a:gd name="T25" fmla="*/ 18 h 260"/>
                  <a:gd name="T26" fmla="*/ 46 w 260"/>
                  <a:gd name="T27" fmla="*/ 31 h 260"/>
                  <a:gd name="T28" fmla="*/ 31 w 260"/>
                  <a:gd name="T29" fmla="*/ 47 h 260"/>
                  <a:gd name="T30" fmla="*/ 18 w 260"/>
                  <a:gd name="T31" fmla="*/ 65 h 260"/>
                  <a:gd name="T32" fmla="*/ 8 w 260"/>
                  <a:gd name="T33" fmla="*/ 84 h 260"/>
                  <a:gd name="T34" fmla="*/ 2 w 260"/>
                  <a:gd name="T35" fmla="*/ 106 h 260"/>
                  <a:gd name="T36" fmla="*/ 0 w 260"/>
                  <a:gd name="T37" fmla="*/ 130 h 260"/>
                  <a:gd name="T38" fmla="*/ 2 w 260"/>
                  <a:gd name="T39" fmla="*/ 153 h 260"/>
                  <a:gd name="T40" fmla="*/ 8 w 260"/>
                  <a:gd name="T41" fmla="*/ 175 h 260"/>
                  <a:gd name="T42" fmla="*/ 18 w 260"/>
                  <a:gd name="T43" fmla="*/ 196 h 260"/>
                  <a:gd name="T44" fmla="*/ 31 w 260"/>
                  <a:gd name="T45" fmla="*/ 214 h 260"/>
                  <a:gd name="T46" fmla="*/ 46 w 260"/>
                  <a:gd name="T47" fmla="*/ 230 h 260"/>
                  <a:gd name="T48" fmla="*/ 65 w 260"/>
                  <a:gd name="T49" fmla="*/ 242 h 260"/>
                  <a:gd name="T50" fmla="*/ 85 w 260"/>
                  <a:gd name="T51" fmla="*/ 252 h 260"/>
                  <a:gd name="T52" fmla="*/ 107 w 260"/>
                  <a:gd name="T53" fmla="*/ 258 h 260"/>
                  <a:gd name="T54" fmla="*/ 131 w 260"/>
                  <a:gd name="T55" fmla="*/ 260 h 260"/>
                  <a:gd name="T56" fmla="*/ 154 w 260"/>
                  <a:gd name="T57" fmla="*/ 258 h 260"/>
                  <a:gd name="T58" fmla="*/ 176 w 260"/>
                  <a:gd name="T59" fmla="*/ 252 h 260"/>
                  <a:gd name="T60" fmla="*/ 196 w 260"/>
                  <a:gd name="T61" fmla="*/ 242 h 260"/>
                  <a:gd name="T62" fmla="*/ 214 w 260"/>
                  <a:gd name="T63" fmla="*/ 230 h 260"/>
                  <a:gd name="T64" fmla="*/ 230 w 260"/>
                  <a:gd name="T65" fmla="*/ 214 h 260"/>
                  <a:gd name="T66" fmla="*/ 242 w 260"/>
                  <a:gd name="T67" fmla="*/ 196 h 260"/>
                  <a:gd name="T68" fmla="*/ 252 w 260"/>
                  <a:gd name="T69" fmla="*/ 175 h 260"/>
                  <a:gd name="T70" fmla="*/ 258 w 260"/>
                  <a:gd name="T71" fmla="*/ 153 h 260"/>
                  <a:gd name="T72" fmla="*/ 260 w 260"/>
                  <a:gd name="T73" fmla="*/ 130 h 26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60"/>
                  <a:gd name="T112" fmla="*/ 0 h 260"/>
                  <a:gd name="T113" fmla="*/ 260 w 260"/>
                  <a:gd name="T114" fmla="*/ 260 h 26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60" h="260">
                    <a:moveTo>
                      <a:pt x="260" y="130"/>
                    </a:moveTo>
                    <a:lnTo>
                      <a:pt x="258" y="106"/>
                    </a:lnTo>
                    <a:lnTo>
                      <a:pt x="252" y="84"/>
                    </a:lnTo>
                    <a:lnTo>
                      <a:pt x="242" y="65"/>
                    </a:lnTo>
                    <a:lnTo>
                      <a:pt x="230" y="47"/>
                    </a:lnTo>
                    <a:lnTo>
                      <a:pt x="214" y="31"/>
                    </a:lnTo>
                    <a:lnTo>
                      <a:pt x="196" y="18"/>
                    </a:lnTo>
                    <a:lnTo>
                      <a:pt x="176" y="8"/>
                    </a:lnTo>
                    <a:lnTo>
                      <a:pt x="154" y="3"/>
                    </a:lnTo>
                    <a:lnTo>
                      <a:pt x="131" y="0"/>
                    </a:lnTo>
                    <a:lnTo>
                      <a:pt x="107" y="3"/>
                    </a:lnTo>
                    <a:lnTo>
                      <a:pt x="85" y="8"/>
                    </a:lnTo>
                    <a:lnTo>
                      <a:pt x="65" y="18"/>
                    </a:lnTo>
                    <a:lnTo>
                      <a:pt x="46" y="31"/>
                    </a:lnTo>
                    <a:lnTo>
                      <a:pt x="31" y="47"/>
                    </a:lnTo>
                    <a:lnTo>
                      <a:pt x="18" y="65"/>
                    </a:lnTo>
                    <a:lnTo>
                      <a:pt x="8" y="84"/>
                    </a:lnTo>
                    <a:lnTo>
                      <a:pt x="2" y="106"/>
                    </a:lnTo>
                    <a:lnTo>
                      <a:pt x="0" y="130"/>
                    </a:lnTo>
                    <a:lnTo>
                      <a:pt x="2" y="153"/>
                    </a:lnTo>
                    <a:lnTo>
                      <a:pt x="8" y="175"/>
                    </a:lnTo>
                    <a:lnTo>
                      <a:pt x="18" y="196"/>
                    </a:lnTo>
                    <a:lnTo>
                      <a:pt x="31" y="214"/>
                    </a:lnTo>
                    <a:lnTo>
                      <a:pt x="46" y="230"/>
                    </a:lnTo>
                    <a:lnTo>
                      <a:pt x="65" y="242"/>
                    </a:lnTo>
                    <a:lnTo>
                      <a:pt x="85" y="252"/>
                    </a:lnTo>
                    <a:lnTo>
                      <a:pt x="107" y="258"/>
                    </a:lnTo>
                    <a:lnTo>
                      <a:pt x="131" y="260"/>
                    </a:lnTo>
                    <a:lnTo>
                      <a:pt x="154" y="258"/>
                    </a:lnTo>
                    <a:lnTo>
                      <a:pt x="176" y="252"/>
                    </a:lnTo>
                    <a:lnTo>
                      <a:pt x="196" y="242"/>
                    </a:lnTo>
                    <a:lnTo>
                      <a:pt x="214" y="230"/>
                    </a:lnTo>
                    <a:lnTo>
                      <a:pt x="230" y="214"/>
                    </a:lnTo>
                    <a:lnTo>
                      <a:pt x="242" y="196"/>
                    </a:lnTo>
                    <a:lnTo>
                      <a:pt x="252" y="175"/>
                    </a:lnTo>
                    <a:lnTo>
                      <a:pt x="258" y="153"/>
                    </a:lnTo>
                    <a:lnTo>
                      <a:pt x="260" y="13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5" name="Freeform 37"/>
              <p:cNvSpPr>
                <a:spLocks/>
              </p:cNvSpPr>
              <p:nvPr/>
            </p:nvSpPr>
            <p:spPr bwMode="auto">
              <a:xfrm>
                <a:off x="4996" y="1400"/>
                <a:ext cx="257" cy="258"/>
              </a:xfrm>
              <a:custGeom>
                <a:avLst/>
                <a:gdLst>
                  <a:gd name="T0" fmla="*/ 257 w 257"/>
                  <a:gd name="T1" fmla="*/ 129 h 258"/>
                  <a:gd name="T2" fmla="*/ 255 w 257"/>
                  <a:gd name="T3" fmla="*/ 107 h 258"/>
                  <a:gd name="T4" fmla="*/ 249 w 257"/>
                  <a:gd name="T5" fmla="*/ 85 h 258"/>
                  <a:gd name="T6" fmla="*/ 239 w 257"/>
                  <a:gd name="T7" fmla="*/ 64 h 258"/>
                  <a:gd name="T8" fmla="*/ 227 w 257"/>
                  <a:gd name="T9" fmla="*/ 47 h 258"/>
                  <a:gd name="T10" fmla="*/ 211 w 257"/>
                  <a:gd name="T11" fmla="*/ 31 h 258"/>
                  <a:gd name="T12" fmla="*/ 194 w 257"/>
                  <a:gd name="T13" fmla="*/ 19 h 258"/>
                  <a:gd name="T14" fmla="*/ 173 w 257"/>
                  <a:gd name="T15" fmla="*/ 8 h 258"/>
                  <a:gd name="T16" fmla="*/ 151 w 257"/>
                  <a:gd name="T17" fmla="*/ 3 h 258"/>
                  <a:gd name="T18" fmla="*/ 128 w 257"/>
                  <a:gd name="T19" fmla="*/ 0 h 258"/>
                  <a:gd name="T20" fmla="*/ 105 w 257"/>
                  <a:gd name="T21" fmla="*/ 3 h 258"/>
                  <a:gd name="T22" fmla="*/ 84 w 257"/>
                  <a:gd name="T23" fmla="*/ 8 h 258"/>
                  <a:gd name="T24" fmla="*/ 63 w 257"/>
                  <a:gd name="T25" fmla="*/ 19 h 258"/>
                  <a:gd name="T26" fmla="*/ 45 w 257"/>
                  <a:gd name="T27" fmla="*/ 31 h 258"/>
                  <a:gd name="T28" fmla="*/ 29 w 257"/>
                  <a:gd name="T29" fmla="*/ 47 h 258"/>
                  <a:gd name="T30" fmla="*/ 17 w 257"/>
                  <a:gd name="T31" fmla="*/ 64 h 258"/>
                  <a:gd name="T32" fmla="*/ 7 w 257"/>
                  <a:gd name="T33" fmla="*/ 85 h 258"/>
                  <a:gd name="T34" fmla="*/ 2 w 257"/>
                  <a:gd name="T35" fmla="*/ 107 h 258"/>
                  <a:gd name="T36" fmla="*/ 0 w 257"/>
                  <a:gd name="T37" fmla="*/ 129 h 258"/>
                  <a:gd name="T38" fmla="*/ 2 w 257"/>
                  <a:gd name="T39" fmla="*/ 153 h 258"/>
                  <a:gd name="T40" fmla="*/ 7 w 257"/>
                  <a:gd name="T41" fmla="*/ 174 h 258"/>
                  <a:gd name="T42" fmla="*/ 17 w 257"/>
                  <a:gd name="T43" fmla="*/ 195 h 258"/>
                  <a:gd name="T44" fmla="*/ 29 w 257"/>
                  <a:gd name="T45" fmla="*/ 213 h 258"/>
                  <a:gd name="T46" fmla="*/ 45 w 257"/>
                  <a:gd name="T47" fmla="*/ 228 h 258"/>
                  <a:gd name="T48" fmla="*/ 63 w 257"/>
                  <a:gd name="T49" fmla="*/ 241 h 258"/>
                  <a:gd name="T50" fmla="*/ 84 w 257"/>
                  <a:gd name="T51" fmla="*/ 250 h 258"/>
                  <a:gd name="T52" fmla="*/ 105 w 257"/>
                  <a:gd name="T53" fmla="*/ 256 h 258"/>
                  <a:gd name="T54" fmla="*/ 128 w 257"/>
                  <a:gd name="T55" fmla="*/ 258 h 258"/>
                  <a:gd name="T56" fmla="*/ 151 w 257"/>
                  <a:gd name="T57" fmla="*/ 256 h 258"/>
                  <a:gd name="T58" fmla="*/ 173 w 257"/>
                  <a:gd name="T59" fmla="*/ 250 h 258"/>
                  <a:gd name="T60" fmla="*/ 194 w 257"/>
                  <a:gd name="T61" fmla="*/ 241 h 258"/>
                  <a:gd name="T62" fmla="*/ 211 w 257"/>
                  <a:gd name="T63" fmla="*/ 228 h 258"/>
                  <a:gd name="T64" fmla="*/ 227 w 257"/>
                  <a:gd name="T65" fmla="*/ 213 h 258"/>
                  <a:gd name="T66" fmla="*/ 239 w 257"/>
                  <a:gd name="T67" fmla="*/ 195 h 258"/>
                  <a:gd name="T68" fmla="*/ 249 w 257"/>
                  <a:gd name="T69" fmla="*/ 174 h 258"/>
                  <a:gd name="T70" fmla="*/ 255 w 257"/>
                  <a:gd name="T71" fmla="*/ 153 h 258"/>
                  <a:gd name="T72" fmla="*/ 257 w 257"/>
                  <a:gd name="T73" fmla="*/ 129 h 2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57"/>
                  <a:gd name="T112" fmla="*/ 0 h 258"/>
                  <a:gd name="T113" fmla="*/ 257 w 257"/>
                  <a:gd name="T114" fmla="*/ 258 h 2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57" h="258">
                    <a:moveTo>
                      <a:pt x="257" y="129"/>
                    </a:moveTo>
                    <a:lnTo>
                      <a:pt x="255" y="107"/>
                    </a:lnTo>
                    <a:lnTo>
                      <a:pt x="249" y="85"/>
                    </a:lnTo>
                    <a:lnTo>
                      <a:pt x="239" y="64"/>
                    </a:lnTo>
                    <a:lnTo>
                      <a:pt x="227" y="47"/>
                    </a:lnTo>
                    <a:lnTo>
                      <a:pt x="211" y="31"/>
                    </a:lnTo>
                    <a:lnTo>
                      <a:pt x="194" y="19"/>
                    </a:lnTo>
                    <a:lnTo>
                      <a:pt x="173" y="8"/>
                    </a:lnTo>
                    <a:lnTo>
                      <a:pt x="151" y="3"/>
                    </a:lnTo>
                    <a:lnTo>
                      <a:pt x="128" y="0"/>
                    </a:lnTo>
                    <a:lnTo>
                      <a:pt x="105" y="3"/>
                    </a:lnTo>
                    <a:lnTo>
                      <a:pt x="84" y="8"/>
                    </a:lnTo>
                    <a:lnTo>
                      <a:pt x="63" y="19"/>
                    </a:lnTo>
                    <a:lnTo>
                      <a:pt x="45" y="31"/>
                    </a:lnTo>
                    <a:lnTo>
                      <a:pt x="29" y="47"/>
                    </a:lnTo>
                    <a:lnTo>
                      <a:pt x="17" y="64"/>
                    </a:lnTo>
                    <a:lnTo>
                      <a:pt x="7" y="85"/>
                    </a:lnTo>
                    <a:lnTo>
                      <a:pt x="2" y="107"/>
                    </a:lnTo>
                    <a:lnTo>
                      <a:pt x="0" y="129"/>
                    </a:lnTo>
                    <a:lnTo>
                      <a:pt x="2" y="153"/>
                    </a:lnTo>
                    <a:lnTo>
                      <a:pt x="7" y="174"/>
                    </a:lnTo>
                    <a:lnTo>
                      <a:pt x="17" y="195"/>
                    </a:lnTo>
                    <a:lnTo>
                      <a:pt x="29" y="213"/>
                    </a:lnTo>
                    <a:lnTo>
                      <a:pt x="45" y="228"/>
                    </a:lnTo>
                    <a:lnTo>
                      <a:pt x="63" y="241"/>
                    </a:lnTo>
                    <a:lnTo>
                      <a:pt x="84" y="250"/>
                    </a:lnTo>
                    <a:lnTo>
                      <a:pt x="105" y="256"/>
                    </a:lnTo>
                    <a:lnTo>
                      <a:pt x="128" y="258"/>
                    </a:lnTo>
                    <a:lnTo>
                      <a:pt x="151" y="256"/>
                    </a:lnTo>
                    <a:lnTo>
                      <a:pt x="173" y="250"/>
                    </a:lnTo>
                    <a:lnTo>
                      <a:pt x="194" y="241"/>
                    </a:lnTo>
                    <a:lnTo>
                      <a:pt x="211" y="228"/>
                    </a:lnTo>
                    <a:lnTo>
                      <a:pt x="227" y="213"/>
                    </a:lnTo>
                    <a:lnTo>
                      <a:pt x="239" y="195"/>
                    </a:lnTo>
                    <a:lnTo>
                      <a:pt x="249" y="174"/>
                    </a:lnTo>
                    <a:lnTo>
                      <a:pt x="255" y="153"/>
                    </a:lnTo>
                    <a:lnTo>
                      <a:pt x="257" y="129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6" name="Freeform 38"/>
              <p:cNvSpPr>
                <a:spLocks/>
              </p:cNvSpPr>
              <p:nvPr/>
            </p:nvSpPr>
            <p:spPr bwMode="auto">
              <a:xfrm>
                <a:off x="4996" y="1400"/>
                <a:ext cx="257" cy="258"/>
              </a:xfrm>
              <a:custGeom>
                <a:avLst/>
                <a:gdLst>
                  <a:gd name="T0" fmla="*/ 257 w 257"/>
                  <a:gd name="T1" fmla="*/ 129 h 258"/>
                  <a:gd name="T2" fmla="*/ 255 w 257"/>
                  <a:gd name="T3" fmla="*/ 107 h 258"/>
                  <a:gd name="T4" fmla="*/ 249 w 257"/>
                  <a:gd name="T5" fmla="*/ 85 h 258"/>
                  <a:gd name="T6" fmla="*/ 239 w 257"/>
                  <a:gd name="T7" fmla="*/ 64 h 258"/>
                  <a:gd name="T8" fmla="*/ 227 w 257"/>
                  <a:gd name="T9" fmla="*/ 47 h 258"/>
                  <a:gd name="T10" fmla="*/ 211 w 257"/>
                  <a:gd name="T11" fmla="*/ 31 h 258"/>
                  <a:gd name="T12" fmla="*/ 194 w 257"/>
                  <a:gd name="T13" fmla="*/ 19 h 258"/>
                  <a:gd name="T14" fmla="*/ 173 w 257"/>
                  <a:gd name="T15" fmla="*/ 8 h 258"/>
                  <a:gd name="T16" fmla="*/ 151 w 257"/>
                  <a:gd name="T17" fmla="*/ 3 h 258"/>
                  <a:gd name="T18" fmla="*/ 128 w 257"/>
                  <a:gd name="T19" fmla="*/ 0 h 258"/>
                  <a:gd name="T20" fmla="*/ 105 w 257"/>
                  <a:gd name="T21" fmla="*/ 3 h 258"/>
                  <a:gd name="T22" fmla="*/ 84 w 257"/>
                  <a:gd name="T23" fmla="*/ 8 h 258"/>
                  <a:gd name="T24" fmla="*/ 63 w 257"/>
                  <a:gd name="T25" fmla="*/ 19 h 258"/>
                  <a:gd name="T26" fmla="*/ 45 w 257"/>
                  <a:gd name="T27" fmla="*/ 31 h 258"/>
                  <a:gd name="T28" fmla="*/ 29 w 257"/>
                  <a:gd name="T29" fmla="*/ 47 h 258"/>
                  <a:gd name="T30" fmla="*/ 17 w 257"/>
                  <a:gd name="T31" fmla="*/ 64 h 258"/>
                  <a:gd name="T32" fmla="*/ 7 w 257"/>
                  <a:gd name="T33" fmla="*/ 85 h 258"/>
                  <a:gd name="T34" fmla="*/ 2 w 257"/>
                  <a:gd name="T35" fmla="*/ 107 h 258"/>
                  <a:gd name="T36" fmla="*/ 0 w 257"/>
                  <a:gd name="T37" fmla="*/ 129 h 258"/>
                  <a:gd name="T38" fmla="*/ 2 w 257"/>
                  <a:gd name="T39" fmla="*/ 153 h 258"/>
                  <a:gd name="T40" fmla="*/ 7 w 257"/>
                  <a:gd name="T41" fmla="*/ 174 h 258"/>
                  <a:gd name="T42" fmla="*/ 17 w 257"/>
                  <a:gd name="T43" fmla="*/ 195 h 258"/>
                  <a:gd name="T44" fmla="*/ 29 w 257"/>
                  <a:gd name="T45" fmla="*/ 213 h 258"/>
                  <a:gd name="T46" fmla="*/ 45 w 257"/>
                  <a:gd name="T47" fmla="*/ 228 h 258"/>
                  <a:gd name="T48" fmla="*/ 63 w 257"/>
                  <a:gd name="T49" fmla="*/ 241 h 258"/>
                  <a:gd name="T50" fmla="*/ 84 w 257"/>
                  <a:gd name="T51" fmla="*/ 250 h 258"/>
                  <a:gd name="T52" fmla="*/ 105 w 257"/>
                  <a:gd name="T53" fmla="*/ 256 h 258"/>
                  <a:gd name="T54" fmla="*/ 128 w 257"/>
                  <a:gd name="T55" fmla="*/ 258 h 258"/>
                  <a:gd name="T56" fmla="*/ 151 w 257"/>
                  <a:gd name="T57" fmla="*/ 256 h 258"/>
                  <a:gd name="T58" fmla="*/ 173 w 257"/>
                  <a:gd name="T59" fmla="*/ 250 h 258"/>
                  <a:gd name="T60" fmla="*/ 194 w 257"/>
                  <a:gd name="T61" fmla="*/ 241 h 258"/>
                  <a:gd name="T62" fmla="*/ 211 w 257"/>
                  <a:gd name="T63" fmla="*/ 228 h 258"/>
                  <a:gd name="T64" fmla="*/ 227 w 257"/>
                  <a:gd name="T65" fmla="*/ 213 h 258"/>
                  <a:gd name="T66" fmla="*/ 239 w 257"/>
                  <a:gd name="T67" fmla="*/ 195 h 258"/>
                  <a:gd name="T68" fmla="*/ 249 w 257"/>
                  <a:gd name="T69" fmla="*/ 174 h 258"/>
                  <a:gd name="T70" fmla="*/ 255 w 257"/>
                  <a:gd name="T71" fmla="*/ 153 h 258"/>
                  <a:gd name="T72" fmla="*/ 257 w 257"/>
                  <a:gd name="T73" fmla="*/ 129 h 258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57"/>
                  <a:gd name="T112" fmla="*/ 0 h 258"/>
                  <a:gd name="T113" fmla="*/ 257 w 257"/>
                  <a:gd name="T114" fmla="*/ 258 h 258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57" h="258">
                    <a:moveTo>
                      <a:pt x="257" y="129"/>
                    </a:moveTo>
                    <a:lnTo>
                      <a:pt x="255" y="107"/>
                    </a:lnTo>
                    <a:lnTo>
                      <a:pt x="249" y="85"/>
                    </a:lnTo>
                    <a:lnTo>
                      <a:pt x="239" y="64"/>
                    </a:lnTo>
                    <a:lnTo>
                      <a:pt x="227" y="47"/>
                    </a:lnTo>
                    <a:lnTo>
                      <a:pt x="211" y="31"/>
                    </a:lnTo>
                    <a:lnTo>
                      <a:pt x="194" y="19"/>
                    </a:lnTo>
                    <a:lnTo>
                      <a:pt x="173" y="8"/>
                    </a:lnTo>
                    <a:lnTo>
                      <a:pt x="151" y="3"/>
                    </a:lnTo>
                    <a:lnTo>
                      <a:pt x="128" y="0"/>
                    </a:lnTo>
                    <a:lnTo>
                      <a:pt x="105" y="3"/>
                    </a:lnTo>
                    <a:lnTo>
                      <a:pt x="84" y="8"/>
                    </a:lnTo>
                    <a:lnTo>
                      <a:pt x="63" y="19"/>
                    </a:lnTo>
                    <a:lnTo>
                      <a:pt x="45" y="31"/>
                    </a:lnTo>
                    <a:lnTo>
                      <a:pt x="29" y="47"/>
                    </a:lnTo>
                    <a:lnTo>
                      <a:pt x="17" y="64"/>
                    </a:lnTo>
                    <a:lnTo>
                      <a:pt x="7" y="85"/>
                    </a:lnTo>
                    <a:lnTo>
                      <a:pt x="2" y="107"/>
                    </a:lnTo>
                    <a:lnTo>
                      <a:pt x="0" y="129"/>
                    </a:lnTo>
                    <a:lnTo>
                      <a:pt x="2" y="153"/>
                    </a:lnTo>
                    <a:lnTo>
                      <a:pt x="7" y="174"/>
                    </a:lnTo>
                    <a:lnTo>
                      <a:pt x="17" y="195"/>
                    </a:lnTo>
                    <a:lnTo>
                      <a:pt x="29" y="213"/>
                    </a:lnTo>
                    <a:lnTo>
                      <a:pt x="45" y="228"/>
                    </a:lnTo>
                    <a:lnTo>
                      <a:pt x="63" y="241"/>
                    </a:lnTo>
                    <a:lnTo>
                      <a:pt x="84" y="250"/>
                    </a:lnTo>
                    <a:lnTo>
                      <a:pt x="105" y="256"/>
                    </a:lnTo>
                    <a:lnTo>
                      <a:pt x="128" y="258"/>
                    </a:lnTo>
                    <a:lnTo>
                      <a:pt x="151" y="256"/>
                    </a:lnTo>
                    <a:lnTo>
                      <a:pt x="173" y="250"/>
                    </a:lnTo>
                    <a:lnTo>
                      <a:pt x="194" y="241"/>
                    </a:lnTo>
                    <a:lnTo>
                      <a:pt x="211" y="228"/>
                    </a:lnTo>
                    <a:lnTo>
                      <a:pt x="227" y="213"/>
                    </a:lnTo>
                    <a:lnTo>
                      <a:pt x="239" y="195"/>
                    </a:lnTo>
                    <a:lnTo>
                      <a:pt x="249" y="174"/>
                    </a:lnTo>
                    <a:lnTo>
                      <a:pt x="255" y="153"/>
                    </a:lnTo>
                    <a:lnTo>
                      <a:pt x="257" y="129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7" name="Freeform 39"/>
              <p:cNvSpPr>
                <a:spLocks/>
              </p:cNvSpPr>
              <p:nvPr/>
            </p:nvSpPr>
            <p:spPr bwMode="auto">
              <a:xfrm>
                <a:off x="4563" y="1010"/>
                <a:ext cx="246" cy="247"/>
              </a:xfrm>
              <a:custGeom>
                <a:avLst/>
                <a:gdLst>
                  <a:gd name="T0" fmla="*/ 246 w 246"/>
                  <a:gd name="T1" fmla="*/ 123 h 247"/>
                  <a:gd name="T2" fmla="*/ 244 w 246"/>
                  <a:gd name="T3" fmla="*/ 101 h 247"/>
                  <a:gd name="T4" fmla="*/ 238 w 246"/>
                  <a:gd name="T5" fmla="*/ 81 h 247"/>
                  <a:gd name="T6" fmla="*/ 230 w 246"/>
                  <a:gd name="T7" fmla="*/ 61 h 247"/>
                  <a:gd name="T8" fmla="*/ 217 w 246"/>
                  <a:gd name="T9" fmla="*/ 44 h 247"/>
                  <a:gd name="T10" fmla="*/ 202 w 246"/>
                  <a:gd name="T11" fmla="*/ 29 h 247"/>
                  <a:gd name="T12" fmla="*/ 185 w 246"/>
                  <a:gd name="T13" fmla="*/ 17 h 247"/>
                  <a:gd name="T14" fmla="*/ 166 w 246"/>
                  <a:gd name="T15" fmla="*/ 8 h 247"/>
                  <a:gd name="T16" fmla="*/ 145 w 246"/>
                  <a:gd name="T17" fmla="*/ 2 h 247"/>
                  <a:gd name="T18" fmla="*/ 123 w 246"/>
                  <a:gd name="T19" fmla="*/ 0 h 247"/>
                  <a:gd name="T20" fmla="*/ 101 w 246"/>
                  <a:gd name="T21" fmla="*/ 2 h 247"/>
                  <a:gd name="T22" fmla="*/ 80 w 246"/>
                  <a:gd name="T23" fmla="*/ 8 h 247"/>
                  <a:gd name="T24" fmla="*/ 61 w 246"/>
                  <a:gd name="T25" fmla="*/ 17 h 247"/>
                  <a:gd name="T26" fmla="*/ 44 w 246"/>
                  <a:gd name="T27" fmla="*/ 29 h 247"/>
                  <a:gd name="T28" fmla="*/ 29 w 246"/>
                  <a:gd name="T29" fmla="*/ 44 h 247"/>
                  <a:gd name="T30" fmla="*/ 16 w 246"/>
                  <a:gd name="T31" fmla="*/ 61 h 247"/>
                  <a:gd name="T32" fmla="*/ 7 w 246"/>
                  <a:gd name="T33" fmla="*/ 81 h 247"/>
                  <a:gd name="T34" fmla="*/ 2 w 246"/>
                  <a:gd name="T35" fmla="*/ 101 h 247"/>
                  <a:gd name="T36" fmla="*/ 0 w 246"/>
                  <a:gd name="T37" fmla="*/ 123 h 247"/>
                  <a:gd name="T38" fmla="*/ 2 w 246"/>
                  <a:gd name="T39" fmla="*/ 145 h 247"/>
                  <a:gd name="T40" fmla="*/ 7 w 246"/>
                  <a:gd name="T41" fmla="*/ 167 h 247"/>
                  <a:gd name="T42" fmla="*/ 16 w 246"/>
                  <a:gd name="T43" fmla="*/ 185 h 247"/>
                  <a:gd name="T44" fmla="*/ 29 w 246"/>
                  <a:gd name="T45" fmla="*/ 203 h 247"/>
                  <a:gd name="T46" fmla="*/ 44 w 246"/>
                  <a:gd name="T47" fmla="*/ 218 h 247"/>
                  <a:gd name="T48" fmla="*/ 61 w 246"/>
                  <a:gd name="T49" fmla="*/ 230 h 247"/>
                  <a:gd name="T50" fmla="*/ 80 w 246"/>
                  <a:gd name="T51" fmla="*/ 239 h 247"/>
                  <a:gd name="T52" fmla="*/ 101 w 246"/>
                  <a:gd name="T53" fmla="*/ 244 h 247"/>
                  <a:gd name="T54" fmla="*/ 123 w 246"/>
                  <a:gd name="T55" fmla="*/ 247 h 247"/>
                  <a:gd name="T56" fmla="*/ 145 w 246"/>
                  <a:gd name="T57" fmla="*/ 244 h 247"/>
                  <a:gd name="T58" fmla="*/ 166 w 246"/>
                  <a:gd name="T59" fmla="*/ 239 h 247"/>
                  <a:gd name="T60" fmla="*/ 185 w 246"/>
                  <a:gd name="T61" fmla="*/ 230 h 247"/>
                  <a:gd name="T62" fmla="*/ 202 w 246"/>
                  <a:gd name="T63" fmla="*/ 218 h 247"/>
                  <a:gd name="T64" fmla="*/ 217 w 246"/>
                  <a:gd name="T65" fmla="*/ 203 h 247"/>
                  <a:gd name="T66" fmla="*/ 230 w 246"/>
                  <a:gd name="T67" fmla="*/ 185 h 247"/>
                  <a:gd name="T68" fmla="*/ 238 w 246"/>
                  <a:gd name="T69" fmla="*/ 167 h 247"/>
                  <a:gd name="T70" fmla="*/ 244 w 246"/>
                  <a:gd name="T71" fmla="*/ 145 h 247"/>
                  <a:gd name="T72" fmla="*/ 246 w 246"/>
                  <a:gd name="T73" fmla="*/ 123 h 247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46"/>
                  <a:gd name="T112" fmla="*/ 0 h 247"/>
                  <a:gd name="T113" fmla="*/ 246 w 246"/>
                  <a:gd name="T114" fmla="*/ 247 h 247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46" h="247">
                    <a:moveTo>
                      <a:pt x="246" y="123"/>
                    </a:moveTo>
                    <a:lnTo>
                      <a:pt x="244" y="101"/>
                    </a:lnTo>
                    <a:lnTo>
                      <a:pt x="238" y="81"/>
                    </a:lnTo>
                    <a:lnTo>
                      <a:pt x="230" y="61"/>
                    </a:lnTo>
                    <a:lnTo>
                      <a:pt x="217" y="44"/>
                    </a:lnTo>
                    <a:lnTo>
                      <a:pt x="202" y="29"/>
                    </a:lnTo>
                    <a:lnTo>
                      <a:pt x="185" y="17"/>
                    </a:lnTo>
                    <a:lnTo>
                      <a:pt x="166" y="8"/>
                    </a:lnTo>
                    <a:lnTo>
                      <a:pt x="145" y="2"/>
                    </a:lnTo>
                    <a:lnTo>
                      <a:pt x="123" y="0"/>
                    </a:lnTo>
                    <a:lnTo>
                      <a:pt x="101" y="2"/>
                    </a:lnTo>
                    <a:lnTo>
                      <a:pt x="80" y="8"/>
                    </a:lnTo>
                    <a:lnTo>
                      <a:pt x="61" y="17"/>
                    </a:lnTo>
                    <a:lnTo>
                      <a:pt x="44" y="29"/>
                    </a:lnTo>
                    <a:lnTo>
                      <a:pt x="29" y="44"/>
                    </a:lnTo>
                    <a:lnTo>
                      <a:pt x="16" y="61"/>
                    </a:lnTo>
                    <a:lnTo>
                      <a:pt x="7" y="81"/>
                    </a:lnTo>
                    <a:lnTo>
                      <a:pt x="2" y="101"/>
                    </a:lnTo>
                    <a:lnTo>
                      <a:pt x="0" y="123"/>
                    </a:lnTo>
                    <a:lnTo>
                      <a:pt x="2" y="145"/>
                    </a:lnTo>
                    <a:lnTo>
                      <a:pt x="7" y="167"/>
                    </a:lnTo>
                    <a:lnTo>
                      <a:pt x="16" y="185"/>
                    </a:lnTo>
                    <a:lnTo>
                      <a:pt x="29" y="203"/>
                    </a:lnTo>
                    <a:lnTo>
                      <a:pt x="44" y="218"/>
                    </a:lnTo>
                    <a:lnTo>
                      <a:pt x="61" y="230"/>
                    </a:lnTo>
                    <a:lnTo>
                      <a:pt x="80" y="239"/>
                    </a:lnTo>
                    <a:lnTo>
                      <a:pt x="101" y="244"/>
                    </a:lnTo>
                    <a:lnTo>
                      <a:pt x="123" y="247"/>
                    </a:lnTo>
                    <a:lnTo>
                      <a:pt x="145" y="244"/>
                    </a:lnTo>
                    <a:lnTo>
                      <a:pt x="166" y="239"/>
                    </a:lnTo>
                    <a:lnTo>
                      <a:pt x="185" y="230"/>
                    </a:lnTo>
                    <a:lnTo>
                      <a:pt x="202" y="218"/>
                    </a:lnTo>
                    <a:lnTo>
                      <a:pt x="217" y="203"/>
                    </a:lnTo>
                    <a:lnTo>
                      <a:pt x="230" y="185"/>
                    </a:lnTo>
                    <a:lnTo>
                      <a:pt x="238" y="167"/>
                    </a:lnTo>
                    <a:lnTo>
                      <a:pt x="244" y="145"/>
                    </a:lnTo>
                    <a:lnTo>
                      <a:pt x="246" y="12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8" name="Freeform 40"/>
              <p:cNvSpPr>
                <a:spLocks/>
              </p:cNvSpPr>
              <p:nvPr/>
            </p:nvSpPr>
            <p:spPr bwMode="auto">
              <a:xfrm>
                <a:off x="4563" y="1010"/>
                <a:ext cx="246" cy="247"/>
              </a:xfrm>
              <a:custGeom>
                <a:avLst/>
                <a:gdLst>
                  <a:gd name="T0" fmla="*/ 246 w 246"/>
                  <a:gd name="T1" fmla="*/ 123 h 247"/>
                  <a:gd name="T2" fmla="*/ 244 w 246"/>
                  <a:gd name="T3" fmla="*/ 101 h 247"/>
                  <a:gd name="T4" fmla="*/ 238 w 246"/>
                  <a:gd name="T5" fmla="*/ 81 h 247"/>
                  <a:gd name="T6" fmla="*/ 230 w 246"/>
                  <a:gd name="T7" fmla="*/ 61 h 247"/>
                  <a:gd name="T8" fmla="*/ 217 w 246"/>
                  <a:gd name="T9" fmla="*/ 44 h 247"/>
                  <a:gd name="T10" fmla="*/ 202 w 246"/>
                  <a:gd name="T11" fmla="*/ 29 h 247"/>
                  <a:gd name="T12" fmla="*/ 185 w 246"/>
                  <a:gd name="T13" fmla="*/ 17 h 247"/>
                  <a:gd name="T14" fmla="*/ 166 w 246"/>
                  <a:gd name="T15" fmla="*/ 8 h 247"/>
                  <a:gd name="T16" fmla="*/ 145 w 246"/>
                  <a:gd name="T17" fmla="*/ 2 h 247"/>
                  <a:gd name="T18" fmla="*/ 123 w 246"/>
                  <a:gd name="T19" fmla="*/ 0 h 247"/>
                  <a:gd name="T20" fmla="*/ 101 w 246"/>
                  <a:gd name="T21" fmla="*/ 2 h 247"/>
                  <a:gd name="T22" fmla="*/ 80 w 246"/>
                  <a:gd name="T23" fmla="*/ 8 h 247"/>
                  <a:gd name="T24" fmla="*/ 61 w 246"/>
                  <a:gd name="T25" fmla="*/ 17 h 247"/>
                  <a:gd name="T26" fmla="*/ 44 w 246"/>
                  <a:gd name="T27" fmla="*/ 29 h 247"/>
                  <a:gd name="T28" fmla="*/ 29 w 246"/>
                  <a:gd name="T29" fmla="*/ 44 h 247"/>
                  <a:gd name="T30" fmla="*/ 16 w 246"/>
                  <a:gd name="T31" fmla="*/ 61 h 247"/>
                  <a:gd name="T32" fmla="*/ 7 w 246"/>
                  <a:gd name="T33" fmla="*/ 81 h 247"/>
                  <a:gd name="T34" fmla="*/ 2 w 246"/>
                  <a:gd name="T35" fmla="*/ 101 h 247"/>
                  <a:gd name="T36" fmla="*/ 0 w 246"/>
                  <a:gd name="T37" fmla="*/ 123 h 247"/>
                  <a:gd name="T38" fmla="*/ 2 w 246"/>
                  <a:gd name="T39" fmla="*/ 145 h 247"/>
                  <a:gd name="T40" fmla="*/ 7 w 246"/>
                  <a:gd name="T41" fmla="*/ 167 h 247"/>
                  <a:gd name="T42" fmla="*/ 16 w 246"/>
                  <a:gd name="T43" fmla="*/ 185 h 247"/>
                  <a:gd name="T44" fmla="*/ 29 w 246"/>
                  <a:gd name="T45" fmla="*/ 203 h 247"/>
                  <a:gd name="T46" fmla="*/ 44 w 246"/>
                  <a:gd name="T47" fmla="*/ 218 h 247"/>
                  <a:gd name="T48" fmla="*/ 61 w 246"/>
                  <a:gd name="T49" fmla="*/ 230 h 247"/>
                  <a:gd name="T50" fmla="*/ 80 w 246"/>
                  <a:gd name="T51" fmla="*/ 239 h 247"/>
                  <a:gd name="T52" fmla="*/ 101 w 246"/>
                  <a:gd name="T53" fmla="*/ 244 h 247"/>
                  <a:gd name="T54" fmla="*/ 123 w 246"/>
                  <a:gd name="T55" fmla="*/ 247 h 247"/>
                  <a:gd name="T56" fmla="*/ 145 w 246"/>
                  <a:gd name="T57" fmla="*/ 244 h 247"/>
                  <a:gd name="T58" fmla="*/ 166 w 246"/>
                  <a:gd name="T59" fmla="*/ 239 h 247"/>
                  <a:gd name="T60" fmla="*/ 185 w 246"/>
                  <a:gd name="T61" fmla="*/ 230 h 247"/>
                  <a:gd name="T62" fmla="*/ 202 w 246"/>
                  <a:gd name="T63" fmla="*/ 218 h 247"/>
                  <a:gd name="T64" fmla="*/ 217 w 246"/>
                  <a:gd name="T65" fmla="*/ 203 h 247"/>
                  <a:gd name="T66" fmla="*/ 230 w 246"/>
                  <a:gd name="T67" fmla="*/ 185 h 247"/>
                  <a:gd name="T68" fmla="*/ 238 w 246"/>
                  <a:gd name="T69" fmla="*/ 167 h 247"/>
                  <a:gd name="T70" fmla="*/ 244 w 246"/>
                  <a:gd name="T71" fmla="*/ 145 h 247"/>
                  <a:gd name="T72" fmla="*/ 246 w 246"/>
                  <a:gd name="T73" fmla="*/ 123 h 247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246"/>
                  <a:gd name="T112" fmla="*/ 0 h 247"/>
                  <a:gd name="T113" fmla="*/ 246 w 246"/>
                  <a:gd name="T114" fmla="*/ 247 h 247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246" h="247">
                    <a:moveTo>
                      <a:pt x="246" y="123"/>
                    </a:moveTo>
                    <a:lnTo>
                      <a:pt x="244" y="101"/>
                    </a:lnTo>
                    <a:lnTo>
                      <a:pt x="238" y="81"/>
                    </a:lnTo>
                    <a:lnTo>
                      <a:pt x="230" y="61"/>
                    </a:lnTo>
                    <a:lnTo>
                      <a:pt x="217" y="44"/>
                    </a:lnTo>
                    <a:lnTo>
                      <a:pt x="202" y="29"/>
                    </a:lnTo>
                    <a:lnTo>
                      <a:pt x="185" y="17"/>
                    </a:lnTo>
                    <a:lnTo>
                      <a:pt x="166" y="8"/>
                    </a:lnTo>
                    <a:lnTo>
                      <a:pt x="145" y="2"/>
                    </a:lnTo>
                    <a:lnTo>
                      <a:pt x="123" y="0"/>
                    </a:lnTo>
                    <a:lnTo>
                      <a:pt x="101" y="2"/>
                    </a:lnTo>
                    <a:lnTo>
                      <a:pt x="80" y="8"/>
                    </a:lnTo>
                    <a:lnTo>
                      <a:pt x="61" y="17"/>
                    </a:lnTo>
                    <a:lnTo>
                      <a:pt x="44" y="29"/>
                    </a:lnTo>
                    <a:lnTo>
                      <a:pt x="29" y="44"/>
                    </a:lnTo>
                    <a:lnTo>
                      <a:pt x="16" y="61"/>
                    </a:lnTo>
                    <a:lnTo>
                      <a:pt x="7" y="81"/>
                    </a:lnTo>
                    <a:lnTo>
                      <a:pt x="2" y="101"/>
                    </a:lnTo>
                    <a:lnTo>
                      <a:pt x="0" y="123"/>
                    </a:lnTo>
                    <a:lnTo>
                      <a:pt x="2" y="145"/>
                    </a:lnTo>
                    <a:lnTo>
                      <a:pt x="7" y="167"/>
                    </a:lnTo>
                    <a:lnTo>
                      <a:pt x="16" y="185"/>
                    </a:lnTo>
                    <a:lnTo>
                      <a:pt x="29" y="203"/>
                    </a:lnTo>
                    <a:lnTo>
                      <a:pt x="44" y="218"/>
                    </a:lnTo>
                    <a:lnTo>
                      <a:pt x="61" y="230"/>
                    </a:lnTo>
                    <a:lnTo>
                      <a:pt x="80" y="239"/>
                    </a:lnTo>
                    <a:lnTo>
                      <a:pt x="101" y="244"/>
                    </a:lnTo>
                    <a:lnTo>
                      <a:pt x="123" y="247"/>
                    </a:lnTo>
                    <a:lnTo>
                      <a:pt x="145" y="244"/>
                    </a:lnTo>
                    <a:lnTo>
                      <a:pt x="166" y="239"/>
                    </a:lnTo>
                    <a:lnTo>
                      <a:pt x="185" y="230"/>
                    </a:lnTo>
                    <a:lnTo>
                      <a:pt x="202" y="218"/>
                    </a:lnTo>
                    <a:lnTo>
                      <a:pt x="217" y="203"/>
                    </a:lnTo>
                    <a:lnTo>
                      <a:pt x="230" y="185"/>
                    </a:lnTo>
                    <a:lnTo>
                      <a:pt x="238" y="167"/>
                    </a:lnTo>
                    <a:lnTo>
                      <a:pt x="244" y="145"/>
                    </a:lnTo>
                    <a:lnTo>
                      <a:pt x="246" y="12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89" name="Freeform 41"/>
              <p:cNvSpPr>
                <a:spLocks/>
              </p:cNvSpPr>
              <p:nvPr/>
            </p:nvSpPr>
            <p:spPr bwMode="auto">
              <a:xfrm>
                <a:off x="3459" y="2147"/>
                <a:ext cx="231" cy="232"/>
              </a:xfrm>
              <a:custGeom>
                <a:avLst/>
                <a:gdLst>
                  <a:gd name="T0" fmla="*/ 231 w 231"/>
                  <a:gd name="T1" fmla="*/ 116 h 232"/>
                  <a:gd name="T2" fmla="*/ 229 w 231"/>
                  <a:gd name="T3" fmla="*/ 93 h 232"/>
                  <a:gd name="T4" fmla="*/ 222 w 231"/>
                  <a:gd name="T5" fmla="*/ 71 h 232"/>
                  <a:gd name="T6" fmla="*/ 212 w 231"/>
                  <a:gd name="T7" fmla="*/ 51 h 232"/>
                  <a:gd name="T8" fmla="*/ 198 w 231"/>
                  <a:gd name="T9" fmla="*/ 34 h 232"/>
                  <a:gd name="T10" fmla="*/ 180 w 231"/>
                  <a:gd name="T11" fmla="*/ 20 h 232"/>
                  <a:gd name="T12" fmla="*/ 161 w 231"/>
                  <a:gd name="T13" fmla="*/ 9 h 232"/>
                  <a:gd name="T14" fmla="*/ 139 w 231"/>
                  <a:gd name="T15" fmla="*/ 2 h 232"/>
                  <a:gd name="T16" fmla="*/ 115 w 231"/>
                  <a:gd name="T17" fmla="*/ 0 h 232"/>
                  <a:gd name="T18" fmla="*/ 92 w 231"/>
                  <a:gd name="T19" fmla="*/ 2 h 232"/>
                  <a:gd name="T20" fmla="*/ 70 w 231"/>
                  <a:gd name="T21" fmla="*/ 9 h 232"/>
                  <a:gd name="T22" fmla="*/ 51 w 231"/>
                  <a:gd name="T23" fmla="*/ 20 h 232"/>
                  <a:gd name="T24" fmla="*/ 33 w 231"/>
                  <a:gd name="T25" fmla="*/ 34 h 232"/>
                  <a:gd name="T26" fmla="*/ 19 w 231"/>
                  <a:gd name="T27" fmla="*/ 51 h 232"/>
                  <a:gd name="T28" fmla="*/ 9 w 231"/>
                  <a:gd name="T29" fmla="*/ 71 h 232"/>
                  <a:gd name="T30" fmla="*/ 2 w 231"/>
                  <a:gd name="T31" fmla="*/ 93 h 232"/>
                  <a:gd name="T32" fmla="*/ 0 w 231"/>
                  <a:gd name="T33" fmla="*/ 116 h 232"/>
                  <a:gd name="T34" fmla="*/ 2 w 231"/>
                  <a:gd name="T35" fmla="*/ 140 h 232"/>
                  <a:gd name="T36" fmla="*/ 9 w 231"/>
                  <a:gd name="T37" fmla="*/ 161 h 232"/>
                  <a:gd name="T38" fmla="*/ 19 w 231"/>
                  <a:gd name="T39" fmla="*/ 181 h 232"/>
                  <a:gd name="T40" fmla="*/ 33 w 231"/>
                  <a:gd name="T41" fmla="*/ 198 h 232"/>
                  <a:gd name="T42" fmla="*/ 51 w 231"/>
                  <a:gd name="T43" fmla="*/ 212 h 232"/>
                  <a:gd name="T44" fmla="*/ 70 w 231"/>
                  <a:gd name="T45" fmla="*/ 222 h 232"/>
                  <a:gd name="T46" fmla="*/ 92 w 231"/>
                  <a:gd name="T47" fmla="*/ 229 h 232"/>
                  <a:gd name="T48" fmla="*/ 115 w 231"/>
                  <a:gd name="T49" fmla="*/ 232 h 232"/>
                  <a:gd name="T50" fmla="*/ 139 w 231"/>
                  <a:gd name="T51" fmla="*/ 229 h 232"/>
                  <a:gd name="T52" fmla="*/ 161 w 231"/>
                  <a:gd name="T53" fmla="*/ 222 h 232"/>
                  <a:gd name="T54" fmla="*/ 180 w 231"/>
                  <a:gd name="T55" fmla="*/ 212 h 232"/>
                  <a:gd name="T56" fmla="*/ 198 w 231"/>
                  <a:gd name="T57" fmla="*/ 198 h 232"/>
                  <a:gd name="T58" fmla="*/ 212 w 231"/>
                  <a:gd name="T59" fmla="*/ 181 h 232"/>
                  <a:gd name="T60" fmla="*/ 222 w 231"/>
                  <a:gd name="T61" fmla="*/ 161 h 232"/>
                  <a:gd name="T62" fmla="*/ 229 w 231"/>
                  <a:gd name="T63" fmla="*/ 140 h 232"/>
                  <a:gd name="T64" fmla="*/ 231 w 231"/>
                  <a:gd name="T65" fmla="*/ 116 h 2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31"/>
                  <a:gd name="T100" fmla="*/ 0 h 232"/>
                  <a:gd name="T101" fmla="*/ 231 w 231"/>
                  <a:gd name="T102" fmla="*/ 232 h 23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31" h="232">
                    <a:moveTo>
                      <a:pt x="231" y="116"/>
                    </a:moveTo>
                    <a:lnTo>
                      <a:pt x="229" y="93"/>
                    </a:lnTo>
                    <a:lnTo>
                      <a:pt x="222" y="71"/>
                    </a:lnTo>
                    <a:lnTo>
                      <a:pt x="212" y="51"/>
                    </a:lnTo>
                    <a:lnTo>
                      <a:pt x="198" y="34"/>
                    </a:lnTo>
                    <a:lnTo>
                      <a:pt x="180" y="20"/>
                    </a:lnTo>
                    <a:lnTo>
                      <a:pt x="161" y="9"/>
                    </a:lnTo>
                    <a:lnTo>
                      <a:pt x="139" y="2"/>
                    </a:lnTo>
                    <a:lnTo>
                      <a:pt x="115" y="0"/>
                    </a:lnTo>
                    <a:lnTo>
                      <a:pt x="92" y="2"/>
                    </a:lnTo>
                    <a:lnTo>
                      <a:pt x="70" y="9"/>
                    </a:lnTo>
                    <a:lnTo>
                      <a:pt x="51" y="20"/>
                    </a:lnTo>
                    <a:lnTo>
                      <a:pt x="33" y="34"/>
                    </a:lnTo>
                    <a:lnTo>
                      <a:pt x="19" y="51"/>
                    </a:lnTo>
                    <a:lnTo>
                      <a:pt x="9" y="71"/>
                    </a:lnTo>
                    <a:lnTo>
                      <a:pt x="2" y="93"/>
                    </a:lnTo>
                    <a:lnTo>
                      <a:pt x="0" y="116"/>
                    </a:lnTo>
                    <a:lnTo>
                      <a:pt x="2" y="140"/>
                    </a:lnTo>
                    <a:lnTo>
                      <a:pt x="9" y="161"/>
                    </a:lnTo>
                    <a:lnTo>
                      <a:pt x="19" y="181"/>
                    </a:lnTo>
                    <a:lnTo>
                      <a:pt x="33" y="198"/>
                    </a:lnTo>
                    <a:lnTo>
                      <a:pt x="51" y="212"/>
                    </a:lnTo>
                    <a:lnTo>
                      <a:pt x="70" y="222"/>
                    </a:lnTo>
                    <a:lnTo>
                      <a:pt x="92" y="229"/>
                    </a:lnTo>
                    <a:lnTo>
                      <a:pt x="115" y="232"/>
                    </a:lnTo>
                    <a:lnTo>
                      <a:pt x="139" y="229"/>
                    </a:lnTo>
                    <a:lnTo>
                      <a:pt x="161" y="222"/>
                    </a:lnTo>
                    <a:lnTo>
                      <a:pt x="180" y="212"/>
                    </a:lnTo>
                    <a:lnTo>
                      <a:pt x="198" y="198"/>
                    </a:lnTo>
                    <a:lnTo>
                      <a:pt x="212" y="181"/>
                    </a:lnTo>
                    <a:lnTo>
                      <a:pt x="222" y="161"/>
                    </a:lnTo>
                    <a:lnTo>
                      <a:pt x="229" y="140"/>
                    </a:lnTo>
                    <a:lnTo>
                      <a:pt x="231" y="11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0" name="Freeform 42"/>
              <p:cNvSpPr>
                <a:spLocks/>
              </p:cNvSpPr>
              <p:nvPr/>
            </p:nvSpPr>
            <p:spPr bwMode="auto">
              <a:xfrm>
                <a:off x="3459" y="2147"/>
                <a:ext cx="231" cy="232"/>
              </a:xfrm>
              <a:custGeom>
                <a:avLst/>
                <a:gdLst>
                  <a:gd name="T0" fmla="*/ 231 w 231"/>
                  <a:gd name="T1" fmla="*/ 116 h 232"/>
                  <a:gd name="T2" fmla="*/ 229 w 231"/>
                  <a:gd name="T3" fmla="*/ 93 h 232"/>
                  <a:gd name="T4" fmla="*/ 222 w 231"/>
                  <a:gd name="T5" fmla="*/ 71 h 232"/>
                  <a:gd name="T6" fmla="*/ 212 w 231"/>
                  <a:gd name="T7" fmla="*/ 51 h 232"/>
                  <a:gd name="T8" fmla="*/ 198 w 231"/>
                  <a:gd name="T9" fmla="*/ 34 h 232"/>
                  <a:gd name="T10" fmla="*/ 180 w 231"/>
                  <a:gd name="T11" fmla="*/ 20 h 232"/>
                  <a:gd name="T12" fmla="*/ 161 w 231"/>
                  <a:gd name="T13" fmla="*/ 9 h 232"/>
                  <a:gd name="T14" fmla="*/ 139 w 231"/>
                  <a:gd name="T15" fmla="*/ 2 h 232"/>
                  <a:gd name="T16" fmla="*/ 115 w 231"/>
                  <a:gd name="T17" fmla="*/ 0 h 232"/>
                  <a:gd name="T18" fmla="*/ 92 w 231"/>
                  <a:gd name="T19" fmla="*/ 2 h 232"/>
                  <a:gd name="T20" fmla="*/ 70 w 231"/>
                  <a:gd name="T21" fmla="*/ 9 h 232"/>
                  <a:gd name="T22" fmla="*/ 51 w 231"/>
                  <a:gd name="T23" fmla="*/ 20 h 232"/>
                  <a:gd name="T24" fmla="*/ 33 w 231"/>
                  <a:gd name="T25" fmla="*/ 34 h 232"/>
                  <a:gd name="T26" fmla="*/ 19 w 231"/>
                  <a:gd name="T27" fmla="*/ 51 h 232"/>
                  <a:gd name="T28" fmla="*/ 9 w 231"/>
                  <a:gd name="T29" fmla="*/ 71 h 232"/>
                  <a:gd name="T30" fmla="*/ 2 w 231"/>
                  <a:gd name="T31" fmla="*/ 93 h 232"/>
                  <a:gd name="T32" fmla="*/ 0 w 231"/>
                  <a:gd name="T33" fmla="*/ 116 h 232"/>
                  <a:gd name="T34" fmla="*/ 2 w 231"/>
                  <a:gd name="T35" fmla="*/ 140 h 232"/>
                  <a:gd name="T36" fmla="*/ 9 w 231"/>
                  <a:gd name="T37" fmla="*/ 161 h 232"/>
                  <a:gd name="T38" fmla="*/ 19 w 231"/>
                  <a:gd name="T39" fmla="*/ 181 h 232"/>
                  <a:gd name="T40" fmla="*/ 33 w 231"/>
                  <a:gd name="T41" fmla="*/ 198 h 232"/>
                  <a:gd name="T42" fmla="*/ 51 w 231"/>
                  <a:gd name="T43" fmla="*/ 212 h 232"/>
                  <a:gd name="T44" fmla="*/ 70 w 231"/>
                  <a:gd name="T45" fmla="*/ 222 h 232"/>
                  <a:gd name="T46" fmla="*/ 92 w 231"/>
                  <a:gd name="T47" fmla="*/ 229 h 232"/>
                  <a:gd name="T48" fmla="*/ 115 w 231"/>
                  <a:gd name="T49" fmla="*/ 232 h 232"/>
                  <a:gd name="T50" fmla="*/ 139 w 231"/>
                  <a:gd name="T51" fmla="*/ 229 h 232"/>
                  <a:gd name="T52" fmla="*/ 161 w 231"/>
                  <a:gd name="T53" fmla="*/ 222 h 232"/>
                  <a:gd name="T54" fmla="*/ 180 w 231"/>
                  <a:gd name="T55" fmla="*/ 212 h 232"/>
                  <a:gd name="T56" fmla="*/ 198 w 231"/>
                  <a:gd name="T57" fmla="*/ 198 h 232"/>
                  <a:gd name="T58" fmla="*/ 212 w 231"/>
                  <a:gd name="T59" fmla="*/ 181 h 232"/>
                  <a:gd name="T60" fmla="*/ 222 w 231"/>
                  <a:gd name="T61" fmla="*/ 161 h 232"/>
                  <a:gd name="T62" fmla="*/ 229 w 231"/>
                  <a:gd name="T63" fmla="*/ 140 h 232"/>
                  <a:gd name="T64" fmla="*/ 231 w 231"/>
                  <a:gd name="T65" fmla="*/ 116 h 2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31"/>
                  <a:gd name="T100" fmla="*/ 0 h 232"/>
                  <a:gd name="T101" fmla="*/ 231 w 231"/>
                  <a:gd name="T102" fmla="*/ 232 h 23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31" h="232">
                    <a:moveTo>
                      <a:pt x="231" y="116"/>
                    </a:moveTo>
                    <a:lnTo>
                      <a:pt x="229" y="93"/>
                    </a:lnTo>
                    <a:lnTo>
                      <a:pt x="222" y="71"/>
                    </a:lnTo>
                    <a:lnTo>
                      <a:pt x="212" y="51"/>
                    </a:lnTo>
                    <a:lnTo>
                      <a:pt x="198" y="34"/>
                    </a:lnTo>
                    <a:lnTo>
                      <a:pt x="180" y="20"/>
                    </a:lnTo>
                    <a:lnTo>
                      <a:pt x="161" y="9"/>
                    </a:lnTo>
                    <a:lnTo>
                      <a:pt x="139" y="2"/>
                    </a:lnTo>
                    <a:lnTo>
                      <a:pt x="115" y="0"/>
                    </a:lnTo>
                    <a:lnTo>
                      <a:pt x="92" y="2"/>
                    </a:lnTo>
                    <a:lnTo>
                      <a:pt x="70" y="9"/>
                    </a:lnTo>
                    <a:lnTo>
                      <a:pt x="51" y="20"/>
                    </a:lnTo>
                    <a:lnTo>
                      <a:pt x="33" y="34"/>
                    </a:lnTo>
                    <a:lnTo>
                      <a:pt x="19" y="51"/>
                    </a:lnTo>
                    <a:lnTo>
                      <a:pt x="9" y="71"/>
                    </a:lnTo>
                    <a:lnTo>
                      <a:pt x="2" y="93"/>
                    </a:lnTo>
                    <a:lnTo>
                      <a:pt x="0" y="116"/>
                    </a:lnTo>
                    <a:lnTo>
                      <a:pt x="2" y="140"/>
                    </a:lnTo>
                    <a:lnTo>
                      <a:pt x="9" y="161"/>
                    </a:lnTo>
                    <a:lnTo>
                      <a:pt x="19" y="181"/>
                    </a:lnTo>
                    <a:lnTo>
                      <a:pt x="33" y="198"/>
                    </a:lnTo>
                    <a:lnTo>
                      <a:pt x="51" y="212"/>
                    </a:lnTo>
                    <a:lnTo>
                      <a:pt x="70" y="222"/>
                    </a:lnTo>
                    <a:lnTo>
                      <a:pt x="92" y="229"/>
                    </a:lnTo>
                    <a:lnTo>
                      <a:pt x="115" y="232"/>
                    </a:lnTo>
                    <a:lnTo>
                      <a:pt x="139" y="229"/>
                    </a:lnTo>
                    <a:lnTo>
                      <a:pt x="161" y="222"/>
                    </a:lnTo>
                    <a:lnTo>
                      <a:pt x="180" y="212"/>
                    </a:lnTo>
                    <a:lnTo>
                      <a:pt x="198" y="198"/>
                    </a:lnTo>
                    <a:lnTo>
                      <a:pt x="212" y="181"/>
                    </a:lnTo>
                    <a:lnTo>
                      <a:pt x="222" y="161"/>
                    </a:lnTo>
                    <a:lnTo>
                      <a:pt x="229" y="140"/>
                    </a:lnTo>
                    <a:lnTo>
                      <a:pt x="231" y="11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1" name="Freeform 43"/>
              <p:cNvSpPr>
                <a:spLocks/>
              </p:cNvSpPr>
              <p:nvPr/>
            </p:nvSpPr>
            <p:spPr bwMode="auto">
              <a:xfrm>
                <a:off x="4912" y="2554"/>
                <a:ext cx="229" cy="229"/>
              </a:xfrm>
              <a:custGeom>
                <a:avLst/>
                <a:gdLst>
                  <a:gd name="T0" fmla="*/ 229 w 229"/>
                  <a:gd name="T1" fmla="*/ 115 h 229"/>
                  <a:gd name="T2" fmla="*/ 227 w 229"/>
                  <a:gd name="T3" fmla="*/ 92 h 229"/>
                  <a:gd name="T4" fmla="*/ 220 w 229"/>
                  <a:gd name="T5" fmla="*/ 70 h 229"/>
                  <a:gd name="T6" fmla="*/ 209 w 229"/>
                  <a:gd name="T7" fmla="*/ 51 h 229"/>
                  <a:gd name="T8" fmla="*/ 196 w 229"/>
                  <a:gd name="T9" fmla="*/ 34 h 229"/>
                  <a:gd name="T10" fmla="*/ 179 w 229"/>
                  <a:gd name="T11" fmla="*/ 20 h 229"/>
                  <a:gd name="T12" fmla="*/ 159 w 229"/>
                  <a:gd name="T13" fmla="*/ 9 h 229"/>
                  <a:gd name="T14" fmla="*/ 138 w 229"/>
                  <a:gd name="T15" fmla="*/ 2 h 229"/>
                  <a:gd name="T16" fmla="*/ 115 w 229"/>
                  <a:gd name="T17" fmla="*/ 0 h 229"/>
                  <a:gd name="T18" fmla="*/ 91 w 229"/>
                  <a:gd name="T19" fmla="*/ 2 h 229"/>
                  <a:gd name="T20" fmla="*/ 70 w 229"/>
                  <a:gd name="T21" fmla="*/ 9 h 229"/>
                  <a:gd name="T22" fmla="*/ 51 w 229"/>
                  <a:gd name="T23" fmla="*/ 20 h 229"/>
                  <a:gd name="T24" fmla="*/ 34 w 229"/>
                  <a:gd name="T25" fmla="*/ 34 h 229"/>
                  <a:gd name="T26" fmla="*/ 20 w 229"/>
                  <a:gd name="T27" fmla="*/ 51 h 229"/>
                  <a:gd name="T28" fmla="*/ 9 w 229"/>
                  <a:gd name="T29" fmla="*/ 70 h 229"/>
                  <a:gd name="T30" fmla="*/ 3 w 229"/>
                  <a:gd name="T31" fmla="*/ 92 h 229"/>
                  <a:gd name="T32" fmla="*/ 0 w 229"/>
                  <a:gd name="T33" fmla="*/ 115 h 229"/>
                  <a:gd name="T34" fmla="*/ 3 w 229"/>
                  <a:gd name="T35" fmla="*/ 138 h 229"/>
                  <a:gd name="T36" fmla="*/ 9 w 229"/>
                  <a:gd name="T37" fmla="*/ 159 h 229"/>
                  <a:gd name="T38" fmla="*/ 20 w 229"/>
                  <a:gd name="T39" fmla="*/ 179 h 229"/>
                  <a:gd name="T40" fmla="*/ 34 w 229"/>
                  <a:gd name="T41" fmla="*/ 196 h 229"/>
                  <a:gd name="T42" fmla="*/ 51 w 229"/>
                  <a:gd name="T43" fmla="*/ 210 h 229"/>
                  <a:gd name="T44" fmla="*/ 70 w 229"/>
                  <a:gd name="T45" fmla="*/ 221 h 229"/>
                  <a:gd name="T46" fmla="*/ 91 w 229"/>
                  <a:gd name="T47" fmla="*/ 227 h 229"/>
                  <a:gd name="T48" fmla="*/ 115 w 229"/>
                  <a:gd name="T49" fmla="*/ 229 h 229"/>
                  <a:gd name="T50" fmla="*/ 138 w 229"/>
                  <a:gd name="T51" fmla="*/ 227 h 229"/>
                  <a:gd name="T52" fmla="*/ 159 w 229"/>
                  <a:gd name="T53" fmla="*/ 221 h 229"/>
                  <a:gd name="T54" fmla="*/ 179 w 229"/>
                  <a:gd name="T55" fmla="*/ 210 h 229"/>
                  <a:gd name="T56" fmla="*/ 196 w 229"/>
                  <a:gd name="T57" fmla="*/ 196 h 229"/>
                  <a:gd name="T58" fmla="*/ 209 w 229"/>
                  <a:gd name="T59" fmla="*/ 179 h 229"/>
                  <a:gd name="T60" fmla="*/ 220 w 229"/>
                  <a:gd name="T61" fmla="*/ 159 h 229"/>
                  <a:gd name="T62" fmla="*/ 227 w 229"/>
                  <a:gd name="T63" fmla="*/ 138 h 229"/>
                  <a:gd name="T64" fmla="*/ 229 w 229"/>
                  <a:gd name="T65" fmla="*/ 115 h 22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29"/>
                  <a:gd name="T100" fmla="*/ 0 h 229"/>
                  <a:gd name="T101" fmla="*/ 229 w 229"/>
                  <a:gd name="T102" fmla="*/ 229 h 22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29" h="229">
                    <a:moveTo>
                      <a:pt x="229" y="115"/>
                    </a:moveTo>
                    <a:lnTo>
                      <a:pt x="227" y="92"/>
                    </a:lnTo>
                    <a:lnTo>
                      <a:pt x="220" y="70"/>
                    </a:lnTo>
                    <a:lnTo>
                      <a:pt x="209" y="51"/>
                    </a:lnTo>
                    <a:lnTo>
                      <a:pt x="196" y="34"/>
                    </a:lnTo>
                    <a:lnTo>
                      <a:pt x="179" y="20"/>
                    </a:lnTo>
                    <a:lnTo>
                      <a:pt x="159" y="9"/>
                    </a:lnTo>
                    <a:lnTo>
                      <a:pt x="138" y="2"/>
                    </a:lnTo>
                    <a:lnTo>
                      <a:pt x="115" y="0"/>
                    </a:lnTo>
                    <a:lnTo>
                      <a:pt x="91" y="2"/>
                    </a:lnTo>
                    <a:lnTo>
                      <a:pt x="70" y="9"/>
                    </a:lnTo>
                    <a:lnTo>
                      <a:pt x="51" y="20"/>
                    </a:lnTo>
                    <a:lnTo>
                      <a:pt x="34" y="34"/>
                    </a:lnTo>
                    <a:lnTo>
                      <a:pt x="20" y="51"/>
                    </a:lnTo>
                    <a:lnTo>
                      <a:pt x="9" y="70"/>
                    </a:lnTo>
                    <a:lnTo>
                      <a:pt x="3" y="92"/>
                    </a:lnTo>
                    <a:lnTo>
                      <a:pt x="0" y="115"/>
                    </a:lnTo>
                    <a:lnTo>
                      <a:pt x="3" y="138"/>
                    </a:lnTo>
                    <a:lnTo>
                      <a:pt x="9" y="159"/>
                    </a:lnTo>
                    <a:lnTo>
                      <a:pt x="20" y="179"/>
                    </a:lnTo>
                    <a:lnTo>
                      <a:pt x="34" y="196"/>
                    </a:lnTo>
                    <a:lnTo>
                      <a:pt x="51" y="210"/>
                    </a:lnTo>
                    <a:lnTo>
                      <a:pt x="70" y="221"/>
                    </a:lnTo>
                    <a:lnTo>
                      <a:pt x="91" y="227"/>
                    </a:lnTo>
                    <a:lnTo>
                      <a:pt x="115" y="229"/>
                    </a:lnTo>
                    <a:lnTo>
                      <a:pt x="138" y="227"/>
                    </a:lnTo>
                    <a:lnTo>
                      <a:pt x="159" y="221"/>
                    </a:lnTo>
                    <a:lnTo>
                      <a:pt x="179" y="210"/>
                    </a:lnTo>
                    <a:lnTo>
                      <a:pt x="196" y="196"/>
                    </a:lnTo>
                    <a:lnTo>
                      <a:pt x="209" y="179"/>
                    </a:lnTo>
                    <a:lnTo>
                      <a:pt x="220" y="159"/>
                    </a:lnTo>
                    <a:lnTo>
                      <a:pt x="227" y="138"/>
                    </a:lnTo>
                    <a:lnTo>
                      <a:pt x="229" y="11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2" name="Freeform 44"/>
              <p:cNvSpPr>
                <a:spLocks/>
              </p:cNvSpPr>
              <p:nvPr/>
            </p:nvSpPr>
            <p:spPr bwMode="auto">
              <a:xfrm>
                <a:off x="4912" y="2554"/>
                <a:ext cx="229" cy="229"/>
              </a:xfrm>
              <a:custGeom>
                <a:avLst/>
                <a:gdLst>
                  <a:gd name="T0" fmla="*/ 229 w 229"/>
                  <a:gd name="T1" fmla="*/ 115 h 229"/>
                  <a:gd name="T2" fmla="*/ 227 w 229"/>
                  <a:gd name="T3" fmla="*/ 92 h 229"/>
                  <a:gd name="T4" fmla="*/ 220 w 229"/>
                  <a:gd name="T5" fmla="*/ 70 h 229"/>
                  <a:gd name="T6" fmla="*/ 209 w 229"/>
                  <a:gd name="T7" fmla="*/ 51 h 229"/>
                  <a:gd name="T8" fmla="*/ 196 w 229"/>
                  <a:gd name="T9" fmla="*/ 34 h 229"/>
                  <a:gd name="T10" fmla="*/ 179 w 229"/>
                  <a:gd name="T11" fmla="*/ 20 h 229"/>
                  <a:gd name="T12" fmla="*/ 159 w 229"/>
                  <a:gd name="T13" fmla="*/ 9 h 229"/>
                  <a:gd name="T14" fmla="*/ 138 w 229"/>
                  <a:gd name="T15" fmla="*/ 2 h 229"/>
                  <a:gd name="T16" fmla="*/ 115 w 229"/>
                  <a:gd name="T17" fmla="*/ 0 h 229"/>
                  <a:gd name="T18" fmla="*/ 91 w 229"/>
                  <a:gd name="T19" fmla="*/ 2 h 229"/>
                  <a:gd name="T20" fmla="*/ 70 w 229"/>
                  <a:gd name="T21" fmla="*/ 9 h 229"/>
                  <a:gd name="T22" fmla="*/ 51 w 229"/>
                  <a:gd name="T23" fmla="*/ 20 h 229"/>
                  <a:gd name="T24" fmla="*/ 34 w 229"/>
                  <a:gd name="T25" fmla="*/ 34 h 229"/>
                  <a:gd name="T26" fmla="*/ 20 w 229"/>
                  <a:gd name="T27" fmla="*/ 51 h 229"/>
                  <a:gd name="T28" fmla="*/ 9 w 229"/>
                  <a:gd name="T29" fmla="*/ 70 h 229"/>
                  <a:gd name="T30" fmla="*/ 3 w 229"/>
                  <a:gd name="T31" fmla="*/ 92 h 229"/>
                  <a:gd name="T32" fmla="*/ 0 w 229"/>
                  <a:gd name="T33" fmla="*/ 115 h 229"/>
                  <a:gd name="T34" fmla="*/ 3 w 229"/>
                  <a:gd name="T35" fmla="*/ 138 h 229"/>
                  <a:gd name="T36" fmla="*/ 9 w 229"/>
                  <a:gd name="T37" fmla="*/ 159 h 229"/>
                  <a:gd name="T38" fmla="*/ 20 w 229"/>
                  <a:gd name="T39" fmla="*/ 179 h 229"/>
                  <a:gd name="T40" fmla="*/ 34 w 229"/>
                  <a:gd name="T41" fmla="*/ 196 h 229"/>
                  <a:gd name="T42" fmla="*/ 51 w 229"/>
                  <a:gd name="T43" fmla="*/ 210 h 229"/>
                  <a:gd name="T44" fmla="*/ 70 w 229"/>
                  <a:gd name="T45" fmla="*/ 221 h 229"/>
                  <a:gd name="T46" fmla="*/ 91 w 229"/>
                  <a:gd name="T47" fmla="*/ 227 h 229"/>
                  <a:gd name="T48" fmla="*/ 115 w 229"/>
                  <a:gd name="T49" fmla="*/ 229 h 229"/>
                  <a:gd name="T50" fmla="*/ 138 w 229"/>
                  <a:gd name="T51" fmla="*/ 227 h 229"/>
                  <a:gd name="T52" fmla="*/ 159 w 229"/>
                  <a:gd name="T53" fmla="*/ 221 h 229"/>
                  <a:gd name="T54" fmla="*/ 179 w 229"/>
                  <a:gd name="T55" fmla="*/ 210 h 229"/>
                  <a:gd name="T56" fmla="*/ 196 w 229"/>
                  <a:gd name="T57" fmla="*/ 196 h 229"/>
                  <a:gd name="T58" fmla="*/ 209 w 229"/>
                  <a:gd name="T59" fmla="*/ 179 h 229"/>
                  <a:gd name="T60" fmla="*/ 220 w 229"/>
                  <a:gd name="T61" fmla="*/ 159 h 229"/>
                  <a:gd name="T62" fmla="*/ 227 w 229"/>
                  <a:gd name="T63" fmla="*/ 138 h 229"/>
                  <a:gd name="T64" fmla="*/ 229 w 229"/>
                  <a:gd name="T65" fmla="*/ 115 h 22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29"/>
                  <a:gd name="T100" fmla="*/ 0 h 229"/>
                  <a:gd name="T101" fmla="*/ 229 w 229"/>
                  <a:gd name="T102" fmla="*/ 229 h 22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29" h="229">
                    <a:moveTo>
                      <a:pt x="229" y="115"/>
                    </a:moveTo>
                    <a:lnTo>
                      <a:pt x="227" y="92"/>
                    </a:lnTo>
                    <a:lnTo>
                      <a:pt x="220" y="70"/>
                    </a:lnTo>
                    <a:lnTo>
                      <a:pt x="209" y="51"/>
                    </a:lnTo>
                    <a:lnTo>
                      <a:pt x="196" y="34"/>
                    </a:lnTo>
                    <a:lnTo>
                      <a:pt x="179" y="20"/>
                    </a:lnTo>
                    <a:lnTo>
                      <a:pt x="159" y="9"/>
                    </a:lnTo>
                    <a:lnTo>
                      <a:pt x="138" y="2"/>
                    </a:lnTo>
                    <a:lnTo>
                      <a:pt x="115" y="0"/>
                    </a:lnTo>
                    <a:lnTo>
                      <a:pt x="91" y="2"/>
                    </a:lnTo>
                    <a:lnTo>
                      <a:pt x="70" y="9"/>
                    </a:lnTo>
                    <a:lnTo>
                      <a:pt x="51" y="20"/>
                    </a:lnTo>
                    <a:lnTo>
                      <a:pt x="34" y="34"/>
                    </a:lnTo>
                    <a:lnTo>
                      <a:pt x="20" y="51"/>
                    </a:lnTo>
                    <a:lnTo>
                      <a:pt x="9" y="70"/>
                    </a:lnTo>
                    <a:lnTo>
                      <a:pt x="3" y="92"/>
                    </a:lnTo>
                    <a:lnTo>
                      <a:pt x="0" y="115"/>
                    </a:lnTo>
                    <a:lnTo>
                      <a:pt x="3" y="138"/>
                    </a:lnTo>
                    <a:lnTo>
                      <a:pt x="9" y="159"/>
                    </a:lnTo>
                    <a:lnTo>
                      <a:pt x="20" y="179"/>
                    </a:lnTo>
                    <a:lnTo>
                      <a:pt x="34" y="196"/>
                    </a:lnTo>
                    <a:lnTo>
                      <a:pt x="51" y="210"/>
                    </a:lnTo>
                    <a:lnTo>
                      <a:pt x="70" y="221"/>
                    </a:lnTo>
                    <a:lnTo>
                      <a:pt x="91" y="227"/>
                    </a:lnTo>
                    <a:lnTo>
                      <a:pt x="115" y="229"/>
                    </a:lnTo>
                    <a:lnTo>
                      <a:pt x="138" y="227"/>
                    </a:lnTo>
                    <a:lnTo>
                      <a:pt x="159" y="221"/>
                    </a:lnTo>
                    <a:lnTo>
                      <a:pt x="179" y="210"/>
                    </a:lnTo>
                    <a:lnTo>
                      <a:pt x="196" y="196"/>
                    </a:lnTo>
                    <a:lnTo>
                      <a:pt x="209" y="179"/>
                    </a:lnTo>
                    <a:lnTo>
                      <a:pt x="220" y="159"/>
                    </a:lnTo>
                    <a:lnTo>
                      <a:pt x="227" y="138"/>
                    </a:lnTo>
                    <a:lnTo>
                      <a:pt x="229" y="11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3" name="Freeform 45"/>
              <p:cNvSpPr>
                <a:spLocks/>
              </p:cNvSpPr>
              <p:nvPr/>
            </p:nvSpPr>
            <p:spPr bwMode="auto">
              <a:xfrm>
                <a:off x="4156" y="2698"/>
                <a:ext cx="220" cy="220"/>
              </a:xfrm>
              <a:custGeom>
                <a:avLst/>
                <a:gdLst>
                  <a:gd name="T0" fmla="*/ 220 w 220"/>
                  <a:gd name="T1" fmla="*/ 110 h 220"/>
                  <a:gd name="T2" fmla="*/ 218 w 220"/>
                  <a:gd name="T3" fmla="*/ 88 h 220"/>
                  <a:gd name="T4" fmla="*/ 212 w 220"/>
                  <a:gd name="T5" fmla="*/ 68 h 220"/>
                  <a:gd name="T6" fmla="*/ 202 w 220"/>
                  <a:gd name="T7" fmla="*/ 49 h 220"/>
                  <a:gd name="T8" fmla="*/ 188 w 220"/>
                  <a:gd name="T9" fmla="*/ 33 h 220"/>
                  <a:gd name="T10" fmla="*/ 172 w 220"/>
                  <a:gd name="T11" fmla="*/ 19 h 220"/>
                  <a:gd name="T12" fmla="*/ 153 w 220"/>
                  <a:gd name="T13" fmla="*/ 9 h 220"/>
                  <a:gd name="T14" fmla="*/ 132 w 220"/>
                  <a:gd name="T15" fmla="*/ 3 h 220"/>
                  <a:gd name="T16" fmla="*/ 110 w 220"/>
                  <a:gd name="T17" fmla="*/ 0 h 220"/>
                  <a:gd name="T18" fmla="*/ 88 w 220"/>
                  <a:gd name="T19" fmla="*/ 3 h 220"/>
                  <a:gd name="T20" fmla="*/ 68 w 220"/>
                  <a:gd name="T21" fmla="*/ 9 h 220"/>
                  <a:gd name="T22" fmla="*/ 49 w 220"/>
                  <a:gd name="T23" fmla="*/ 19 h 220"/>
                  <a:gd name="T24" fmla="*/ 33 w 220"/>
                  <a:gd name="T25" fmla="*/ 33 h 220"/>
                  <a:gd name="T26" fmla="*/ 19 w 220"/>
                  <a:gd name="T27" fmla="*/ 49 h 220"/>
                  <a:gd name="T28" fmla="*/ 9 w 220"/>
                  <a:gd name="T29" fmla="*/ 68 h 220"/>
                  <a:gd name="T30" fmla="*/ 3 w 220"/>
                  <a:gd name="T31" fmla="*/ 88 h 220"/>
                  <a:gd name="T32" fmla="*/ 0 w 220"/>
                  <a:gd name="T33" fmla="*/ 110 h 220"/>
                  <a:gd name="T34" fmla="*/ 3 w 220"/>
                  <a:gd name="T35" fmla="*/ 132 h 220"/>
                  <a:gd name="T36" fmla="*/ 9 w 220"/>
                  <a:gd name="T37" fmla="*/ 153 h 220"/>
                  <a:gd name="T38" fmla="*/ 19 w 220"/>
                  <a:gd name="T39" fmla="*/ 172 h 220"/>
                  <a:gd name="T40" fmla="*/ 33 w 220"/>
                  <a:gd name="T41" fmla="*/ 188 h 220"/>
                  <a:gd name="T42" fmla="*/ 49 w 220"/>
                  <a:gd name="T43" fmla="*/ 202 h 220"/>
                  <a:gd name="T44" fmla="*/ 68 w 220"/>
                  <a:gd name="T45" fmla="*/ 212 h 220"/>
                  <a:gd name="T46" fmla="*/ 88 w 220"/>
                  <a:gd name="T47" fmla="*/ 218 h 220"/>
                  <a:gd name="T48" fmla="*/ 110 w 220"/>
                  <a:gd name="T49" fmla="*/ 220 h 220"/>
                  <a:gd name="T50" fmla="*/ 132 w 220"/>
                  <a:gd name="T51" fmla="*/ 218 h 220"/>
                  <a:gd name="T52" fmla="*/ 153 w 220"/>
                  <a:gd name="T53" fmla="*/ 212 h 220"/>
                  <a:gd name="T54" fmla="*/ 172 w 220"/>
                  <a:gd name="T55" fmla="*/ 202 h 220"/>
                  <a:gd name="T56" fmla="*/ 188 w 220"/>
                  <a:gd name="T57" fmla="*/ 188 h 220"/>
                  <a:gd name="T58" fmla="*/ 202 w 220"/>
                  <a:gd name="T59" fmla="*/ 172 h 220"/>
                  <a:gd name="T60" fmla="*/ 212 w 220"/>
                  <a:gd name="T61" fmla="*/ 153 h 220"/>
                  <a:gd name="T62" fmla="*/ 218 w 220"/>
                  <a:gd name="T63" fmla="*/ 132 h 220"/>
                  <a:gd name="T64" fmla="*/ 220 w 220"/>
                  <a:gd name="T65" fmla="*/ 110 h 22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20"/>
                  <a:gd name="T100" fmla="*/ 0 h 220"/>
                  <a:gd name="T101" fmla="*/ 220 w 220"/>
                  <a:gd name="T102" fmla="*/ 220 h 22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20" h="220">
                    <a:moveTo>
                      <a:pt x="220" y="110"/>
                    </a:moveTo>
                    <a:lnTo>
                      <a:pt x="218" y="88"/>
                    </a:lnTo>
                    <a:lnTo>
                      <a:pt x="212" y="68"/>
                    </a:lnTo>
                    <a:lnTo>
                      <a:pt x="202" y="49"/>
                    </a:lnTo>
                    <a:lnTo>
                      <a:pt x="188" y="33"/>
                    </a:lnTo>
                    <a:lnTo>
                      <a:pt x="172" y="19"/>
                    </a:lnTo>
                    <a:lnTo>
                      <a:pt x="153" y="9"/>
                    </a:lnTo>
                    <a:lnTo>
                      <a:pt x="132" y="3"/>
                    </a:lnTo>
                    <a:lnTo>
                      <a:pt x="110" y="0"/>
                    </a:lnTo>
                    <a:lnTo>
                      <a:pt x="88" y="3"/>
                    </a:lnTo>
                    <a:lnTo>
                      <a:pt x="68" y="9"/>
                    </a:lnTo>
                    <a:lnTo>
                      <a:pt x="49" y="19"/>
                    </a:lnTo>
                    <a:lnTo>
                      <a:pt x="33" y="33"/>
                    </a:lnTo>
                    <a:lnTo>
                      <a:pt x="19" y="49"/>
                    </a:lnTo>
                    <a:lnTo>
                      <a:pt x="9" y="68"/>
                    </a:lnTo>
                    <a:lnTo>
                      <a:pt x="3" y="88"/>
                    </a:lnTo>
                    <a:lnTo>
                      <a:pt x="0" y="110"/>
                    </a:lnTo>
                    <a:lnTo>
                      <a:pt x="3" y="132"/>
                    </a:lnTo>
                    <a:lnTo>
                      <a:pt x="9" y="153"/>
                    </a:lnTo>
                    <a:lnTo>
                      <a:pt x="19" y="172"/>
                    </a:lnTo>
                    <a:lnTo>
                      <a:pt x="33" y="188"/>
                    </a:lnTo>
                    <a:lnTo>
                      <a:pt x="49" y="202"/>
                    </a:lnTo>
                    <a:lnTo>
                      <a:pt x="68" y="212"/>
                    </a:lnTo>
                    <a:lnTo>
                      <a:pt x="88" y="218"/>
                    </a:lnTo>
                    <a:lnTo>
                      <a:pt x="110" y="220"/>
                    </a:lnTo>
                    <a:lnTo>
                      <a:pt x="132" y="218"/>
                    </a:lnTo>
                    <a:lnTo>
                      <a:pt x="153" y="212"/>
                    </a:lnTo>
                    <a:lnTo>
                      <a:pt x="172" y="202"/>
                    </a:lnTo>
                    <a:lnTo>
                      <a:pt x="188" y="188"/>
                    </a:lnTo>
                    <a:lnTo>
                      <a:pt x="202" y="172"/>
                    </a:lnTo>
                    <a:lnTo>
                      <a:pt x="212" y="153"/>
                    </a:lnTo>
                    <a:lnTo>
                      <a:pt x="218" y="132"/>
                    </a:lnTo>
                    <a:lnTo>
                      <a:pt x="220" y="11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4" name="Freeform 46"/>
              <p:cNvSpPr>
                <a:spLocks/>
              </p:cNvSpPr>
              <p:nvPr/>
            </p:nvSpPr>
            <p:spPr bwMode="auto">
              <a:xfrm>
                <a:off x="4156" y="2698"/>
                <a:ext cx="220" cy="220"/>
              </a:xfrm>
              <a:custGeom>
                <a:avLst/>
                <a:gdLst>
                  <a:gd name="T0" fmla="*/ 220 w 220"/>
                  <a:gd name="T1" fmla="*/ 110 h 220"/>
                  <a:gd name="T2" fmla="*/ 218 w 220"/>
                  <a:gd name="T3" fmla="*/ 88 h 220"/>
                  <a:gd name="T4" fmla="*/ 212 w 220"/>
                  <a:gd name="T5" fmla="*/ 68 h 220"/>
                  <a:gd name="T6" fmla="*/ 202 w 220"/>
                  <a:gd name="T7" fmla="*/ 49 h 220"/>
                  <a:gd name="T8" fmla="*/ 188 w 220"/>
                  <a:gd name="T9" fmla="*/ 33 h 220"/>
                  <a:gd name="T10" fmla="*/ 172 w 220"/>
                  <a:gd name="T11" fmla="*/ 19 h 220"/>
                  <a:gd name="T12" fmla="*/ 153 w 220"/>
                  <a:gd name="T13" fmla="*/ 9 h 220"/>
                  <a:gd name="T14" fmla="*/ 132 w 220"/>
                  <a:gd name="T15" fmla="*/ 3 h 220"/>
                  <a:gd name="T16" fmla="*/ 110 w 220"/>
                  <a:gd name="T17" fmla="*/ 0 h 220"/>
                  <a:gd name="T18" fmla="*/ 88 w 220"/>
                  <a:gd name="T19" fmla="*/ 3 h 220"/>
                  <a:gd name="T20" fmla="*/ 68 w 220"/>
                  <a:gd name="T21" fmla="*/ 9 h 220"/>
                  <a:gd name="T22" fmla="*/ 49 w 220"/>
                  <a:gd name="T23" fmla="*/ 19 h 220"/>
                  <a:gd name="T24" fmla="*/ 33 w 220"/>
                  <a:gd name="T25" fmla="*/ 33 h 220"/>
                  <a:gd name="T26" fmla="*/ 19 w 220"/>
                  <a:gd name="T27" fmla="*/ 49 h 220"/>
                  <a:gd name="T28" fmla="*/ 9 w 220"/>
                  <a:gd name="T29" fmla="*/ 68 h 220"/>
                  <a:gd name="T30" fmla="*/ 3 w 220"/>
                  <a:gd name="T31" fmla="*/ 88 h 220"/>
                  <a:gd name="T32" fmla="*/ 0 w 220"/>
                  <a:gd name="T33" fmla="*/ 110 h 220"/>
                  <a:gd name="T34" fmla="*/ 3 w 220"/>
                  <a:gd name="T35" fmla="*/ 132 h 220"/>
                  <a:gd name="T36" fmla="*/ 9 w 220"/>
                  <a:gd name="T37" fmla="*/ 153 h 220"/>
                  <a:gd name="T38" fmla="*/ 19 w 220"/>
                  <a:gd name="T39" fmla="*/ 172 h 220"/>
                  <a:gd name="T40" fmla="*/ 33 w 220"/>
                  <a:gd name="T41" fmla="*/ 188 h 220"/>
                  <a:gd name="T42" fmla="*/ 49 w 220"/>
                  <a:gd name="T43" fmla="*/ 202 h 220"/>
                  <a:gd name="T44" fmla="*/ 68 w 220"/>
                  <a:gd name="T45" fmla="*/ 212 h 220"/>
                  <a:gd name="T46" fmla="*/ 88 w 220"/>
                  <a:gd name="T47" fmla="*/ 218 h 220"/>
                  <a:gd name="T48" fmla="*/ 110 w 220"/>
                  <a:gd name="T49" fmla="*/ 220 h 220"/>
                  <a:gd name="T50" fmla="*/ 132 w 220"/>
                  <a:gd name="T51" fmla="*/ 218 h 220"/>
                  <a:gd name="T52" fmla="*/ 153 w 220"/>
                  <a:gd name="T53" fmla="*/ 212 h 220"/>
                  <a:gd name="T54" fmla="*/ 172 w 220"/>
                  <a:gd name="T55" fmla="*/ 202 h 220"/>
                  <a:gd name="T56" fmla="*/ 188 w 220"/>
                  <a:gd name="T57" fmla="*/ 188 h 220"/>
                  <a:gd name="T58" fmla="*/ 202 w 220"/>
                  <a:gd name="T59" fmla="*/ 172 h 220"/>
                  <a:gd name="T60" fmla="*/ 212 w 220"/>
                  <a:gd name="T61" fmla="*/ 153 h 220"/>
                  <a:gd name="T62" fmla="*/ 218 w 220"/>
                  <a:gd name="T63" fmla="*/ 132 h 220"/>
                  <a:gd name="T64" fmla="*/ 220 w 220"/>
                  <a:gd name="T65" fmla="*/ 110 h 22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20"/>
                  <a:gd name="T100" fmla="*/ 0 h 220"/>
                  <a:gd name="T101" fmla="*/ 220 w 220"/>
                  <a:gd name="T102" fmla="*/ 220 h 22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20" h="220">
                    <a:moveTo>
                      <a:pt x="220" y="110"/>
                    </a:moveTo>
                    <a:lnTo>
                      <a:pt x="218" y="88"/>
                    </a:lnTo>
                    <a:lnTo>
                      <a:pt x="212" y="68"/>
                    </a:lnTo>
                    <a:lnTo>
                      <a:pt x="202" y="49"/>
                    </a:lnTo>
                    <a:lnTo>
                      <a:pt x="188" y="33"/>
                    </a:lnTo>
                    <a:lnTo>
                      <a:pt x="172" y="19"/>
                    </a:lnTo>
                    <a:lnTo>
                      <a:pt x="153" y="9"/>
                    </a:lnTo>
                    <a:lnTo>
                      <a:pt x="132" y="3"/>
                    </a:lnTo>
                    <a:lnTo>
                      <a:pt x="110" y="0"/>
                    </a:lnTo>
                    <a:lnTo>
                      <a:pt x="88" y="3"/>
                    </a:lnTo>
                    <a:lnTo>
                      <a:pt x="68" y="9"/>
                    </a:lnTo>
                    <a:lnTo>
                      <a:pt x="49" y="19"/>
                    </a:lnTo>
                    <a:lnTo>
                      <a:pt x="33" y="33"/>
                    </a:lnTo>
                    <a:lnTo>
                      <a:pt x="19" y="49"/>
                    </a:lnTo>
                    <a:lnTo>
                      <a:pt x="9" y="68"/>
                    </a:lnTo>
                    <a:lnTo>
                      <a:pt x="3" y="88"/>
                    </a:lnTo>
                    <a:lnTo>
                      <a:pt x="0" y="110"/>
                    </a:lnTo>
                    <a:lnTo>
                      <a:pt x="3" y="132"/>
                    </a:lnTo>
                    <a:lnTo>
                      <a:pt x="9" y="153"/>
                    </a:lnTo>
                    <a:lnTo>
                      <a:pt x="19" y="172"/>
                    </a:lnTo>
                    <a:lnTo>
                      <a:pt x="33" y="188"/>
                    </a:lnTo>
                    <a:lnTo>
                      <a:pt x="49" y="202"/>
                    </a:lnTo>
                    <a:lnTo>
                      <a:pt x="68" y="212"/>
                    </a:lnTo>
                    <a:lnTo>
                      <a:pt x="88" y="218"/>
                    </a:lnTo>
                    <a:lnTo>
                      <a:pt x="110" y="220"/>
                    </a:lnTo>
                    <a:lnTo>
                      <a:pt x="132" y="218"/>
                    </a:lnTo>
                    <a:lnTo>
                      <a:pt x="153" y="212"/>
                    </a:lnTo>
                    <a:lnTo>
                      <a:pt x="172" y="202"/>
                    </a:lnTo>
                    <a:lnTo>
                      <a:pt x="188" y="188"/>
                    </a:lnTo>
                    <a:lnTo>
                      <a:pt x="202" y="172"/>
                    </a:lnTo>
                    <a:lnTo>
                      <a:pt x="212" y="153"/>
                    </a:lnTo>
                    <a:lnTo>
                      <a:pt x="218" y="132"/>
                    </a:lnTo>
                    <a:lnTo>
                      <a:pt x="220" y="11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5" name="Freeform 47"/>
              <p:cNvSpPr>
                <a:spLocks/>
              </p:cNvSpPr>
              <p:nvPr/>
            </p:nvSpPr>
            <p:spPr bwMode="auto">
              <a:xfrm>
                <a:off x="3540" y="1573"/>
                <a:ext cx="214" cy="214"/>
              </a:xfrm>
              <a:custGeom>
                <a:avLst/>
                <a:gdLst>
                  <a:gd name="T0" fmla="*/ 214 w 214"/>
                  <a:gd name="T1" fmla="*/ 107 h 214"/>
                  <a:gd name="T2" fmla="*/ 212 w 214"/>
                  <a:gd name="T3" fmla="*/ 85 h 214"/>
                  <a:gd name="T4" fmla="*/ 205 w 214"/>
                  <a:gd name="T5" fmla="*/ 66 h 214"/>
                  <a:gd name="T6" fmla="*/ 196 w 214"/>
                  <a:gd name="T7" fmla="*/ 47 h 214"/>
                  <a:gd name="T8" fmla="*/ 183 w 214"/>
                  <a:gd name="T9" fmla="*/ 31 h 214"/>
                  <a:gd name="T10" fmla="*/ 167 w 214"/>
                  <a:gd name="T11" fmla="*/ 18 h 214"/>
                  <a:gd name="T12" fmla="*/ 148 w 214"/>
                  <a:gd name="T13" fmla="*/ 8 h 214"/>
                  <a:gd name="T14" fmla="*/ 128 w 214"/>
                  <a:gd name="T15" fmla="*/ 2 h 214"/>
                  <a:gd name="T16" fmla="*/ 106 w 214"/>
                  <a:gd name="T17" fmla="*/ 0 h 214"/>
                  <a:gd name="T18" fmla="*/ 85 w 214"/>
                  <a:gd name="T19" fmla="*/ 2 h 214"/>
                  <a:gd name="T20" fmla="*/ 65 w 214"/>
                  <a:gd name="T21" fmla="*/ 8 h 214"/>
                  <a:gd name="T22" fmla="*/ 47 w 214"/>
                  <a:gd name="T23" fmla="*/ 18 h 214"/>
                  <a:gd name="T24" fmla="*/ 31 w 214"/>
                  <a:gd name="T25" fmla="*/ 31 h 214"/>
                  <a:gd name="T26" fmla="*/ 18 w 214"/>
                  <a:gd name="T27" fmla="*/ 47 h 214"/>
                  <a:gd name="T28" fmla="*/ 8 w 214"/>
                  <a:gd name="T29" fmla="*/ 66 h 214"/>
                  <a:gd name="T30" fmla="*/ 2 w 214"/>
                  <a:gd name="T31" fmla="*/ 85 h 214"/>
                  <a:gd name="T32" fmla="*/ 0 w 214"/>
                  <a:gd name="T33" fmla="*/ 107 h 214"/>
                  <a:gd name="T34" fmla="*/ 2 w 214"/>
                  <a:gd name="T35" fmla="*/ 128 h 214"/>
                  <a:gd name="T36" fmla="*/ 8 w 214"/>
                  <a:gd name="T37" fmla="*/ 149 h 214"/>
                  <a:gd name="T38" fmla="*/ 18 w 214"/>
                  <a:gd name="T39" fmla="*/ 167 h 214"/>
                  <a:gd name="T40" fmla="*/ 31 w 214"/>
                  <a:gd name="T41" fmla="*/ 183 h 214"/>
                  <a:gd name="T42" fmla="*/ 47 w 214"/>
                  <a:gd name="T43" fmla="*/ 196 h 214"/>
                  <a:gd name="T44" fmla="*/ 65 w 214"/>
                  <a:gd name="T45" fmla="*/ 205 h 214"/>
                  <a:gd name="T46" fmla="*/ 85 w 214"/>
                  <a:gd name="T47" fmla="*/ 212 h 214"/>
                  <a:gd name="T48" fmla="*/ 106 w 214"/>
                  <a:gd name="T49" fmla="*/ 214 h 214"/>
                  <a:gd name="T50" fmla="*/ 128 w 214"/>
                  <a:gd name="T51" fmla="*/ 212 h 214"/>
                  <a:gd name="T52" fmla="*/ 148 w 214"/>
                  <a:gd name="T53" fmla="*/ 205 h 214"/>
                  <a:gd name="T54" fmla="*/ 167 w 214"/>
                  <a:gd name="T55" fmla="*/ 196 h 214"/>
                  <a:gd name="T56" fmla="*/ 183 w 214"/>
                  <a:gd name="T57" fmla="*/ 183 h 214"/>
                  <a:gd name="T58" fmla="*/ 196 w 214"/>
                  <a:gd name="T59" fmla="*/ 167 h 214"/>
                  <a:gd name="T60" fmla="*/ 205 w 214"/>
                  <a:gd name="T61" fmla="*/ 149 h 214"/>
                  <a:gd name="T62" fmla="*/ 212 w 214"/>
                  <a:gd name="T63" fmla="*/ 128 h 214"/>
                  <a:gd name="T64" fmla="*/ 214 w 214"/>
                  <a:gd name="T65" fmla="*/ 107 h 21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14"/>
                  <a:gd name="T100" fmla="*/ 0 h 214"/>
                  <a:gd name="T101" fmla="*/ 214 w 214"/>
                  <a:gd name="T102" fmla="*/ 214 h 21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14" h="214">
                    <a:moveTo>
                      <a:pt x="214" y="107"/>
                    </a:moveTo>
                    <a:lnTo>
                      <a:pt x="212" y="85"/>
                    </a:lnTo>
                    <a:lnTo>
                      <a:pt x="205" y="66"/>
                    </a:lnTo>
                    <a:lnTo>
                      <a:pt x="196" y="47"/>
                    </a:lnTo>
                    <a:lnTo>
                      <a:pt x="183" y="31"/>
                    </a:lnTo>
                    <a:lnTo>
                      <a:pt x="167" y="18"/>
                    </a:lnTo>
                    <a:lnTo>
                      <a:pt x="148" y="8"/>
                    </a:lnTo>
                    <a:lnTo>
                      <a:pt x="128" y="2"/>
                    </a:lnTo>
                    <a:lnTo>
                      <a:pt x="106" y="0"/>
                    </a:lnTo>
                    <a:lnTo>
                      <a:pt x="85" y="2"/>
                    </a:lnTo>
                    <a:lnTo>
                      <a:pt x="65" y="8"/>
                    </a:lnTo>
                    <a:lnTo>
                      <a:pt x="47" y="18"/>
                    </a:lnTo>
                    <a:lnTo>
                      <a:pt x="31" y="31"/>
                    </a:lnTo>
                    <a:lnTo>
                      <a:pt x="18" y="47"/>
                    </a:lnTo>
                    <a:lnTo>
                      <a:pt x="8" y="66"/>
                    </a:lnTo>
                    <a:lnTo>
                      <a:pt x="2" y="85"/>
                    </a:lnTo>
                    <a:lnTo>
                      <a:pt x="0" y="107"/>
                    </a:lnTo>
                    <a:lnTo>
                      <a:pt x="2" y="128"/>
                    </a:lnTo>
                    <a:lnTo>
                      <a:pt x="8" y="149"/>
                    </a:lnTo>
                    <a:lnTo>
                      <a:pt x="18" y="167"/>
                    </a:lnTo>
                    <a:lnTo>
                      <a:pt x="31" y="183"/>
                    </a:lnTo>
                    <a:lnTo>
                      <a:pt x="47" y="196"/>
                    </a:lnTo>
                    <a:lnTo>
                      <a:pt x="65" y="205"/>
                    </a:lnTo>
                    <a:lnTo>
                      <a:pt x="85" y="212"/>
                    </a:lnTo>
                    <a:lnTo>
                      <a:pt x="106" y="214"/>
                    </a:lnTo>
                    <a:lnTo>
                      <a:pt x="128" y="212"/>
                    </a:lnTo>
                    <a:lnTo>
                      <a:pt x="148" y="205"/>
                    </a:lnTo>
                    <a:lnTo>
                      <a:pt x="167" y="196"/>
                    </a:lnTo>
                    <a:lnTo>
                      <a:pt x="183" y="183"/>
                    </a:lnTo>
                    <a:lnTo>
                      <a:pt x="196" y="167"/>
                    </a:lnTo>
                    <a:lnTo>
                      <a:pt x="205" y="149"/>
                    </a:lnTo>
                    <a:lnTo>
                      <a:pt x="212" y="128"/>
                    </a:lnTo>
                    <a:lnTo>
                      <a:pt x="214" y="10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6" name="Freeform 48"/>
              <p:cNvSpPr>
                <a:spLocks/>
              </p:cNvSpPr>
              <p:nvPr/>
            </p:nvSpPr>
            <p:spPr bwMode="auto">
              <a:xfrm>
                <a:off x="3540" y="1573"/>
                <a:ext cx="214" cy="214"/>
              </a:xfrm>
              <a:custGeom>
                <a:avLst/>
                <a:gdLst>
                  <a:gd name="T0" fmla="*/ 214 w 214"/>
                  <a:gd name="T1" fmla="*/ 107 h 214"/>
                  <a:gd name="T2" fmla="*/ 212 w 214"/>
                  <a:gd name="T3" fmla="*/ 85 h 214"/>
                  <a:gd name="T4" fmla="*/ 205 w 214"/>
                  <a:gd name="T5" fmla="*/ 66 h 214"/>
                  <a:gd name="T6" fmla="*/ 196 w 214"/>
                  <a:gd name="T7" fmla="*/ 47 h 214"/>
                  <a:gd name="T8" fmla="*/ 183 w 214"/>
                  <a:gd name="T9" fmla="*/ 31 h 214"/>
                  <a:gd name="T10" fmla="*/ 167 w 214"/>
                  <a:gd name="T11" fmla="*/ 18 h 214"/>
                  <a:gd name="T12" fmla="*/ 148 w 214"/>
                  <a:gd name="T13" fmla="*/ 8 h 214"/>
                  <a:gd name="T14" fmla="*/ 128 w 214"/>
                  <a:gd name="T15" fmla="*/ 2 h 214"/>
                  <a:gd name="T16" fmla="*/ 106 w 214"/>
                  <a:gd name="T17" fmla="*/ 0 h 214"/>
                  <a:gd name="T18" fmla="*/ 85 w 214"/>
                  <a:gd name="T19" fmla="*/ 2 h 214"/>
                  <a:gd name="T20" fmla="*/ 65 w 214"/>
                  <a:gd name="T21" fmla="*/ 8 h 214"/>
                  <a:gd name="T22" fmla="*/ 47 w 214"/>
                  <a:gd name="T23" fmla="*/ 18 h 214"/>
                  <a:gd name="T24" fmla="*/ 31 w 214"/>
                  <a:gd name="T25" fmla="*/ 31 h 214"/>
                  <a:gd name="T26" fmla="*/ 18 w 214"/>
                  <a:gd name="T27" fmla="*/ 47 h 214"/>
                  <a:gd name="T28" fmla="*/ 8 w 214"/>
                  <a:gd name="T29" fmla="*/ 66 h 214"/>
                  <a:gd name="T30" fmla="*/ 2 w 214"/>
                  <a:gd name="T31" fmla="*/ 85 h 214"/>
                  <a:gd name="T32" fmla="*/ 0 w 214"/>
                  <a:gd name="T33" fmla="*/ 107 h 214"/>
                  <a:gd name="T34" fmla="*/ 2 w 214"/>
                  <a:gd name="T35" fmla="*/ 128 h 214"/>
                  <a:gd name="T36" fmla="*/ 8 w 214"/>
                  <a:gd name="T37" fmla="*/ 149 h 214"/>
                  <a:gd name="T38" fmla="*/ 18 w 214"/>
                  <a:gd name="T39" fmla="*/ 167 h 214"/>
                  <a:gd name="T40" fmla="*/ 31 w 214"/>
                  <a:gd name="T41" fmla="*/ 183 h 214"/>
                  <a:gd name="T42" fmla="*/ 47 w 214"/>
                  <a:gd name="T43" fmla="*/ 196 h 214"/>
                  <a:gd name="T44" fmla="*/ 65 w 214"/>
                  <a:gd name="T45" fmla="*/ 205 h 214"/>
                  <a:gd name="T46" fmla="*/ 85 w 214"/>
                  <a:gd name="T47" fmla="*/ 212 h 214"/>
                  <a:gd name="T48" fmla="*/ 106 w 214"/>
                  <a:gd name="T49" fmla="*/ 214 h 214"/>
                  <a:gd name="T50" fmla="*/ 128 w 214"/>
                  <a:gd name="T51" fmla="*/ 212 h 214"/>
                  <a:gd name="T52" fmla="*/ 148 w 214"/>
                  <a:gd name="T53" fmla="*/ 205 h 214"/>
                  <a:gd name="T54" fmla="*/ 167 w 214"/>
                  <a:gd name="T55" fmla="*/ 196 h 214"/>
                  <a:gd name="T56" fmla="*/ 183 w 214"/>
                  <a:gd name="T57" fmla="*/ 183 h 214"/>
                  <a:gd name="T58" fmla="*/ 196 w 214"/>
                  <a:gd name="T59" fmla="*/ 167 h 214"/>
                  <a:gd name="T60" fmla="*/ 205 w 214"/>
                  <a:gd name="T61" fmla="*/ 149 h 214"/>
                  <a:gd name="T62" fmla="*/ 212 w 214"/>
                  <a:gd name="T63" fmla="*/ 128 h 214"/>
                  <a:gd name="T64" fmla="*/ 214 w 214"/>
                  <a:gd name="T65" fmla="*/ 107 h 21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14"/>
                  <a:gd name="T100" fmla="*/ 0 h 214"/>
                  <a:gd name="T101" fmla="*/ 214 w 214"/>
                  <a:gd name="T102" fmla="*/ 214 h 21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14" h="214">
                    <a:moveTo>
                      <a:pt x="214" y="107"/>
                    </a:moveTo>
                    <a:lnTo>
                      <a:pt x="212" y="85"/>
                    </a:lnTo>
                    <a:lnTo>
                      <a:pt x="205" y="66"/>
                    </a:lnTo>
                    <a:lnTo>
                      <a:pt x="196" y="47"/>
                    </a:lnTo>
                    <a:lnTo>
                      <a:pt x="183" y="31"/>
                    </a:lnTo>
                    <a:lnTo>
                      <a:pt x="167" y="18"/>
                    </a:lnTo>
                    <a:lnTo>
                      <a:pt x="148" y="8"/>
                    </a:lnTo>
                    <a:lnTo>
                      <a:pt x="128" y="2"/>
                    </a:lnTo>
                    <a:lnTo>
                      <a:pt x="106" y="0"/>
                    </a:lnTo>
                    <a:lnTo>
                      <a:pt x="85" y="2"/>
                    </a:lnTo>
                    <a:lnTo>
                      <a:pt x="65" y="8"/>
                    </a:lnTo>
                    <a:lnTo>
                      <a:pt x="47" y="18"/>
                    </a:lnTo>
                    <a:lnTo>
                      <a:pt x="31" y="31"/>
                    </a:lnTo>
                    <a:lnTo>
                      <a:pt x="18" y="47"/>
                    </a:lnTo>
                    <a:lnTo>
                      <a:pt x="8" y="66"/>
                    </a:lnTo>
                    <a:lnTo>
                      <a:pt x="2" y="85"/>
                    </a:lnTo>
                    <a:lnTo>
                      <a:pt x="0" y="107"/>
                    </a:lnTo>
                    <a:lnTo>
                      <a:pt x="2" y="128"/>
                    </a:lnTo>
                    <a:lnTo>
                      <a:pt x="8" y="149"/>
                    </a:lnTo>
                    <a:lnTo>
                      <a:pt x="18" y="167"/>
                    </a:lnTo>
                    <a:lnTo>
                      <a:pt x="31" y="183"/>
                    </a:lnTo>
                    <a:lnTo>
                      <a:pt x="47" y="196"/>
                    </a:lnTo>
                    <a:lnTo>
                      <a:pt x="65" y="205"/>
                    </a:lnTo>
                    <a:lnTo>
                      <a:pt x="85" y="212"/>
                    </a:lnTo>
                    <a:lnTo>
                      <a:pt x="106" y="214"/>
                    </a:lnTo>
                    <a:lnTo>
                      <a:pt x="128" y="212"/>
                    </a:lnTo>
                    <a:lnTo>
                      <a:pt x="148" y="205"/>
                    </a:lnTo>
                    <a:lnTo>
                      <a:pt x="167" y="196"/>
                    </a:lnTo>
                    <a:lnTo>
                      <a:pt x="183" y="183"/>
                    </a:lnTo>
                    <a:lnTo>
                      <a:pt x="196" y="167"/>
                    </a:lnTo>
                    <a:lnTo>
                      <a:pt x="205" y="149"/>
                    </a:lnTo>
                    <a:lnTo>
                      <a:pt x="212" y="128"/>
                    </a:lnTo>
                    <a:lnTo>
                      <a:pt x="214" y="10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7" name="Freeform 49"/>
              <p:cNvSpPr>
                <a:spLocks/>
              </p:cNvSpPr>
              <p:nvPr/>
            </p:nvSpPr>
            <p:spPr bwMode="auto">
              <a:xfrm>
                <a:off x="3796" y="2547"/>
                <a:ext cx="189" cy="189"/>
              </a:xfrm>
              <a:custGeom>
                <a:avLst/>
                <a:gdLst>
                  <a:gd name="T0" fmla="*/ 189 w 189"/>
                  <a:gd name="T1" fmla="*/ 95 h 189"/>
                  <a:gd name="T2" fmla="*/ 188 w 189"/>
                  <a:gd name="T3" fmla="*/ 76 h 189"/>
                  <a:gd name="T4" fmla="*/ 182 w 189"/>
                  <a:gd name="T5" fmla="*/ 58 h 189"/>
                  <a:gd name="T6" fmla="*/ 173 w 189"/>
                  <a:gd name="T7" fmla="*/ 41 h 189"/>
                  <a:gd name="T8" fmla="*/ 162 w 189"/>
                  <a:gd name="T9" fmla="*/ 27 h 189"/>
                  <a:gd name="T10" fmla="*/ 147 w 189"/>
                  <a:gd name="T11" fmla="*/ 16 h 189"/>
                  <a:gd name="T12" fmla="*/ 132 w 189"/>
                  <a:gd name="T13" fmla="*/ 7 h 189"/>
                  <a:gd name="T14" fmla="*/ 114 w 189"/>
                  <a:gd name="T15" fmla="*/ 1 h 189"/>
                  <a:gd name="T16" fmla="*/ 95 w 189"/>
                  <a:gd name="T17" fmla="*/ 0 h 189"/>
                  <a:gd name="T18" fmla="*/ 76 w 189"/>
                  <a:gd name="T19" fmla="*/ 1 h 189"/>
                  <a:gd name="T20" fmla="*/ 58 w 189"/>
                  <a:gd name="T21" fmla="*/ 7 h 189"/>
                  <a:gd name="T22" fmla="*/ 41 w 189"/>
                  <a:gd name="T23" fmla="*/ 16 h 189"/>
                  <a:gd name="T24" fmla="*/ 27 w 189"/>
                  <a:gd name="T25" fmla="*/ 27 h 189"/>
                  <a:gd name="T26" fmla="*/ 16 w 189"/>
                  <a:gd name="T27" fmla="*/ 41 h 189"/>
                  <a:gd name="T28" fmla="*/ 7 w 189"/>
                  <a:gd name="T29" fmla="*/ 58 h 189"/>
                  <a:gd name="T30" fmla="*/ 1 w 189"/>
                  <a:gd name="T31" fmla="*/ 76 h 189"/>
                  <a:gd name="T32" fmla="*/ 0 w 189"/>
                  <a:gd name="T33" fmla="*/ 95 h 189"/>
                  <a:gd name="T34" fmla="*/ 1 w 189"/>
                  <a:gd name="T35" fmla="*/ 114 h 189"/>
                  <a:gd name="T36" fmla="*/ 7 w 189"/>
                  <a:gd name="T37" fmla="*/ 132 h 189"/>
                  <a:gd name="T38" fmla="*/ 16 w 189"/>
                  <a:gd name="T39" fmla="*/ 148 h 189"/>
                  <a:gd name="T40" fmla="*/ 27 w 189"/>
                  <a:gd name="T41" fmla="*/ 162 h 189"/>
                  <a:gd name="T42" fmla="*/ 41 w 189"/>
                  <a:gd name="T43" fmla="*/ 173 h 189"/>
                  <a:gd name="T44" fmla="*/ 58 w 189"/>
                  <a:gd name="T45" fmla="*/ 182 h 189"/>
                  <a:gd name="T46" fmla="*/ 76 w 189"/>
                  <a:gd name="T47" fmla="*/ 188 h 189"/>
                  <a:gd name="T48" fmla="*/ 95 w 189"/>
                  <a:gd name="T49" fmla="*/ 189 h 189"/>
                  <a:gd name="T50" fmla="*/ 114 w 189"/>
                  <a:gd name="T51" fmla="*/ 188 h 189"/>
                  <a:gd name="T52" fmla="*/ 132 w 189"/>
                  <a:gd name="T53" fmla="*/ 182 h 189"/>
                  <a:gd name="T54" fmla="*/ 147 w 189"/>
                  <a:gd name="T55" fmla="*/ 173 h 189"/>
                  <a:gd name="T56" fmla="*/ 162 w 189"/>
                  <a:gd name="T57" fmla="*/ 162 h 189"/>
                  <a:gd name="T58" fmla="*/ 173 w 189"/>
                  <a:gd name="T59" fmla="*/ 148 h 189"/>
                  <a:gd name="T60" fmla="*/ 182 w 189"/>
                  <a:gd name="T61" fmla="*/ 132 h 189"/>
                  <a:gd name="T62" fmla="*/ 188 w 189"/>
                  <a:gd name="T63" fmla="*/ 114 h 189"/>
                  <a:gd name="T64" fmla="*/ 189 w 189"/>
                  <a:gd name="T65" fmla="*/ 95 h 18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89"/>
                  <a:gd name="T100" fmla="*/ 0 h 189"/>
                  <a:gd name="T101" fmla="*/ 189 w 189"/>
                  <a:gd name="T102" fmla="*/ 189 h 18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89" h="189">
                    <a:moveTo>
                      <a:pt x="189" y="95"/>
                    </a:moveTo>
                    <a:lnTo>
                      <a:pt x="188" y="76"/>
                    </a:lnTo>
                    <a:lnTo>
                      <a:pt x="182" y="58"/>
                    </a:lnTo>
                    <a:lnTo>
                      <a:pt x="173" y="41"/>
                    </a:lnTo>
                    <a:lnTo>
                      <a:pt x="162" y="27"/>
                    </a:lnTo>
                    <a:lnTo>
                      <a:pt x="147" y="16"/>
                    </a:lnTo>
                    <a:lnTo>
                      <a:pt x="132" y="7"/>
                    </a:lnTo>
                    <a:lnTo>
                      <a:pt x="114" y="1"/>
                    </a:lnTo>
                    <a:lnTo>
                      <a:pt x="95" y="0"/>
                    </a:lnTo>
                    <a:lnTo>
                      <a:pt x="76" y="1"/>
                    </a:lnTo>
                    <a:lnTo>
                      <a:pt x="58" y="7"/>
                    </a:lnTo>
                    <a:lnTo>
                      <a:pt x="41" y="16"/>
                    </a:lnTo>
                    <a:lnTo>
                      <a:pt x="27" y="27"/>
                    </a:lnTo>
                    <a:lnTo>
                      <a:pt x="16" y="41"/>
                    </a:lnTo>
                    <a:lnTo>
                      <a:pt x="7" y="58"/>
                    </a:lnTo>
                    <a:lnTo>
                      <a:pt x="1" y="76"/>
                    </a:lnTo>
                    <a:lnTo>
                      <a:pt x="0" y="95"/>
                    </a:lnTo>
                    <a:lnTo>
                      <a:pt x="1" y="114"/>
                    </a:lnTo>
                    <a:lnTo>
                      <a:pt x="7" y="132"/>
                    </a:lnTo>
                    <a:lnTo>
                      <a:pt x="16" y="148"/>
                    </a:lnTo>
                    <a:lnTo>
                      <a:pt x="27" y="162"/>
                    </a:lnTo>
                    <a:lnTo>
                      <a:pt x="41" y="173"/>
                    </a:lnTo>
                    <a:lnTo>
                      <a:pt x="58" y="182"/>
                    </a:lnTo>
                    <a:lnTo>
                      <a:pt x="76" y="188"/>
                    </a:lnTo>
                    <a:lnTo>
                      <a:pt x="95" y="189"/>
                    </a:lnTo>
                    <a:lnTo>
                      <a:pt x="114" y="188"/>
                    </a:lnTo>
                    <a:lnTo>
                      <a:pt x="132" y="182"/>
                    </a:lnTo>
                    <a:lnTo>
                      <a:pt x="147" y="173"/>
                    </a:lnTo>
                    <a:lnTo>
                      <a:pt x="162" y="162"/>
                    </a:lnTo>
                    <a:lnTo>
                      <a:pt x="173" y="148"/>
                    </a:lnTo>
                    <a:lnTo>
                      <a:pt x="182" y="132"/>
                    </a:lnTo>
                    <a:lnTo>
                      <a:pt x="188" y="114"/>
                    </a:lnTo>
                    <a:lnTo>
                      <a:pt x="189" y="9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8" name="Freeform 50"/>
              <p:cNvSpPr>
                <a:spLocks/>
              </p:cNvSpPr>
              <p:nvPr/>
            </p:nvSpPr>
            <p:spPr bwMode="auto">
              <a:xfrm>
                <a:off x="3796" y="2547"/>
                <a:ext cx="189" cy="189"/>
              </a:xfrm>
              <a:custGeom>
                <a:avLst/>
                <a:gdLst>
                  <a:gd name="T0" fmla="*/ 189 w 189"/>
                  <a:gd name="T1" fmla="*/ 95 h 189"/>
                  <a:gd name="T2" fmla="*/ 188 w 189"/>
                  <a:gd name="T3" fmla="*/ 76 h 189"/>
                  <a:gd name="T4" fmla="*/ 182 w 189"/>
                  <a:gd name="T5" fmla="*/ 58 h 189"/>
                  <a:gd name="T6" fmla="*/ 173 w 189"/>
                  <a:gd name="T7" fmla="*/ 41 h 189"/>
                  <a:gd name="T8" fmla="*/ 162 w 189"/>
                  <a:gd name="T9" fmla="*/ 27 h 189"/>
                  <a:gd name="T10" fmla="*/ 147 w 189"/>
                  <a:gd name="T11" fmla="*/ 16 h 189"/>
                  <a:gd name="T12" fmla="*/ 132 w 189"/>
                  <a:gd name="T13" fmla="*/ 7 h 189"/>
                  <a:gd name="T14" fmla="*/ 114 w 189"/>
                  <a:gd name="T15" fmla="*/ 1 h 189"/>
                  <a:gd name="T16" fmla="*/ 95 w 189"/>
                  <a:gd name="T17" fmla="*/ 0 h 189"/>
                  <a:gd name="T18" fmla="*/ 76 w 189"/>
                  <a:gd name="T19" fmla="*/ 1 h 189"/>
                  <a:gd name="T20" fmla="*/ 58 w 189"/>
                  <a:gd name="T21" fmla="*/ 7 h 189"/>
                  <a:gd name="T22" fmla="*/ 41 w 189"/>
                  <a:gd name="T23" fmla="*/ 16 h 189"/>
                  <a:gd name="T24" fmla="*/ 27 w 189"/>
                  <a:gd name="T25" fmla="*/ 27 h 189"/>
                  <a:gd name="T26" fmla="*/ 16 w 189"/>
                  <a:gd name="T27" fmla="*/ 41 h 189"/>
                  <a:gd name="T28" fmla="*/ 7 w 189"/>
                  <a:gd name="T29" fmla="*/ 58 h 189"/>
                  <a:gd name="T30" fmla="*/ 1 w 189"/>
                  <a:gd name="T31" fmla="*/ 76 h 189"/>
                  <a:gd name="T32" fmla="*/ 0 w 189"/>
                  <a:gd name="T33" fmla="*/ 95 h 189"/>
                  <a:gd name="T34" fmla="*/ 1 w 189"/>
                  <a:gd name="T35" fmla="*/ 114 h 189"/>
                  <a:gd name="T36" fmla="*/ 7 w 189"/>
                  <a:gd name="T37" fmla="*/ 132 h 189"/>
                  <a:gd name="T38" fmla="*/ 16 w 189"/>
                  <a:gd name="T39" fmla="*/ 148 h 189"/>
                  <a:gd name="T40" fmla="*/ 27 w 189"/>
                  <a:gd name="T41" fmla="*/ 162 h 189"/>
                  <a:gd name="T42" fmla="*/ 41 w 189"/>
                  <a:gd name="T43" fmla="*/ 173 h 189"/>
                  <a:gd name="T44" fmla="*/ 58 w 189"/>
                  <a:gd name="T45" fmla="*/ 182 h 189"/>
                  <a:gd name="T46" fmla="*/ 76 w 189"/>
                  <a:gd name="T47" fmla="*/ 188 h 189"/>
                  <a:gd name="T48" fmla="*/ 95 w 189"/>
                  <a:gd name="T49" fmla="*/ 189 h 189"/>
                  <a:gd name="T50" fmla="*/ 114 w 189"/>
                  <a:gd name="T51" fmla="*/ 188 h 189"/>
                  <a:gd name="T52" fmla="*/ 132 w 189"/>
                  <a:gd name="T53" fmla="*/ 182 h 189"/>
                  <a:gd name="T54" fmla="*/ 147 w 189"/>
                  <a:gd name="T55" fmla="*/ 173 h 189"/>
                  <a:gd name="T56" fmla="*/ 162 w 189"/>
                  <a:gd name="T57" fmla="*/ 162 h 189"/>
                  <a:gd name="T58" fmla="*/ 173 w 189"/>
                  <a:gd name="T59" fmla="*/ 148 h 189"/>
                  <a:gd name="T60" fmla="*/ 182 w 189"/>
                  <a:gd name="T61" fmla="*/ 132 h 189"/>
                  <a:gd name="T62" fmla="*/ 188 w 189"/>
                  <a:gd name="T63" fmla="*/ 114 h 189"/>
                  <a:gd name="T64" fmla="*/ 189 w 189"/>
                  <a:gd name="T65" fmla="*/ 95 h 18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89"/>
                  <a:gd name="T100" fmla="*/ 0 h 189"/>
                  <a:gd name="T101" fmla="*/ 189 w 189"/>
                  <a:gd name="T102" fmla="*/ 189 h 18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89" h="189">
                    <a:moveTo>
                      <a:pt x="189" y="95"/>
                    </a:moveTo>
                    <a:lnTo>
                      <a:pt x="188" y="76"/>
                    </a:lnTo>
                    <a:lnTo>
                      <a:pt x="182" y="58"/>
                    </a:lnTo>
                    <a:lnTo>
                      <a:pt x="173" y="41"/>
                    </a:lnTo>
                    <a:lnTo>
                      <a:pt x="162" y="27"/>
                    </a:lnTo>
                    <a:lnTo>
                      <a:pt x="147" y="16"/>
                    </a:lnTo>
                    <a:lnTo>
                      <a:pt x="132" y="7"/>
                    </a:lnTo>
                    <a:lnTo>
                      <a:pt x="114" y="1"/>
                    </a:lnTo>
                    <a:lnTo>
                      <a:pt x="95" y="0"/>
                    </a:lnTo>
                    <a:lnTo>
                      <a:pt x="76" y="1"/>
                    </a:lnTo>
                    <a:lnTo>
                      <a:pt x="58" y="7"/>
                    </a:lnTo>
                    <a:lnTo>
                      <a:pt x="41" y="16"/>
                    </a:lnTo>
                    <a:lnTo>
                      <a:pt x="27" y="27"/>
                    </a:lnTo>
                    <a:lnTo>
                      <a:pt x="16" y="41"/>
                    </a:lnTo>
                    <a:lnTo>
                      <a:pt x="7" y="58"/>
                    </a:lnTo>
                    <a:lnTo>
                      <a:pt x="1" y="76"/>
                    </a:lnTo>
                    <a:lnTo>
                      <a:pt x="0" y="95"/>
                    </a:lnTo>
                    <a:lnTo>
                      <a:pt x="1" y="114"/>
                    </a:lnTo>
                    <a:lnTo>
                      <a:pt x="7" y="132"/>
                    </a:lnTo>
                    <a:lnTo>
                      <a:pt x="16" y="148"/>
                    </a:lnTo>
                    <a:lnTo>
                      <a:pt x="27" y="162"/>
                    </a:lnTo>
                    <a:lnTo>
                      <a:pt x="41" y="173"/>
                    </a:lnTo>
                    <a:lnTo>
                      <a:pt x="58" y="182"/>
                    </a:lnTo>
                    <a:lnTo>
                      <a:pt x="76" y="188"/>
                    </a:lnTo>
                    <a:lnTo>
                      <a:pt x="95" y="189"/>
                    </a:lnTo>
                    <a:lnTo>
                      <a:pt x="114" y="188"/>
                    </a:lnTo>
                    <a:lnTo>
                      <a:pt x="132" y="182"/>
                    </a:lnTo>
                    <a:lnTo>
                      <a:pt x="147" y="173"/>
                    </a:lnTo>
                    <a:lnTo>
                      <a:pt x="162" y="162"/>
                    </a:lnTo>
                    <a:lnTo>
                      <a:pt x="173" y="148"/>
                    </a:lnTo>
                    <a:lnTo>
                      <a:pt x="182" y="132"/>
                    </a:lnTo>
                    <a:lnTo>
                      <a:pt x="188" y="114"/>
                    </a:lnTo>
                    <a:lnTo>
                      <a:pt x="189" y="9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199" name="Freeform 51"/>
              <p:cNvSpPr>
                <a:spLocks/>
              </p:cNvSpPr>
              <p:nvPr/>
            </p:nvSpPr>
            <p:spPr bwMode="auto">
              <a:xfrm>
                <a:off x="4006" y="1142"/>
                <a:ext cx="176" cy="174"/>
              </a:xfrm>
              <a:custGeom>
                <a:avLst/>
                <a:gdLst>
                  <a:gd name="T0" fmla="*/ 176 w 176"/>
                  <a:gd name="T1" fmla="*/ 87 h 174"/>
                  <a:gd name="T2" fmla="*/ 173 w 176"/>
                  <a:gd name="T3" fmla="*/ 68 h 174"/>
                  <a:gd name="T4" fmla="*/ 167 w 176"/>
                  <a:gd name="T5" fmla="*/ 49 h 174"/>
                  <a:gd name="T6" fmla="*/ 156 w 176"/>
                  <a:gd name="T7" fmla="*/ 33 h 174"/>
                  <a:gd name="T8" fmla="*/ 143 w 176"/>
                  <a:gd name="T9" fmla="*/ 19 h 174"/>
                  <a:gd name="T10" fmla="*/ 126 w 176"/>
                  <a:gd name="T11" fmla="*/ 9 h 174"/>
                  <a:gd name="T12" fmla="*/ 108 w 176"/>
                  <a:gd name="T13" fmla="*/ 2 h 174"/>
                  <a:gd name="T14" fmla="*/ 88 w 176"/>
                  <a:gd name="T15" fmla="*/ 0 h 174"/>
                  <a:gd name="T16" fmla="*/ 68 w 176"/>
                  <a:gd name="T17" fmla="*/ 2 h 174"/>
                  <a:gd name="T18" fmla="*/ 49 w 176"/>
                  <a:gd name="T19" fmla="*/ 9 h 174"/>
                  <a:gd name="T20" fmla="*/ 33 w 176"/>
                  <a:gd name="T21" fmla="*/ 19 h 174"/>
                  <a:gd name="T22" fmla="*/ 19 w 176"/>
                  <a:gd name="T23" fmla="*/ 33 h 174"/>
                  <a:gd name="T24" fmla="*/ 9 w 176"/>
                  <a:gd name="T25" fmla="*/ 49 h 174"/>
                  <a:gd name="T26" fmla="*/ 3 w 176"/>
                  <a:gd name="T27" fmla="*/ 68 h 174"/>
                  <a:gd name="T28" fmla="*/ 0 w 176"/>
                  <a:gd name="T29" fmla="*/ 87 h 174"/>
                  <a:gd name="T30" fmla="*/ 3 w 176"/>
                  <a:gd name="T31" fmla="*/ 108 h 174"/>
                  <a:gd name="T32" fmla="*/ 9 w 176"/>
                  <a:gd name="T33" fmla="*/ 126 h 174"/>
                  <a:gd name="T34" fmla="*/ 19 w 176"/>
                  <a:gd name="T35" fmla="*/ 142 h 174"/>
                  <a:gd name="T36" fmla="*/ 33 w 176"/>
                  <a:gd name="T37" fmla="*/ 156 h 174"/>
                  <a:gd name="T38" fmla="*/ 49 w 176"/>
                  <a:gd name="T39" fmla="*/ 166 h 174"/>
                  <a:gd name="T40" fmla="*/ 68 w 176"/>
                  <a:gd name="T41" fmla="*/ 172 h 174"/>
                  <a:gd name="T42" fmla="*/ 88 w 176"/>
                  <a:gd name="T43" fmla="*/ 174 h 174"/>
                  <a:gd name="T44" fmla="*/ 108 w 176"/>
                  <a:gd name="T45" fmla="*/ 172 h 174"/>
                  <a:gd name="T46" fmla="*/ 126 w 176"/>
                  <a:gd name="T47" fmla="*/ 166 h 174"/>
                  <a:gd name="T48" fmla="*/ 143 w 176"/>
                  <a:gd name="T49" fmla="*/ 156 h 174"/>
                  <a:gd name="T50" fmla="*/ 156 w 176"/>
                  <a:gd name="T51" fmla="*/ 142 h 174"/>
                  <a:gd name="T52" fmla="*/ 167 w 176"/>
                  <a:gd name="T53" fmla="*/ 126 h 174"/>
                  <a:gd name="T54" fmla="*/ 173 w 176"/>
                  <a:gd name="T55" fmla="*/ 108 h 174"/>
                  <a:gd name="T56" fmla="*/ 176 w 176"/>
                  <a:gd name="T57" fmla="*/ 87 h 17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6"/>
                  <a:gd name="T88" fmla="*/ 0 h 174"/>
                  <a:gd name="T89" fmla="*/ 176 w 176"/>
                  <a:gd name="T90" fmla="*/ 174 h 17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6" h="174">
                    <a:moveTo>
                      <a:pt x="176" y="87"/>
                    </a:moveTo>
                    <a:lnTo>
                      <a:pt x="173" y="68"/>
                    </a:lnTo>
                    <a:lnTo>
                      <a:pt x="167" y="49"/>
                    </a:lnTo>
                    <a:lnTo>
                      <a:pt x="156" y="33"/>
                    </a:lnTo>
                    <a:lnTo>
                      <a:pt x="143" y="19"/>
                    </a:lnTo>
                    <a:lnTo>
                      <a:pt x="126" y="9"/>
                    </a:lnTo>
                    <a:lnTo>
                      <a:pt x="108" y="2"/>
                    </a:lnTo>
                    <a:lnTo>
                      <a:pt x="88" y="0"/>
                    </a:lnTo>
                    <a:lnTo>
                      <a:pt x="68" y="2"/>
                    </a:lnTo>
                    <a:lnTo>
                      <a:pt x="49" y="9"/>
                    </a:lnTo>
                    <a:lnTo>
                      <a:pt x="33" y="19"/>
                    </a:lnTo>
                    <a:lnTo>
                      <a:pt x="19" y="33"/>
                    </a:lnTo>
                    <a:lnTo>
                      <a:pt x="9" y="49"/>
                    </a:lnTo>
                    <a:lnTo>
                      <a:pt x="3" y="68"/>
                    </a:lnTo>
                    <a:lnTo>
                      <a:pt x="0" y="87"/>
                    </a:lnTo>
                    <a:lnTo>
                      <a:pt x="3" y="108"/>
                    </a:lnTo>
                    <a:lnTo>
                      <a:pt x="9" y="126"/>
                    </a:lnTo>
                    <a:lnTo>
                      <a:pt x="19" y="142"/>
                    </a:lnTo>
                    <a:lnTo>
                      <a:pt x="33" y="156"/>
                    </a:lnTo>
                    <a:lnTo>
                      <a:pt x="49" y="166"/>
                    </a:lnTo>
                    <a:lnTo>
                      <a:pt x="68" y="172"/>
                    </a:lnTo>
                    <a:lnTo>
                      <a:pt x="88" y="174"/>
                    </a:lnTo>
                    <a:lnTo>
                      <a:pt x="108" y="172"/>
                    </a:lnTo>
                    <a:lnTo>
                      <a:pt x="126" y="166"/>
                    </a:lnTo>
                    <a:lnTo>
                      <a:pt x="143" y="156"/>
                    </a:lnTo>
                    <a:lnTo>
                      <a:pt x="156" y="142"/>
                    </a:lnTo>
                    <a:lnTo>
                      <a:pt x="167" y="126"/>
                    </a:lnTo>
                    <a:lnTo>
                      <a:pt x="173" y="108"/>
                    </a:lnTo>
                    <a:lnTo>
                      <a:pt x="176" y="8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0" name="Freeform 52"/>
              <p:cNvSpPr>
                <a:spLocks/>
              </p:cNvSpPr>
              <p:nvPr/>
            </p:nvSpPr>
            <p:spPr bwMode="auto">
              <a:xfrm>
                <a:off x="4006" y="1142"/>
                <a:ext cx="176" cy="174"/>
              </a:xfrm>
              <a:custGeom>
                <a:avLst/>
                <a:gdLst>
                  <a:gd name="T0" fmla="*/ 176 w 176"/>
                  <a:gd name="T1" fmla="*/ 87 h 174"/>
                  <a:gd name="T2" fmla="*/ 173 w 176"/>
                  <a:gd name="T3" fmla="*/ 68 h 174"/>
                  <a:gd name="T4" fmla="*/ 167 w 176"/>
                  <a:gd name="T5" fmla="*/ 49 h 174"/>
                  <a:gd name="T6" fmla="*/ 156 w 176"/>
                  <a:gd name="T7" fmla="*/ 33 h 174"/>
                  <a:gd name="T8" fmla="*/ 143 w 176"/>
                  <a:gd name="T9" fmla="*/ 19 h 174"/>
                  <a:gd name="T10" fmla="*/ 126 w 176"/>
                  <a:gd name="T11" fmla="*/ 9 h 174"/>
                  <a:gd name="T12" fmla="*/ 108 w 176"/>
                  <a:gd name="T13" fmla="*/ 2 h 174"/>
                  <a:gd name="T14" fmla="*/ 88 w 176"/>
                  <a:gd name="T15" fmla="*/ 0 h 174"/>
                  <a:gd name="T16" fmla="*/ 68 w 176"/>
                  <a:gd name="T17" fmla="*/ 2 h 174"/>
                  <a:gd name="T18" fmla="*/ 49 w 176"/>
                  <a:gd name="T19" fmla="*/ 9 h 174"/>
                  <a:gd name="T20" fmla="*/ 33 w 176"/>
                  <a:gd name="T21" fmla="*/ 19 h 174"/>
                  <a:gd name="T22" fmla="*/ 19 w 176"/>
                  <a:gd name="T23" fmla="*/ 33 h 174"/>
                  <a:gd name="T24" fmla="*/ 9 w 176"/>
                  <a:gd name="T25" fmla="*/ 49 h 174"/>
                  <a:gd name="T26" fmla="*/ 3 w 176"/>
                  <a:gd name="T27" fmla="*/ 68 h 174"/>
                  <a:gd name="T28" fmla="*/ 0 w 176"/>
                  <a:gd name="T29" fmla="*/ 87 h 174"/>
                  <a:gd name="T30" fmla="*/ 3 w 176"/>
                  <a:gd name="T31" fmla="*/ 108 h 174"/>
                  <a:gd name="T32" fmla="*/ 9 w 176"/>
                  <a:gd name="T33" fmla="*/ 126 h 174"/>
                  <a:gd name="T34" fmla="*/ 19 w 176"/>
                  <a:gd name="T35" fmla="*/ 142 h 174"/>
                  <a:gd name="T36" fmla="*/ 33 w 176"/>
                  <a:gd name="T37" fmla="*/ 156 h 174"/>
                  <a:gd name="T38" fmla="*/ 49 w 176"/>
                  <a:gd name="T39" fmla="*/ 166 h 174"/>
                  <a:gd name="T40" fmla="*/ 68 w 176"/>
                  <a:gd name="T41" fmla="*/ 172 h 174"/>
                  <a:gd name="T42" fmla="*/ 88 w 176"/>
                  <a:gd name="T43" fmla="*/ 174 h 174"/>
                  <a:gd name="T44" fmla="*/ 108 w 176"/>
                  <a:gd name="T45" fmla="*/ 172 h 174"/>
                  <a:gd name="T46" fmla="*/ 126 w 176"/>
                  <a:gd name="T47" fmla="*/ 166 h 174"/>
                  <a:gd name="T48" fmla="*/ 143 w 176"/>
                  <a:gd name="T49" fmla="*/ 156 h 174"/>
                  <a:gd name="T50" fmla="*/ 156 w 176"/>
                  <a:gd name="T51" fmla="*/ 142 h 174"/>
                  <a:gd name="T52" fmla="*/ 167 w 176"/>
                  <a:gd name="T53" fmla="*/ 126 h 174"/>
                  <a:gd name="T54" fmla="*/ 173 w 176"/>
                  <a:gd name="T55" fmla="*/ 108 h 174"/>
                  <a:gd name="T56" fmla="*/ 176 w 176"/>
                  <a:gd name="T57" fmla="*/ 87 h 17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6"/>
                  <a:gd name="T88" fmla="*/ 0 h 174"/>
                  <a:gd name="T89" fmla="*/ 176 w 176"/>
                  <a:gd name="T90" fmla="*/ 174 h 17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6" h="174">
                    <a:moveTo>
                      <a:pt x="176" y="87"/>
                    </a:moveTo>
                    <a:lnTo>
                      <a:pt x="173" y="68"/>
                    </a:lnTo>
                    <a:lnTo>
                      <a:pt x="167" y="49"/>
                    </a:lnTo>
                    <a:lnTo>
                      <a:pt x="156" y="33"/>
                    </a:lnTo>
                    <a:lnTo>
                      <a:pt x="143" y="19"/>
                    </a:lnTo>
                    <a:lnTo>
                      <a:pt x="126" y="9"/>
                    </a:lnTo>
                    <a:lnTo>
                      <a:pt x="108" y="2"/>
                    </a:lnTo>
                    <a:lnTo>
                      <a:pt x="88" y="0"/>
                    </a:lnTo>
                    <a:lnTo>
                      <a:pt x="68" y="2"/>
                    </a:lnTo>
                    <a:lnTo>
                      <a:pt x="49" y="9"/>
                    </a:lnTo>
                    <a:lnTo>
                      <a:pt x="33" y="19"/>
                    </a:lnTo>
                    <a:lnTo>
                      <a:pt x="19" y="33"/>
                    </a:lnTo>
                    <a:lnTo>
                      <a:pt x="9" y="49"/>
                    </a:lnTo>
                    <a:lnTo>
                      <a:pt x="3" y="68"/>
                    </a:lnTo>
                    <a:lnTo>
                      <a:pt x="0" y="87"/>
                    </a:lnTo>
                    <a:lnTo>
                      <a:pt x="3" y="108"/>
                    </a:lnTo>
                    <a:lnTo>
                      <a:pt x="9" y="126"/>
                    </a:lnTo>
                    <a:lnTo>
                      <a:pt x="19" y="142"/>
                    </a:lnTo>
                    <a:lnTo>
                      <a:pt x="33" y="156"/>
                    </a:lnTo>
                    <a:lnTo>
                      <a:pt x="49" y="166"/>
                    </a:lnTo>
                    <a:lnTo>
                      <a:pt x="68" y="172"/>
                    </a:lnTo>
                    <a:lnTo>
                      <a:pt x="88" y="174"/>
                    </a:lnTo>
                    <a:lnTo>
                      <a:pt x="108" y="172"/>
                    </a:lnTo>
                    <a:lnTo>
                      <a:pt x="126" y="166"/>
                    </a:lnTo>
                    <a:lnTo>
                      <a:pt x="143" y="156"/>
                    </a:lnTo>
                    <a:lnTo>
                      <a:pt x="156" y="142"/>
                    </a:lnTo>
                    <a:lnTo>
                      <a:pt x="167" y="126"/>
                    </a:lnTo>
                    <a:lnTo>
                      <a:pt x="173" y="108"/>
                    </a:lnTo>
                    <a:lnTo>
                      <a:pt x="176" y="8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1" name="Freeform 53"/>
              <p:cNvSpPr>
                <a:spLocks/>
              </p:cNvSpPr>
              <p:nvPr/>
            </p:nvSpPr>
            <p:spPr bwMode="auto">
              <a:xfrm>
                <a:off x="4417" y="1012"/>
                <a:ext cx="174" cy="173"/>
              </a:xfrm>
              <a:custGeom>
                <a:avLst/>
                <a:gdLst>
                  <a:gd name="T0" fmla="*/ 174 w 174"/>
                  <a:gd name="T1" fmla="*/ 86 h 173"/>
                  <a:gd name="T2" fmla="*/ 172 w 174"/>
                  <a:gd name="T3" fmla="*/ 66 h 173"/>
                  <a:gd name="T4" fmla="*/ 165 w 174"/>
                  <a:gd name="T5" fmla="*/ 48 h 173"/>
                  <a:gd name="T6" fmla="*/ 155 w 174"/>
                  <a:gd name="T7" fmla="*/ 32 h 173"/>
                  <a:gd name="T8" fmla="*/ 141 w 174"/>
                  <a:gd name="T9" fmla="*/ 18 h 173"/>
                  <a:gd name="T10" fmla="*/ 125 w 174"/>
                  <a:gd name="T11" fmla="*/ 8 h 173"/>
                  <a:gd name="T12" fmla="*/ 106 w 174"/>
                  <a:gd name="T13" fmla="*/ 2 h 173"/>
                  <a:gd name="T14" fmla="*/ 87 w 174"/>
                  <a:gd name="T15" fmla="*/ 0 h 173"/>
                  <a:gd name="T16" fmla="*/ 67 w 174"/>
                  <a:gd name="T17" fmla="*/ 2 h 173"/>
                  <a:gd name="T18" fmla="*/ 49 w 174"/>
                  <a:gd name="T19" fmla="*/ 8 h 173"/>
                  <a:gd name="T20" fmla="*/ 32 w 174"/>
                  <a:gd name="T21" fmla="*/ 18 h 173"/>
                  <a:gd name="T22" fmla="*/ 19 w 174"/>
                  <a:gd name="T23" fmla="*/ 32 h 173"/>
                  <a:gd name="T24" fmla="*/ 9 w 174"/>
                  <a:gd name="T25" fmla="*/ 48 h 173"/>
                  <a:gd name="T26" fmla="*/ 3 w 174"/>
                  <a:gd name="T27" fmla="*/ 66 h 173"/>
                  <a:gd name="T28" fmla="*/ 0 w 174"/>
                  <a:gd name="T29" fmla="*/ 86 h 173"/>
                  <a:gd name="T30" fmla="*/ 3 w 174"/>
                  <a:gd name="T31" fmla="*/ 106 h 173"/>
                  <a:gd name="T32" fmla="*/ 9 w 174"/>
                  <a:gd name="T33" fmla="*/ 124 h 173"/>
                  <a:gd name="T34" fmla="*/ 19 w 174"/>
                  <a:gd name="T35" fmla="*/ 140 h 173"/>
                  <a:gd name="T36" fmla="*/ 32 w 174"/>
                  <a:gd name="T37" fmla="*/ 154 h 173"/>
                  <a:gd name="T38" fmla="*/ 49 w 174"/>
                  <a:gd name="T39" fmla="*/ 165 h 173"/>
                  <a:gd name="T40" fmla="*/ 67 w 174"/>
                  <a:gd name="T41" fmla="*/ 171 h 173"/>
                  <a:gd name="T42" fmla="*/ 87 w 174"/>
                  <a:gd name="T43" fmla="*/ 173 h 173"/>
                  <a:gd name="T44" fmla="*/ 106 w 174"/>
                  <a:gd name="T45" fmla="*/ 171 h 173"/>
                  <a:gd name="T46" fmla="*/ 125 w 174"/>
                  <a:gd name="T47" fmla="*/ 165 h 173"/>
                  <a:gd name="T48" fmla="*/ 141 w 174"/>
                  <a:gd name="T49" fmla="*/ 154 h 173"/>
                  <a:gd name="T50" fmla="*/ 155 w 174"/>
                  <a:gd name="T51" fmla="*/ 140 h 173"/>
                  <a:gd name="T52" fmla="*/ 165 w 174"/>
                  <a:gd name="T53" fmla="*/ 124 h 173"/>
                  <a:gd name="T54" fmla="*/ 172 w 174"/>
                  <a:gd name="T55" fmla="*/ 106 h 173"/>
                  <a:gd name="T56" fmla="*/ 174 w 174"/>
                  <a:gd name="T57" fmla="*/ 86 h 17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4"/>
                  <a:gd name="T88" fmla="*/ 0 h 173"/>
                  <a:gd name="T89" fmla="*/ 174 w 174"/>
                  <a:gd name="T90" fmla="*/ 173 h 17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4" h="173">
                    <a:moveTo>
                      <a:pt x="174" y="86"/>
                    </a:moveTo>
                    <a:lnTo>
                      <a:pt x="172" y="66"/>
                    </a:lnTo>
                    <a:lnTo>
                      <a:pt x="165" y="48"/>
                    </a:lnTo>
                    <a:lnTo>
                      <a:pt x="155" y="32"/>
                    </a:lnTo>
                    <a:lnTo>
                      <a:pt x="141" y="18"/>
                    </a:lnTo>
                    <a:lnTo>
                      <a:pt x="125" y="8"/>
                    </a:lnTo>
                    <a:lnTo>
                      <a:pt x="106" y="2"/>
                    </a:lnTo>
                    <a:lnTo>
                      <a:pt x="87" y="0"/>
                    </a:lnTo>
                    <a:lnTo>
                      <a:pt x="67" y="2"/>
                    </a:lnTo>
                    <a:lnTo>
                      <a:pt x="49" y="8"/>
                    </a:lnTo>
                    <a:lnTo>
                      <a:pt x="32" y="18"/>
                    </a:lnTo>
                    <a:lnTo>
                      <a:pt x="19" y="32"/>
                    </a:lnTo>
                    <a:lnTo>
                      <a:pt x="9" y="48"/>
                    </a:lnTo>
                    <a:lnTo>
                      <a:pt x="3" y="66"/>
                    </a:lnTo>
                    <a:lnTo>
                      <a:pt x="0" y="86"/>
                    </a:lnTo>
                    <a:lnTo>
                      <a:pt x="3" y="106"/>
                    </a:lnTo>
                    <a:lnTo>
                      <a:pt x="9" y="124"/>
                    </a:lnTo>
                    <a:lnTo>
                      <a:pt x="19" y="140"/>
                    </a:lnTo>
                    <a:lnTo>
                      <a:pt x="32" y="154"/>
                    </a:lnTo>
                    <a:lnTo>
                      <a:pt x="49" y="165"/>
                    </a:lnTo>
                    <a:lnTo>
                      <a:pt x="67" y="171"/>
                    </a:lnTo>
                    <a:lnTo>
                      <a:pt x="87" y="173"/>
                    </a:lnTo>
                    <a:lnTo>
                      <a:pt x="106" y="171"/>
                    </a:lnTo>
                    <a:lnTo>
                      <a:pt x="125" y="165"/>
                    </a:lnTo>
                    <a:lnTo>
                      <a:pt x="141" y="154"/>
                    </a:lnTo>
                    <a:lnTo>
                      <a:pt x="155" y="140"/>
                    </a:lnTo>
                    <a:lnTo>
                      <a:pt x="165" y="124"/>
                    </a:lnTo>
                    <a:lnTo>
                      <a:pt x="172" y="106"/>
                    </a:lnTo>
                    <a:lnTo>
                      <a:pt x="174" y="8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2" name="Freeform 54"/>
              <p:cNvSpPr>
                <a:spLocks/>
              </p:cNvSpPr>
              <p:nvPr/>
            </p:nvSpPr>
            <p:spPr bwMode="auto">
              <a:xfrm>
                <a:off x="4417" y="1012"/>
                <a:ext cx="174" cy="173"/>
              </a:xfrm>
              <a:custGeom>
                <a:avLst/>
                <a:gdLst>
                  <a:gd name="T0" fmla="*/ 174 w 174"/>
                  <a:gd name="T1" fmla="*/ 86 h 173"/>
                  <a:gd name="T2" fmla="*/ 172 w 174"/>
                  <a:gd name="T3" fmla="*/ 66 h 173"/>
                  <a:gd name="T4" fmla="*/ 165 w 174"/>
                  <a:gd name="T5" fmla="*/ 48 h 173"/>
                  <a:gd name="T6" fmla="*/ 155 w 174"/>
                  <a:gd name="T7" fmla="*/ 32 h 173"/>
                  <a:gd name="T8" fmla="*/ 141 w 174"/>
                  <a:gd name="T9" fmla="*/ 18 h 173"/>
                  <a:gd name="T10" fmla="*/ 125 w 174"/>
                  <a:gd name="T11" fmla="*/ 8 h 173"/>
                  <a:gd name="T12" fmla="*/ 106 w 174"/>
                  <a:gd name="T13" fmla="*/ 2 h 173"/>
                  <a:gd name="T14" fmla="*/ 87 w 174"/>
                  <a:gd name="T15" fmla="*/ 0 h 173"/>
                  <a:gd name="T16" fmla="*/ 67 w 174"/>
                  <a:gd name="T17" fmla="*/ 2 h 173"/>
                  <a:gd name="T18" fmla="*/ 49 w 174"/>
                  <a:gd name="T19" fmla="*/ 8 h 173"/>
                  <a:gd name="T20" fmla="*/ 32 w 174"/>
                  <a:gd name="T21" fmla="*/ 18 h 173"/>
                  <a:gd name="T22" fmla="*/ 19 w 174"/>
                  <a:gd name="T23" fmla="*/ 32 h 173"/>
                  <a:gd name="T24" fmla="*/ 9 w 174"/>
                  <a:gd name="T25" fmla="*/ 48 h 173"/>
                  <a:gd name="T26" fmla="*/ 3 w 174"/>
                  <a:gd name="T27" fmla="*/ 66 h 173"/>
                  <a:gd name="T28" fmla="*/ 0 w 174"/>
                  <a:gd name="T29" fmla="*/ 86 h 173"/>
                  <a:gd name="T30" fmla="*/ 3 w 174"/>
                  <a:gd name="T31" fmla="*/ 106 h 173"/>
                  <a:gd name="T32" fmla="*/ 9 w 174"/>
                  <a:gd name="T33" fmla="*/ 124 h 173"/>
                  <a:gd name="T34" fmla="*/ 19 w 174"/>
                  <a:gd name="T35" fmla="*/ 140 h 173"/>
                  <a:gd name="T36" fmla="*/ 32 w 174"/>
                  <a:gd name="T37" fmla="*/ 154 h 173"/>
                  <a:gd name="T38" fmla="*/ 49 w 174"/>
                  <a:gd name="T39" fmla="*/ 165 h 173"/>
                  <a:gd name="T40" fmla="*/ 67 w 174"/>
                  <a:gd name="T41" fmla="*/ 171 h 173"/>
                  <a:gd name="T42" fmla="*/ 87 w 174"/>
                  <a:gd name="T43" fmla="*/ 173 h 173"/>
                  <a:gd name="T44" fmla="*/ 106 w 174"/>
                  <a:gd name="T45" fmla="*/ 171 h 173"/>
                  <a:gd name="T46" fmla="*/ 125 w 174"/>
                  <a:gd name="T47" fmla="*/ 165 h 173"/>
                  <a:gd name="T48" fmla="*/ 141 w 174"/>
                  <a:gd name="T49" fmla="*/ 154 h 173"/>
                  <a:gd name="T50" fmla="*/ 155 w 174"/>
                  <a:gd name="T51" fmla="*/ 140 h 173"/>
                  <a:gd name="T52" fmla="*/ 165 w 174"/>
                  <a:gd name="T53" fmla="*/ 124 h 173"/>
                  <a:gd name="T54" fmla="*/ 172 w 174"/>
                  <a:gd name="T55" fmla="*/ 106 h 173"/>
                  <a:gd name="T56" fmla="*/ 174 w 174"/>
                  <a:gd name="T57" fmla="*/ 86 h 173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74"/>
                  <a:gd name="T88" fmla="*/ 0 h 173"/>
                  <a:gd name="T89" fmla="*/ 174 w 174"/>
                  <a:gd name="T90" fmla="*/ 173 h 173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74" h="173">
                    <a:moveTo>
                      <a:pt x="174" y="86"/>
                    </a:moveTo>
                    <a:lnTo>
                      <a:pt x="172" y="66"/>
                    </a:lnTo>
                    <a:lnTo>
                      <a:pt x="165" y="48"/>
                    </a:lnTo>
                    <a:lnTo>
                      <a:pt x="155" y="32"/>
                    </a:lnTo>
                    <a:lnTo>
                      <a:pt x="141" y="18"/>
                    </a:lnTo>
                    <a:lnTo>
                      <a:pt x="125" y="8"/>
                    </a:lnTo>
                    <a:lnTo>
                      <a:pt x="106" y="2"/>
                    </a:lnTo>
                    <a:lnTo>
                      <a:pt x="87" y="0"/>
                    </a:lnTo>
                    <a:lnTo>
                      <a:pt x="67" y="2"/>
                    </a:lnTo>
                    <a:lnTo>
                      <a:pt x="49" y="8"/>
                    </a:lnTo>
                    <a:lnTo>
                      <a:pt x="32" y="18"/>
                    </a:lnTo>
                    <a:lnTo>
                      <a:pt x="19" y="32"/>
                    </a:lnTo>
                    <a:lnTo>
                      <a:pt x="9" y="48"/>
                    </a:lnTo>
                    <a:lnTo>
                      <a:pt x="3" y="66"/>
                    </a:lnTo>
                    <a:lnTo>
                      <a:pt x="0" y="86"/>
                    </a:lnTo>
                    <a:lnTo>
                      <a:pt x="3" y="106"/>
                    </a:lnTo>
                    <a:lnTo>
                      <a:pt x="9" y="124"/>
                    </a:lnTo>
                    <a:lnTo>
                      <a:pt x="19" y="140"/>
                    </a:lnTo>
                    <a:lnTo>
                      <a:pt x="32" y="154"/>
                    </a:lnTo>
                    <a:lnTo>
                      <a:pt x="49" y="165"/>
                    </a:lnTo>
                    <a:lnTo>
                      <a:pt x="67" y="171"/>
                    </a:lnTo>
                    <a:lnTo>
                      <a:pt x="87" y="173"/>
                    </a:lnTo>
                    <a:lnTo>
                      <a:pt x="106" y="171"/>
                    </a:lnTo>
                    <a:lnTo>
                      <a:pt x="125" y="165"/>
                    </a:lnTo>
                    <a:lnTo>
                      <a:pt x="141" y="154"/>
                    </a:lnTo>
                    <a:lnTo>
                      <a:pt x="155" y="140"/>
                    </a:lnTo>
                    <a:lnTo>
                      <a:pt x="165" y="124"/>
                    </a:lnTo>
                    <a:lnTo>
                      <a:pt x="172" y="106"/>
                    </a:lnTo>
                    <a:lnTo>
                      <a:pt x="174" y="8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3" name="Freeform 55"/>
              <p:cNvSpPr>
                <a:spLocks/>
              </p:cNvSpPr>
              <p:nvPr/>
            </p:nvSpPr>
            <p:spPr bwMode="auto">
              <a:xfrm>
                <a:off x="3802" y="2544"/>
                <a:ext cx="161" cy="162"/>
              </a:xfrm>
              <a:custGeom>
                <a:avLst/>
                <a:gdLst>
                  <a:gd name="T0" fmla="*/ 161 w 161"/>
                  <a:gd name="T1" fmla="*/ 81 h 162"/>
                  <a:gd name="T2" fmla="*/ 159 w 161"/>
                  <a:gd name="T3" fmla="*/ 63 h 162"/>
                  <a:gd name="T4" fmla="*/ 153 w 161"/>
                  <a:gd name="T5" fmla="*/ 45 h 162"/>
                  <a:gd name="T6" fmla="*/ 143 w 161"/>
                  <a:gd name="T7" fmla="*/ 30 h 162"/>
                  <a:gd name="T8" fmla="*/ 130 w 161"/>
                  <a:gd name="T9" fmla="*/ 19 h 162"/>
                  <a:gd name="T10" fmla="*/ 116 w 161"/>
                  <a:gd name="T11" fmla="*/ 8 h 162"/>
                  <a:gd name="T12" fmla="*/ 99 w 161"/>
                  <a:gd name="T13" fmla="*/ 3 h 162"/>
                  <a:gd name="T14" fmla="*/ 80 w 161"/>
                  <a:gd name="T15" fmla="*/ 0 h 162"/>
                  <a:gd name="T16" fmla="*/ 62 w 161"/>
                  <a:gd name="T17" fmla="*/ 3 h 162"/>
                  <a:gd name="T18" fmla="*/ 45 w 161"/>
                  <a:gd name="T19" fmla="*/ 8 h 162"/>
                  <a:gd name="T20" fmla="*/ 30 w 161"/>
                  <a:gd name="T21" fmla="*/ 19 h 162"/>
                  <a:gd name="T22" fmla="*/ 18 w 161"/>
                  <a:gd name="T23" fmla="*/ 30 h 162"/>
                  <a:gd name="T24" fmla="*/ 8 w 161"/>
                  <a:gd name="T25" fmla="*/ 45 h 162"/>
                  <a:gd name="T26" fmla="*/ 2 w 161"/>
                  <a:gd name="T27" fmla="*/ 63 h 162"/>
                  <a:gd name="T28" fmla="*/ 0 w 161"/>
                  <a:gd name="T29" fmla="*/ 81 h 162"/>
                  <a:gd name="T30" fmla="*/ 2 w 161"/>
                  <a:gd name="T31" fmla="*/ 99 h 162"/>
                  <a:gd name="T32" fmla="*/ 8 w 161"/>
                  <a:gd name="T33" fmla="*/ 116 h 162"/>
                  <a:gd name="T34" fmla="*/ 18 w 161"/>
                  <a:gd name="T35" fmla="*/ 131 h 162"/>
                  <a:gd name="T36" fmla="*/ 30 w 161"/>
                  <a:gd name="T37" fmla="*/ 143 h 162"/>
                  <a:gd name="T38" fmla="*/ 45 w 161"/>
                  <a:gd name="T39" fmla="*/ 154 h 162"/>
                  <a:gd name="T40" fmla="*/ 62 w 161"/>
                  <a:gd name="T41" fmla="*/ 159 h 162"/>
                  <a:gd name="T42" fmla="*/ 80 w 161"/>
                  <a:gd name="T43" fmla="*/ 162 h 162"/>
                  <a:gd name="T44" fmla="*/ 99 w 161"/>
                  <a:gd name="T45" fmla="*/ 159 h 162"/>
                  <a:gd name="T46" fmla="*/ 116 w 161"/>
                  <a:gd name="T47" fmla="*/ 154 h 162"/>
                  <a:gd name="T48" fmla="*/ 130 w 161"/>
                  <a:gd name="T49" fmla="*/ 143 h 162"/>
                  <a:gd name="T50" fmla="*/ 143 w 161"/>
                  <a:gd name="T51" fmla="*/ 131 h 162"/>
                  <a:gd name="T52" fmla="*/ 153 w 161"/>
                  <a:gd name="T53" fmla="*/ 116 h 162"/>
                  <a:gd name="T54" fmla="*/ 159 w 161"/>
                  <a:gd name="T55" fmla="*/ 99 h 162"/>
                  <a:gd name="T56" fmla="*/ 161 w 161"/>
                  <a:gd name="T57" fmla="*/ 81 h 1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61"/>
                  <a:gd name="T88" fmla="*/ 0 h 162"/>
                  <a:gd name="T89" fmla="*/ 161 w 161"/>
                  <a:gd name="T90" fmla="*/ 162 h 162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61" h="162">
                    <a:moveTo>
                      <a:pt x="161" y="81"/>
                    </a:moveTo>
                    <a:lnTo>
                      <a:pt x="159" y="63"/>
                    </a:lnTo>
                    <a:lnTo>
                      <a:pt x="153" y="45"/>
                    </a:lnTo>
                    <a:lnTo>
                      <a:pt x="143" y="30"/>
                    </a:lnTo>
                    <a:lnTo>
                      <a:pt x="130" y="19"/>
                    </a:lnTo>
                    <a:lnTo>
                      <a:pt x="116" y="8"/>
                    </a:lnTo>
                    <a:lnTo>
                      <a:pt x="99" y="3"/>
                    </a:lnTo>
                    <a:lnTo>
                      <a:pt x="80" y="0"/>
                    </a:lnTo>
                    <a:lnTo>
                      <a:pt x="62" y="3"/>
                    </a:lnTo>
                    <a:lnTo>
                      <a:pt x="45" y="8"/>
                    </a:lnTo>
                    <a:lnTo>
                      <a:pt x="30" y="19"/>
                    </a:lnTo>
                    <a:lnTo>
                      <a:pt x="18" y="30"/>
                    </a:lnTo>
                    <a:lnTo>
                      <a:pt x="8" y="45"/>
                    </a:lnTo>
                    <a:lnTo>
                      <a:pt x="2" y="63"/>
                    </a:lnTo>
                    <a:lnTo>
                      <a:pt x="0" y="81"/>
                    </a:lnTo>
                    <a:lnTo>
                      <a:pt x="2" y="99"/>
                    </a:lnTo>
                    <a:lnTo>
                      <a:pt x="8" y="116"/>
                    </a:lnTo>
                    <a:lnTo>
                      <a:pt x="18" y="131"/>
                    </a:lnTo>
                    <a:lnTo>
                      <a:pt x="30" y="143"/>
                    </a:lnTo>
                    <a:lnTo>
                      <a:pt x="45" y="154"/>
                    </a:lnTo>
                    <a:lnTo>
                      <a:pt x="62" y="159"/>
                    </a:lnTo>
                    <a:lnTo>
                      <a:pt x="80" y="162"/>
                    </a:lnTo>
                    <a:lnTo>
                      <a:pt x="99" y="159"/>
                    </a:lnTo>
                    <a:lnTo>
                      <a:pt x="116" y="154"/>
                    </a:lnTo>
                    <a:lnTo>
                      <a:pt x="130" y="143"/>
                    </a:lnTo>
                    <a:lnTo>
                      <a:pt x="143" y="131"/>
                    </a:lnTo>
                    <a:lnTo>
                      <a:pt x="153" y="116"/>
                    </a:lnTo>
                    <a:lnTo>
                      <a:pt x="159" y="99"/>
                    </a:lnTo>
                    <a:lnTo>
                      <a:pt x="161" y="81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4" name="Freeform 56"/>
              <p:cNvSpPr>
                <a:spLocks/>
              </p:cNvSpPr>
              <p:nvPr/>
            </p:nvSpPr>
            <p:spPr bwMode="auto">
              <a:xfrm>
                <a:off x="3802" y="2544"/>
                <a:ext cx="161" cy="162"/>
              </a:xfrm>
              <a:custGeom>
                <a:avLst/>
                <a:gdLst>
                  <a:gd name="T0" fmla="*/ 161 w 161"/>
                  <a:gd name="T1" fmla="*/ 81 h 162"/>
                  <a:gd name="T2" fmla="*/ 159 w 161"/>
                  <a:gd name="T3" fmla="*/ 63 h 162"/>
                  <a:gd name="T4" fmla="*/ 153 w 161"/>
                  <a:gd name="T5" fmla="*/ 45 h 162"/>
                  <a:gd name="T6" fmla="*/ 143 w 161"/>
                  <a:gd name="T7" fmla="*/ 30 h 162"/>
                  <a:gd name="T8" fmla="*/ 130 w 161"/>
                  <a:gd name="T9" fmla="*/ 19 h 162"/>
                  <a:gd name="T10" fmla="*/ 116 w 161"/>
                  <a:gd name="T11" fmla="*/ 8 h 162"/>
                  <a:gd name="T12" fmla="*/ 99 w 161"/>
                  <a:gd name="T13" fmla="*/ 3 h 162"/>
                  <a:gd name="T14" fmla="*/ 80 w 161"/>
                  <a:gd name="T15" fmla="*/ 0 h 162"/>
                  <a:gd name="T16" fmla="*/ 62 w 161"/>
                  <a:gd name="T17" fmla="*/ 3 h 162"/>
                  <a:gd name="T18" fmla="*/ 45 w 161"/>
                  <a:gd name="T19" fmla="*/ 8 h 162"/>
                  <a:gd name="T20" fmla="*/ 30 w 161"/>
                  <a:gd name="T21" fmla="*/ 19 h 162"/>
                  <a:gd name="T22" fmla="*/ 18 w 161"/>
                  <a:gd name="T23" fmla="*/ 30 h 162"/>
                  <a:gd name="T24" fmla="*/ 8 w 161"/>
                  <a:gd name="T25" fmla="*/ 45 h 162"/>
                  <a:gd name="T26" fmla="*/ 2 w 161"/>
                  <a:gd name="T27" fmla="*/ 63 h 162"/>
                  <a:gd name="T28" fmla="*/ 0 w 161"/>
                  <a:gd name="T29" fmla="*/ 81 h 162"/>
                  <a:gd name="T30" fmla="*/ 2 w 161"/>
                  <a:gd name="T31" fmla="*/ 99 h 162"/>
                  <a:gd name="T32" fmla="*/ 8 w 161"/>
                  <a:gd name="T33" fmla="*/ 116 h 162"/>
                  <a:gd name="T34" fmla="*/ 18 w 161"/>
                  <a:gd name="T35" fmla="*/ 131 h 162"/>
                  <a:gd name="T36" fmla="*/ 30 w 161"/>
                  <a:gd name="T37" fmla="*/ 143 h 162"/>
                  <a:gd name="T38" fmla="*/ 45 w 161"/>
                  <a:gd name="T39" fmla="*/ 154 h 162"/>
                  <a:gd name="T40" fmla="*/ 62 w 161"/>
                  <a:gd name="T41" fmla="*/ 159 h 162"/>
                  <a:gd name="T42" fmla="*/ 80 w 161"/>
                  <a:gd name="T43" fmla="*/ 162 h 162"/>
                  <a:gd name="T44" fmla="*/ 99 w 161"/>
                  <a:gd name="T45" fmla="*/ 159 h 162"/>
                  <a:gd name="T46" fmla="*/ 116 w 161"/>
                  <a:gd name="T47" fmla="*/ 154 h 162"/>
                  <a:gd name="T48" fmla="*/ 130 w 161"/>
                  <a:gd name="T49" fmla="*/ 143 h 162"/>
                  <a:gd name="T50" fmla="*/ 143 w 161"/>
                  <a:gd name="T51" fmla="*/ 131 h 162"/>
                  <a:gd name="T52" fmla="*/ 153 w 161"/>
                  <a:gd name="T53" fmla="*/ 116 h 162"/>
                  <a:gd name="T54" fmla="*/ 159 w 161"/>
                  <a:gd name="T55" fmla="*/ 99 h 162"/>
                  <a:gd name="T56" fmla="*/ 161 w 161"/>
                  <a:gd name="T57" fmla="*/ 81 h 162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61"/>
                  <a:gd name="T88" fmla="*/ 0 h 162"/>
                  <a:gd name="T89" fmla="*/ 161 w 161"/>
                  <a:gd name="T90" fmla="*/ 162 h 162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61" h="162">
                    <a:moveTo>
                      <a:pt x="161" y="81"/>
                    </a:moveTo>
                    <a:lnTo>
                      <a:pt x="159" y="63"/>
                    </a:lnTo>
                    <a:lnTo>
                      <a:pt x="153" y="45"/>
                    </a:lnTo>
                    <a:lnTo>
                      <a:pt x="143" y="30"/>
                    </a:lnTo>
                    <a:lnTo>
                      <a:pt x="130" y="19"/>
                    </a:lnTo>
                    <a:lnTo>
                      <a:pt x="116" y="8"/>
                    </a:lnTo>
                    <a:lnTo>
                      <a:pt x="99" y="3"/>
                    </a:lnTo>
                    <a:lnTo>
                      <a:pt x="80" y="0"/>
                    </a:lnTo>
                    <a:lnTo>
                      <a:pt x="62" y="3"/>
                    </a:lnTo>
                    <a:lnTo>
                      <a:pt x="45" y="8"/>
                    </a:lnTo>
                    <a:lnTo>
                      <a:pt x="30" y="19"/>
                    </a:lnTo>
                    <a:lnTo>
                      <a:pt x="18" y="30"/>
                    </a:lnTo>
                    <a:lnTo>
                      <a:pt x="8" y="45"/>
                    </a:lnTo>
                    <a:lnTo>
                      <a:pt x="2" y="63"/>
                    </a:lnTo>
                    <a:lnTo>
                      <a:pt x="0" y="81"/>
                    </a:lnTo>
                    <a:lnTo>
                      <a:pt x="2" y="99"/>
                    </a:lnTo>
                    <a:lnTo>
                      <a:pt x="8" y="116"/>
                    </a:lnTo>
                    <a:lnTo>
                      <a:pt x="18" y="131"/>
                    </a:lnTo>
                    <a:lnTo>
                      <a:pt x="30" y="143"/>
                    </a:lnTo>
                    <a:lnTo>
                      <a:pt x="45" y="154"/>
                    </a:lnTo>
                    <a:lnTo>
                      <a:pt x="62" y="159"/>
                    </a:lnTo>
                    <a:lnTo>
                      <a:pt x="80" y="162"/>
                    </a:lnTo>
                    <a:lnTo>
                      <a:pt x="99" y="159"/>
                    </a:lnTo>
                    <a:lnTo>
                      <a:pt x="116" y="154"/>
                    </a:lnTo>
                    <a:lnTo>
                      <a:pt x="130" y="143"/>
                    </a:lnTo>
                    <a:lnTo>
                      <a:pt x="143" y="131"/>
                    </a:lnTo>
                    <a:lnTo>
                      <a:pt x="153" y="116"/>
                    </a:lnTo>
                    <a:lnTo>
                      <a:pt x="159" y="99"/>
                    </a:lnTo>
                    <a:lnTo>
                      <a:pt x="161" y="81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5" name="Freeform 57"/>
              <p:cNvSpPr>
                <a:spLocks/>
              </p:cNvSpPr>
              <p:nvPr/>
            </p:nvSpPr>
            <p:spPr bwMode="auto">
              <a:xfrm>
                <a:off x="4558" y="1032"/>
                <a:ext cx="154" cy="154"/>
              </a:xfrm>
              <a:custGeom>
                <a:avLst/>
                <a:gdLst>
                  <a:gd name="T0" fmla="*/ 154 w 154"/>
                  <a:gd name="T1" fmla="*/ 77 h 154"/>
                  <a:gd name="T2" fmla="*/ 152 w 154"/>
                  <a:gd name="T3" fmla="*/ 60 h 154"/>
                  <a:gd name="T4" fmla="*/ 146 w 154"/>
                  <a:gd name="T5" fmla="*/ 43 h 154"/>
                  <a:gd name="T6" fmla="*/ 137 w 154"/>
                  <a:gd name="T7" fmla="*/ 29 h 154"/>
                  <a:gd name="T8" fmla="*/ 125 w 154"/>
                  <a:gd name="T9" fmla="*/ 17 h 154"/>
                  <a:gd name="T10" fmla="*/ 111 w 154"/>
                  <a:gd name="T11" fmla="*/ 8 h 154"/>
                  <a:gd name="T12" fmla="*/ 94 w 154"/>
                  <a:gd name="T13" fmla="*/ 2 h 154"/>
                  <a:gd name="T14" fmla="*/ 77 w 154"/>
                  <a:gd name="T15" fmla="*/ 0 h 154"/>
                  <a:gd name="T16" fmla="*/ 59 w 154"/>
                  <a:gd name="T17" fmla="*/ 2 h 154"/>
                  <a:gd name="T18" fmla="*/ 43 w 154"/>
                  <a:gd name="T19" fmla="*/ 8 h 154"/>
                  <a:gd name="T20" fmla="*/ 28 w 154"/>
                  <a:gd name="T21" fmla="*/ 17 h 154"/>
                  <a:gd name="T22" fmla="*/ 16 w 154"/>
                  <a:gd name="T23" fmla="*/ 29 h 154"/>
                  <a:gd name="T24" fmla="*/ 8 w 154"/>
                  <a:gd name="T25" fmla="*/ 43 h 154"/>
                  <a:gd name="T26" fmla="*/ 2 w 154"/>
                  <a:gd name="T27" fmla="*/ 60 h 154"/>
                  <a:gd name="T28" fmla="*/ 0 w 154"/>
                  <a:gd name="T29" fmla="*/ 77 h 154"/>
                  <a:gd name="T30" fmla="*/ 2 w 154"/>
                  <a:gd name="T31" fmla="*/ 94 h 154"/>
                  <a:gd name="T32" fmla="*/ 8 w 154"/>
                  <a:gd name="T33" fmla="*/ 111 h 154"/>
                  <a:gd name="T34" fmla="*/ 16 w 154"/>
                  <a:gd name="T35" fmla="*/ 125 h 154"/>
                  <a:gd name="T36" fmla="*/ 28 w 154"/>
                  <a:gd name="T37" fmla="*/ 137 h 154"/>
                  <a:gd name="T38" fmla="*/ 43 w 154"/>
                  <a:gd name="T39" fmla="*/ 146 h 154"/>
                  <a:gd name="T40" fmla="*/ 59 w 154"/>
                  <a:gd name="T41" fmla="*/ 152 h 154"/>
                  <a:gd name="T42" fmla="*/ 77 w 154"/>
                  <a:gd name="T43" fmla="*/ 154 h 154"/>
                  <a:gd name="T44" fmla="*/ 94 w 154"/>
                  <a:gd name="T45" fmla="*/ 152 h 154"/>
                  <a:gd name="T46" fmla="*/ 111 w 154"/>
                  <a:gd name="T47" fmla="*/ 146 h 154"/>
                  <a:gd name="T48" fmla="*/ 125 w 154"/>
                  <a:gd name="T49" fmla="*/ 137 h 154"/>
                  <a:gd name="T50" fmla="*/ 137 w 154"/>
                  <a:gd name="T51" fmla="*/ 125 h 154"/>
                  <a:gd name="T52" fmla="*/ 146 w 154"/>
                  <a:gd name="T53" fmla="*/ 111 h 154"/>
                  <a:gd name="T54" fmla="*/ 152 w 154"/>
                  <a:gd name="T55" fmla="*/ 94 h 154"/>
                  <a:gd name="T56" fmla="*/ 154 w 154"/>
                  <a:gd name="T57" fmla="*/ 77 h 1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54"/>
                  <a:gd name="T88" fmla="*/ 0 h 154"/>
                  <a:gd name="T89" fmla="*/ 154 w 154"/>
                  <a:gd name="T90" fmla="*/ 154 h 15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54" h="154">
                    <a:moveTo>
                      <a:pt x="154" y="77"/>
                    </a:moveTo>
                    <a:lnTo>
                      <a:pt x="152" y="60"/>
                    </a:lnTo>
                    <a:lnTo>
                      <a:pt x="146" y="43"/>
                    </a:lnTo>
                    <a:lnTo>
                      <a:pt x="137" y="29"/>
                    </a:lnTo>
                    <a:lnTo>
                      <a:pt x="125" y="17"/>
                    </a:lnTo>
                    <a:lnTo>
                      <a:pt x="111" y="8"/>
                    </a:lnTo>
                    <a:lnTo>
                      <a:pt x="94" y="2"/>
                    </a:lnTo>
                    <a:lnTo>
                      <a:pt x="77" y="0"/>
                    </a:lnTo>
                    <a:lnTo>
                      <a:pt x="59" y="2"/>
                    </a:lnTo>
                    <a:lnTo>
                      <a:pt x="43" y="8"/>
                    </a:lnTo>
                    <a:lnTo>
                      <a:pt x="28" y="17"/>
                    </a:lnTo>
                    <a:lnTo>
                      <a:pt x="16" y="29"/>
                    </a:lnTo>
                    <a:lnTo>
                      <a:pt x="8" y="43"/>
                    </a:lnTo>
                    <a:lnTo>
                      <a:pt x="2" y="60"/>
                    </a:lnTo>
                    <a:lnTo>
                      <a:pt x="0" y="77"/>
                    </a:lnTo>
                    <a:lnTo>
                      <a:pt x="2" y="94"/>
                    </a:lnTo>
                    <a:lnTo>
                      <a:pt x="8" y="111"/>
                    </a:lnTo>
                    <a:lnTo>
                      <a:pt x="16" y="125"/>
                    </a:lnTo>
                    <a:lnTo>
                      <a:pt x="28" y="137"/>
                    </a:lnTo>
                    <a:lnTo>
                      <a:pt x="43" y="146"/>
                    </a:lnTo>
                    <a:lnTo>
                      <a:pt x="59" y="152"/>
                    </a:lnTo>
                    <a:lnTo>
                      <a:pt x="77" y="154"/>
                    </a:lnTo>
                    <a:lnTo>
                      <a:pt x="94" y="152"/>
                    </a:lnTo>
                    <a:lnTo>
                      <a:pt x="111" y="146"/>
                    </a:lnTo>
                    <a:lnTo>
                      <a:pt x="125" y="137"/>
                    </a:lnTo>
                    <a:lnTo>
                      <a:pt x="137" y="125"/>
                    </a:lnTo>
                    <a:lnTo>
                      <a:pt x="146" y="111"/>
                    </a:lnTo>
                    <a:lnTo>
                      <a:pt x="152" y="94"/>
                    </a:lnTo>
                    <a:lnTo>
                      <a:pt x="154" y="7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6" name="Freeform 58"/>
              <p:cNvSpPr>
                <a:spLocks/>
              </p:cNvSpPr>
              <p:nvPr/>
            </p:nvSpPr>
            <p:spPr bwMode="auto">
              <a:xfrm>
                <a:off x="4558" y="1032"/>
                <a:ext cx="154" cy="154"/>
              </a:xfrm>
              <a:custGeom>
                <a:avLst/>
                <a:gdLst>
                  <a:gd name="T0" fmla="*/ 154 w 154"/>
                  <a:gd name="T1" fmla="*/ 77 h 154"/>
                  <a:gd name="T2" fmla="*/ 152 w 154"/>
                  <a:gd name="T3" fmla="*/ 60 h 154"/>
                  <a:gd name="T4" fmla="*/ 146 w 154"/>
                  <a:gd name="T5" fmla="*/ 43 h 154"/>
                  <a:gd name="T6" fmla="*/ 137 w 154"/>
                  <a:gd name="T7" fmla="*/ 29 h 154"/>
                  <a:gd name="T8" fmla="*/ 125 w 154"/>
                  <a:gd name="T9" fmla="*/ 17 h 154"/>
                  <a:gd name="T10" fmla="*/ 111 w 154"/>
                  <a:gd name="T11" fmla="*/ 8 h 154"/>
                  <a:gd name="T12" fmla="*/ 94 w 154"/>
                  <a:gd name="T13" fmla="*/ 2 h 154"/>
                  <a:gd name="T14" fmla="*/ 77 w 154"/>
                  <a:gd name="T15" fmla="*/ 0 h 154"/>
                  <a:gd name="T16" fmla="*/ 59 w 154"/>
                  <a:gd name="T17" fmla="*/ 2 h 154"/>
                  <a:gd name="T18" fmla="*/ 43 w 154"/>
                  <a:gd name="T19" fmla="*/ 8 h 154"/>
                  <a:gd name="T20" fmla="*/ 28 w 154"/>
                  <a:gd name="T21" fmla="*/ 17 h 154"/>
                  <a:gd name="T22" fmla="*/ 16 w 154"/>
                  <a:gd name="T23" fmla="*/ 29 h 154"/>
                  <a:gd name="T24" fmla="*/ 8 w 154"/>
                  <a:gd name="T25" fmla="*/ 43 h 154"/>
                  <a:gd name="T26" fmla="*/ 2 w 154"/>
                  <a:gd name="T27" fmla="*/ 60 h 154"/>
                  <a:gd name="T28" fmla="*/ 0 w 154"/>
                  <a:gd name="T29" fmla="*/ 77 h 154"/>
                  <a:gd name="T30" fmla="*/ 2 w 154"/>
                  <a:gd name="T31" fmla="*/ 94 h 154"/>
                  <a:gd name="T32" fmla="*/ 8 w 154"/>
                  <a:gd name="T33" fmla="*/ 111 h 154"/>
                  <a:gd name="T34" fmla="*/ 16 w 154"/>
                  <a:gd name="T35" fmla="*/ 125 h 154"/>
                  <a:gd name="T36" fmla="*/ 28 w 154"/>
                  <a:gd name="T37" fmla="*/ 137 h 154"/>
                  <a:gd name="T38" fmla="*/ 43 w 154"/>
                  <a:gd name="T39" fmla="*/ 146 h 154"/>
                  <a:gd name="T40" fmla="*/ 59 w 154"/>
                  <a:gd name="T41" fmla="*/ 152 h 154"/>
                  <a:gd name="T42" fmla="*/ 77 w 154"/>
                  <a:gd name="T43" fmla="*/ 154 h 154"/>
                  <a:gd name="T44" fmla="*/ 94 w 154"/>
                  <a:gd name="T45" fmla="*/ 152 h 154"/>
                  <a:gd name="T46" fmla="*/ 111 w 154"/>
                  <a:gd name="T47" fmla="*/ 146 h 154"/>
                  <a:gd name="T48" fmla="*/ 125 w 154"/>
                  <a:gd name="T49" fmla="*/ 137 h 154"/>
                  <a:gd name="T50" fmla="*/ 137 w 154"/>
                  <a:gd name="T51" fmla="*/ 125 h 154"/>
                  <a:gd name="T52" fmla="*/ 146 w 154"/>
                  <a:gd name="T53" fmla="*/ 111 h 154"/>
                  <a:gd name="T54" fmla="*/ 152 w 154"/>
                  <a:gd name="T55" fmla="*/ 94 h 154"/>
                  <a:gd name="T56" fmla="*/ 154 w 154"/>
                  <a:gd name="T57" fmla="*/ 77 h 15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54"/>
                  <a:gd name="T88" fmla="*/ 0 h 154"/>
                  <a:gd name="T89" fmla="*/ 154 w 154"/>
                  <a:gd name="T90" fmla="*/ 154 h 15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54" h="154">
                    <a:moveTo>
                      <a:pt x="154" y="77"/>
                    </a:moveTo>
                    <a:lnTo>
                      <a:pt x="152" y="60"/>
                    </a:lnTo>
                    <a:lnTo>
                      <a:pt x="146" y="43"/>
                    </a:lnTo>
                    <a:lnTo>
                      <a:pt x="137" y="29"/>
                    </a:lnTo>
                    <a:lnTo>
                      <a:pt x="125" y="17"/>
                    </a:lnTo>
                    <a:lnTo>
                      <a:pt x="111" y="8"/>
                    </a:lnTo>
                    <a:lnTo>
                      <a:pt x="94" y="2"/>
                    </a:lnTo>
                    <a:lnTo>
                      <a:pt x="77" y="0"/>
                    </a:lnTo>
                    <a:lnTo>
                      <a:pt x="59" y="2"/>
                    </a:lnTo>
                    <a:lnTo>
                      <a:pt x="43" y="8"/>
                    </a:lnTo>
                    <a:lnTo>
                      <a:pt x="28" y="17"/>
                    </a:lnTo>
                    <a:lnTo>
                      <a:pt x="16" y="29"/>
                    </a:lnTo>
                    <a:lnTo>
                      <a:pt x="8" y="43"/>
                    </a:lnTo>
                    <a:lnTo>
                      <a:pt x="2" y="60"/>
                    </a:lnTo>
                    <a:lnTo>
                      <a:pt x="0" y="77"/>
                    </a:lnTo>
                    <a:lnTo>
                      <a:pt x="2" y="94"/>
                    </a:lnTo>
                    <a:lnTo>
                      <a:pt x="8" y="111"/>
                    </a:lnTo>
                    <a:lnTo>
                      <a:pt x="16" y="125"/>
                    </a:lnTo>
                    <a:lnTo>
                      <a:pt x="28" y="137"/>
                    </a:lnTo>
                    <a:lnTo>
                      <a:pt x="43" y="146"/>
                    </a:lnTo>
                    <a:lnTo>
                      <a:pt x="59" y="152"/>
                    </a:lnTo>
                    <a:lnTo>
                      <a:pt x="77" y="154"/>
                    </a:lnTo>
                    <a:lnTo>
                      <a:pt x="94" y="152"/>
                    </a:lnTo>
                    <a:lnTo>
                      <a:pt x="111" y="146"/>
                    </a:lnTo>
                    <a:lnTo>
                      <a:pt x="125" y="137"/>
                    </a:lnTo>
                    <a:lnTo>
                      <a:pt x="137" y="125"/>
                    </a:lnTo>
                    <a:lnTo>
                      <a:pt x="146" y="111"/>
                    </a:lnTo>
                    <a:lnTo>
                      <a:pt x="152" y="94"/>
                    </a:lnTo>
                    <a:lnTo>
                      <a:pt x="154" y="7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7" name="Freeform 59"/>
              <p:cNvSpPr>
                <a:spLocks/>
              </p:cNvSpPr>
              <p:nvPr/>
            </p:nvSpPr>
            <p:spPr bwMode="auto">
              <a:xfrm>
                <a:off x="4537" y="2820"/>
                <a:ext cx="150" cy="151"/>
              </a:xfrm>
              <a:custGeom>
                <a:avLst/>
                <a:gdLst>
                  <a:gd name="T0" fmla="*/ 150 w 150"/>
                  <a:gd name="T1" fmla="*/ 76 h 151"/>
                  <a:gd name="T2" fmla="*/ 147 w 150"/>
                  <a:gd name="T3" fmla="*/ 58 h 151"/>
                  <a:gd name="T4" fmla="*/ 142 w 150"/>
                  <a:gd name="T5" fmla="*/ 43 h 151"/>
                  <a:gd name="T6" fmla="*/ 133 w 150"/>
                  <a:gd name="T7" fmla="*/ 29 h 151"/>
                  <a:gd name="T8" fmla="*/ 121 w 150"/>
                  <a:gd name="T9" fmla="*/ 17 h 151"/>
                  <a:gd name="T10" fmla="*/ 107 w 150"/>
                  <a:gd name="T11" fmla="*/ 8 h 151"/>
                  <a:gd name="T12" fmla="*/ 92 w 150"/>
                  <a:gd name="T13" fmla="*/ 3 h 151"/>
                  <a:gd name="T14" fmla="*/ 74 w 150"/>
                  <a:gd name="T15" fmla="*/ 0 h 151"/>
                  <a:gd name="T16" fmla="*/ 57 w 150"/>
                  <a:gd name="T17" fmla="*/ 3 h 151"/>
                  <a:gd name="T18" fmla="*/ 41 w 150"/>
                  <a:gd name="T19" fmla="*/ 8 h 151"/>
                  <a:gd name="T20" fmla="*/ 27 w 150"/>
                  <a:gd name="T21" fmla="*/ 17 h 151"/>
                  <a:gd name="T22" fmla="*/ 16 w 150"/>
                  <a:gd name="T23" fmla="*/ 29 h 151"/>
                  <a:gd name="T24" fmla="*/ 8 w 150"/>
                  <a:gd name="T25" fmla="*/ 43 h 151"/>
                  <a:gd name="T26" fmla="*/ 1 w 150"/>
                  <a:gd name="T27" fmla="*/ 58 h 151"/>
                  <a:gd name="T28" fmla="*/ 0 w 150"/>
                  <a:gd name="T29" fmla="*/ 76 h 151"/>
                  <a:gd name="T30" fmla="*/ 1 w 150"/>
                  <a:gd name="T31" fmla="*/ 93 h 151"/>
                  <a:gd name="T32" fmla="*/ 8 w 150"/>
                  <a:gd name="T33" fmla="*/ 109 h 151"/>
                  <a:gd name="T34" fmla="*/ 16 w 150"/>
                  <a:gd name="T35" fmla="*/ 123 h 151"/>
                  <a:gd name="T36" fmla="*/ 27 w 150"/>
                  <a:gd name="T37" fmla="*/ 135 h 151"/>
                  <a:gd name="T38" fmla="*/ 41 w 150"/>
                  <a:gd name="T39" fmla="*/ 143 h 151"/>
                  <a:gd name="T40" fmla="*/ 57 w 150"/>
                  <a:gd name="T41" fmla="*/ 149 h 151"/>
                  <a:gd name="T42" fmla="*/ 74 w 150"/>
                  <a:gd name="T43" fmla="*/ 151 h 151"/>
                  <a:gd name="T44" fmla="*/ 92 w 150"/>
                  <a:gd name="T45" fmla="*/ 149 h 151"/>
                  <a:gd name="T46" fmla="*/ 107 w 150"/>
                  <a:gd name="T47" fmla="*/ 143 h 151"/>
                  <a:gd name="T48" fmla="*/ 121 w 150"/>
                  <a:gd name="T49" fmla="*/ 135 h 151"/>
                  <a:gd name="T50" fmla="*/ 133 w 150"/>
                  <a:gd name="T51" fmla="*/ 123 h 151"/>
                  <a:gd name="T52" fmla="*/ 142 w 150"/>
                  <a:gd name="T53" fmla="*/ 109 h 151"/>
                  <a:gd name="T54" fmla="*/ 147 w 150"/>
                  <a:gd name="T55" fmla="*/ 93 h 151"/>
                  <a:gd name="T56" fmla="*/ 150 w 150"/>
                  <a:gd name="T57" fmla="*/ 76 h 15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50"/>
                  <a:gd name="T88" fmla="*/ 0 h 151"/>
                  <a:gd name="T89" fmla="*/ 150 w 150"/>
                  <a:gd name="T90" fmla="*/ 151 h 15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50" h="151">
                    <a:moveTo>
                      <a:pt x="150" y="76"/>
                    </a:moveTo>
                    <a:lnTo>
                      <a:pt x="147" y="58"/>
                    </a:lnTo>
                    <a:lnTo>
                      <a:pt x="142" y="43"/>
                    </a:lnTo>
                    <a:lnTo>
                      <a:pt x="133" y="29"/>
                    </a:lnTo>
                    <a:lnTo>
                      <a:pt x="121" y="17"/>
                    </a:lnTo>
                    <a:lnTo>
                      <a:pt x="107" y="8"/>
                    </a:lnTo>
                    <a:lnTo>
                      <a:pt x="92" y="3"/>
                    </a:lnTo>
                    <a:lnTo>
                      <a:pt x="74" y="0"/>
                    </a:lnTo>
                    <a:lnTo>
                      <a:pt x="57" y="3"/>
                    </a:lnTo>
                    <a:lnTo>
                      <a:pt x="41" y="8"/>
                    </a:lnTo>
                    <a:lnTo>
                      <a:pt x="27" y="17"/>
                    </a:lnTo>
                    <a:lnTo>
                      <a:pt x="16" y="29"/>
                    </a:lnTo>
                    <a:lnTo>
                      <a:pt x="8" y="43"/>
                    </a:lnTo>
                    <a:lnTo>
                      <a:pt x="1" y="58"/>
                    </a:lnTo>
                    <a:lnTo>
                      <a:pt x="0" y="76"/>
                    </a:lnTo>
                    <a:lnTo>
                      <a:pt x="1" y="93"/>
                    </a:lnTo>
                    <a:lnTo>
                      <a:pt x="8" y="109"/>
                    </a:lnTo>
                    <a:lnTo>
                      <a:pt x="16" y="123"/>
                    </a:lnTo>
                    <a:lnTo>
                      <a:pt x="27" y="135"/>
                    </a:lnTo>
                    <a:lnTo>
                      <a:pt x="41" y="143"/>
                    </a:lnTo>
                    <a:lnTo>
                      <a:pt x="57" y="149"/>
                    </a:lnTo>
                    <a:lnTo>
                      <a:pt x="74" y="151"/>
                    </a:lnTo>
                    <a:lnTo>
                      <a:pt x="92" y="149"/>
                    </a:lnTo>
                    <a:lnTo>
                      <a:pt x="107" y="143"/>
                    </a:lnTo>
                    <a:lnTo>
                      <a:pt x="121" y="135"/>
                    </a:lnTo>
                    <a:lnTo>
                      <a:pt x="133" y="123"/>
                    </a:lnTo>
                    <a:lnTo>
                      <a:pt x="142" y="109"/>
                    </a:lnTo>
                    <a:lnTo>
                      <a:pt x="147" y="93"/>
                    </a:lnTo>
                    <a:lnTo>
                      <a:pt x="150" y="7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8" name="Freeform 60"/>
              <p:cNvSpPr>
                <a:spLocks/>
              </p:cNvSpPr>
              <p:nvPr/>
            </p:nvSpPr>
            <p:spPr bwMode="auto">
              <a:xfrm>
                <a:off x="4537" y="2820"/>
                <a:ext cx="150" cy="151"/>
              </a:xfrm>
              <a:custGeom>
                <a:avLst/>
                <a:gdLst>
                  <a:gd name="T0" fmla="*/ 150 w 150"/>
                  <a:gd name="T1" fmla="*/ 76 h 151"/>
                  <a:gd name="T2" fmla="*/ 147 w 150"/>
                  <a:gd name="T3" fmla="*/ 58 h 151"/>
                  <a:gd name="T4" fmla="*/ 142 w 150"/>
                  <a:gd name="T5" fmla="*/ 43 h 151"/>
                  <a:gd name="T6" fmla="*/ 133 w 150"/>
                  <a:gd name="T7" fmla="*/ 29 h 151"/>
                  <a:gd name="T8" fmla="*/ 121 w 150"/>
                  <a:gd name="T9" fmla="*/ 17 h 151"/>
                  <a:gd name="T10" fmla="*/ 107 w 150"/>
                  <a:gd name="T11" fmla="*/ 8 h 151"/>
                  <a:gd name="T12" fmla="*/ 92 w 150"/>
                  <a:gd name="T13" fmla="*/ 3 h 151"/>
                  <a:gd name="T14" fmla="*/ 74 w 150"/>
                  <a:gd name="T15" fmla="*/ 0 h 151"/>
                  <a:gd name="T16" fmla="*/ 57 w 150"/>
                  <a:gd name="T17" fmla="*/ 3 h 151"/>
                  <a:gd name="T18" fmla="*/ 41 w 150"/>
                  <a:gd name="T19" fmla="*/ 8 h 151"/>
                  <a:gd name="T20" fmla="*/ 27 w 150"/>
                  <a:gd name="T21" fmla="*/ 17 h 151"/>
                  <a:gd name="T22" fmla="*/ 16 w 150"/>
                  <a:gd name="T23" fmla="*/ 29 h 151"/>
                  <a:gd name="T24" fmla="*/ 8 w 150"/>
                  <a:gd name="T25" fmla="*/ 43 h 151"/>
                  <a:gd name="T26" fmla="*/ 1 w 150"/>
                  <a:gd name="T27" fmla="*/ 58 h 151"/>
                  <a:gd name="T28" fmla="*/ 0 w 150"/>
                  <a:gd name="T29" fmla="*/ 76 h 151"/>
                  <a:gd name="T30" fmla="*/ 1 w 150"/>
                  <a:gd name="T31" fmla="*/ 93 h 151"/>
                  <a:gd name="T32" fmla="*/ 8 w 150"/>
                  <a:gd name="T33" fmla="*/ 109 h 151"/>
                  <a:gd name="T34" fmla="*/ 16 w 150"/>
                  <a:gd name="T35" fmla="*/ 123 h 151"/>
                  <a:gd name="T36" fmla="*/ 27 w 150"/>
                  <a:gd name="T37" fmla="*/ 135 h 151"/>
                  <a:gd name="T38" fmla="*/ 41 w 150"/>
                  <a:gd name="T39" fmla="*/ 143 h 151"/>
                  <a:gd name="T40" fmla="*/ 57 w 150"/>
                  <a:gd name="T41" fmla="*/ 149 h 151"/>
                  <a:gd name="T42" fmla="*/ 74 w 150"/>
                  <a:gd name="T43" fmla="*/ 151 h 151"/>
                  <a:gd name="T44" fmla="*/ 92 w 150"/>
                  <a:gd name="T45" fmla="*/ 149 h 151"/>
                  <a:gd name="T46" fmla="*/ 107 w 150"/>
                  <a:gd name="T47" fmla="*/ 143 h 151"/>
                  <a:gd name="T48" fmla="*/ 121 w 150"/>
                  <a:gd name="T49" fmla="*/ 135 h 151"/>
                  <a:gd name="T50" fmla="*/ 133 w 150"/>
                  <a:gd name="T51" fmla="*/ 123 h 151"/>
                  <a:gd name="T52" fmla="*/ 142 w 150"/>
                  <a:gd name="T53" fmla="*/ 109 h 151"/>
                  <a:gd name="T54" fmla="*/ 147 w 150"/>
                  <a:gd name="T55" fmla="*/ 93 h 151"/>
                  <a:gd name="T56" fmla="*/ 150 w 150"/>
                  <a:gd name="T57" fmla="*/ 76 h 15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50"/>
                  <a:gd name="T88" fmla="*/ 0 h 151"/>
                  <a:gd name="T89" fmla="*/ 150 w 150"/>
                  <a:gd name="T90" fmla="*/ 151 h 15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50" h="151">
                    <a:moveTo>
                      <a:pt x="150" y="76"/>
                    </a:moveTo>
                    <a:lnTo>
                      <a:pt x="147" y="58"/>
                    </a:lnTo>
                    <a:lnTo>
                      <a:pt x="142" y="43"/>
                    </a:lnTo>
                    <a:lnTo>
                      <a:pt x="133" y="29"/>
                    </a:lnTo>
                    <a:lnTo>
                      <a:pt x="121" y="17"/>
                    </a:lnTo>
                    <a:lnTo>
                      <a:pt x="107" y="8"/>
                    </a:lnTo>
                    <a:lnTo>
                      <a:pt x="92" y="3"/>
                    </a:lnTo>
                    <a:lnTo>
                      <a:pt x="74" y="0"/>
                    </a:lnTo>
                    <a:lnTo>
                      <a:pt x="57" y="3"/>
                    </a:lnTo>
                    <a:lnTo>
                      <a:pt x="41" y="8"/>
                    </a:lnTo>
                    <a:lnTo>
                      <a:pt x="27" y="17"/>
                    </a:lnTo>
                    <a:lnTo>
                      <a:pt x="16" y="29"/>
                    </a:lnTo>
                    <a:lnTo>
                      <a:pt x="8" y="43"/>
                    </a:lnTo>
                    <a:lnTo>
                      <a:pt x="1" y="58"/>
                    </a:lnTo>
                    <a:lnTo>
                      <a:pt x="0" y="76"/>
                    </a:lnTo>
                    <a:lnTo>
                      <a:pt x="1" y="93"/>
                    </a:lnTo>
                    <a:lnTo>
                      <a:pt x="8" y="109"/>
                    </a:lnTo>
                    <a:lnTo>
                      <a:pt x="16" y="123"/>
                    </a:lnTo>
                    <a:lnTo>
                      <a:pt x="27" y="135"/>
                    </a:lnTo>
                    <a:lnTo>
                      <a:pt x="41" y="143"/>
                    </a:lnTo>
                    <a:lnTo>
                      <a:pt x="57" y="149"/>
                    </a:lnTo>
                    <a:lnTo>
                      <a:pt x="74" y="151"/>
                    </a:lnTo>
                    <a:lnTo>
                      <a:pt x="92" y="149"/>
                    </a:lnTo>
                    <a:lnTo>
                      <a:pt x="107" y="143"/>
                    </a:lnTo>
                    <a:lnTo>
                      <a:pt x="121" y="135"/>
                    </a:lnTo>
                    <a:lnTo>
                      <a:pt x="133" y="123"/>
                    </a:lnTo>
                    <a:lnTo>
                      <a:pt x="142" y="109"/>
                    </a:lnTo>
                    <a:lnTo>
                      <a:pt x="147" y="93"/>
                    </a:lnTo>
                    <a:lnTo>
                      <a:pt x="150" y="7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09" name="Freeform 61"/>
              <p:cNvSpPr>
                <a:spLocks/>
              </p:cNvSpPr>
              <p:nvPr/>
            </p:nvSpPr>
            <p:spPr bwMode="auto">
              <a:xfrm>
                <a:off x="4856" y="1178"/>
                <a:ext cx="150" cy="151"/>
              </a:xfrm>
              <a:custGeom>
                <a:avLst/>
                <a:gdLst>
                  <a:gd name="T0" fmla="*/ 150 w 150"/>
                  <a:gd name="T1" fmla="*/ 76 h 151"/>
                  <a:gd name="T2" fmla="*/ 147 w 150"/>
                  <a:gd name="T3" fmla="*/ 58 h 151"/>
                  <a:gd name="T4" fmla="*/ 142 w 150"/>
                  <a:gd name="T5" fmla="*/ 43 h 151"/>
                  <a:gd name="T6" fmla="*/ 133 w 150"/>
                  <a:gd name="T7" fmla="*/ 28 h 151"/>
                  <a:gd name="T8" fmla="*/ 121 w 150"/>
                  <a:gd name="T9" fmla="*/ 17 h 151"/>
                  <a:gd name="T10" fmla="*/ 107 w 150"/>
                  <a:gd name="T11" fmla="*/ 8 h 151"/>
                  <a:gd name="T12" fmla="*/ 92 w 150"/>
                  <a:gd name="T13" fmla="*/ 2 h 151"/>
                  <a:gd name="T14" fmla="*/ 74 w 150"/>
                  <a:gd name="T15" fmla="*/ 0 h 151"/>
                  <a:gd name="T16" fmla="*/ 57 w 150"/>
                  <a:gd name="T17" fmla="*/ 2 h 151"/>
                  <a:gd name="T18" fmla="*/ 41 w 150"/>
                  <a:gd name="T19" fmla="*/ 8 h 151"/>
                  <a:gd name="T20" fmla="*/ 27 w 150"/>
                  <a:gd name="T21" fmla="*/ 17 h 151"/>
                  <a:gd name="T22" fmla="*/ 16 w 150"/>
                  <a:gd name="T23" fmla="*/ 28 h 151"/>
                  <a:gd name="T24" fmla="*/ 8 w 150"/>
                  <a:gd name="T25" fmla="*/ 43 h 151"/>
                  <a:gd name="T26" fmla="*/ 1 w 150"/>
                  <a:gd name="T27" fmla="*/ 58 h 151"/>
                  <a:gd name="T28" fmla="*/ 0 w 150"/>
                  <a:gd name="T29" fmla="*/ 76 h 151"/>
                  <a:gd name="T30" fmla="*/ 1 w 150"/>
                  <a:gd name="T31" fmla="*/ 93 h 151"/>
                  <a:gd name="T32" fmla="*/ 8 w 150"/>
                  <a:gd name="T33" fmla="*/ 109 h 151"/>
                  <a:gd name="T34" fmla="*/ 16 w 150"/>
                  <a:gd name="T35" fmla="*/ 123 h 151"/>
                  <a:gd name="T36" fmla="*/ 27 w 150"/>
                  <a:gd name="T37" fmla="*/ 134 h 151"/>
                  <a:gd name="T38" fmla="*/ 41 w 150"/>
                  <a:gd name="T39" fmla="*/ 143 h 151"/>
                  <a:gd name="T40" fmla="*/ 57 w 150"/>
                  <a:gd name="T41" fmla="*/ 149 h 151"/>
                  <a:gd name="T42" fmla="*/ 74 w 150"/>
                  <a:gd name="T43" fmla="*/ 151 h 151"/>
                  <a:gd name="T44" fmla="*/ 92 w 150"/>
                  <a:gd name="T45" fmla="*/ 149 h 151"/>
                  <a:gd name="T46" fmla="*/ 107 w 150"/>
                  <a:gd name="T47" fmla="*/ 143 h 151"/>
                  <a:gd name="T48" fmla="*/ 121 w 150"/>
                  <a:gd name="T49" fmla="*/ 134 h 151"/>
                  <a:gd name="T50" fmla="*/ 133 w 150"/>
                  <a:gd name="T51" fmla="*/ 123 h 151"/>
                  <a:gd name="T52" fmla="*/ 142 w 150"/>
                  <a:gd name="T53" fmla="*/ 109 h 151"/>
                  <a:gd name="T54" fmla="*/ 147 w 150"/>
                  <a:gd name="T55" fmla="*/ 93 h 151"/>
                  <a:gd name="T56" fmla="*/ 150 w 150"/>
                  <a:gd name="T57" fmla="*/ 76 h 15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50"/>
                  <a:gd name="T88" fmla="*/ 0 h 151"/>
                  <a:gd name="T89" fmla="*/ 150 w 150"/>
                  <a:gd name="T90" fmla="*/ 151 h 15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50" h="151">
                    <a:moveTo>
                      <a:pt x="150" y="76"/>
                    </a:moveTo>
                    <a:lnTo>
                      <a:pt x="147" y="58"/>
                    </a:lnTo>
                    <a:lnTo>
                      <a:pt x="142" y="43"/>
                    </a:lnTo>
                    <a:lnTo>
                      <a:pt x="133" y="28"/>
                    </a:lnTo>
                    <a:lnTo>
                      <a:pt x="121" y="17"/>
                    </a:lnTo>
                    <a:lnTo>
                      <a:pt x="107" y="8"/>
                    </a:lnTo>
                    <a:lnTo>
                      <a:pt x="92" y="2"/>
                    </a:lnTo>
                    <a:lnTo>
                      <a:pt x="74" y="0"/>
                    </a:lnTo>
                    <a:lnTo>
                      <a:pt x="57" y="2"/>
                    </a:lnTo>
                    <a:lnTo>
                      <a:pt x="41" y="8"/>
                    </a:lnTo>
                    <a:lnTo>
                      <a:pt x="27" y="17"/>
                    </a:lnTo>
                    <a:lnTo>
                      <a:pt x="16" y="28"/>
                    </a:lnTo>
                    <a:lnTo>
                      <a:pt x="8" y="43"/>
                    </a:lnTo>
                    <a:lnTo>
                      <a:pt x="1" y="58"/>
                    </a:lnTo>
                    <a:lnTo>
                      <a:pt x="0" y="76"/>
                    </a:lnTo>
                    <a:lnTo>
                      <a:pt x="1" y="93"/>
                    </a:lnTo>
                    <a:lnTo>
                      <a:pt x="8" y="109"/>
                    </a:lnTo>
                    <a:lnTo>
                      <a:pt x="16" y="123"/>
                    </a:lnTo>
                    <a:lnTo>
                      <a:pt x="27" y="134"/>
                    </a:lnTo>
                    <a:lnTo>
                      <a:pt x="41" y="143"/>
                    </a:lnTo>
                    <a:lnTo>
                      <a:pt x="57" y="149"/>
                    </a:lnTo>
                    <a:lnTo>
                      <a:pt x="74" y="151"/>
                    </a:lnTo>
                    <a:lnTo>
                      <a:pt x="92" y="149"/>
                    </a:lnTo>
                    <a:lnTo>
                      <a:pt x="107" y="143"/>
                    </a:lnTo>
                    <a:lnTo>
                      <a:pt x="121" y="134"/>
                    </a:lnTo>
                    <a:lnTo>
                      <a:pt x="133" y="123"/>
                    </a:lnTo>
                    <a:lnTo>
                      <a:pt x="142" y="109"/>
                    </a:lnTo>
                    <a:lnTo>
                      <a:pt x="147" y="93"/>
                    </a:lnTo>
                    <a:lnTo>
                      <a:pt x="150" y="7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0" name="Freeform 62"/>
              <p:cNvSpPr>
                <a:spLocks/>
              </p:cNvSpPr>
              <p:nvPr/>
            </p:nvSpPr>
            <p:spPr bwMode="auto">
              <a:xfrm>
                <a:off x="4856" y="1178"/>
                <a:ext cx="150" cy="151"/>
              </a:xfrm>
              <a:custGeom>
                <a:avLst/>
                <a:gdLst>
                  <a:gd name="T0" fmla="*/ 150 w 150"/>
                  <a:gd name="T1" fmla="*/ 76 h 151"/>
                  <a:gd name="T2" fmla="*/ 147 w 150"/>
                  <a:gd name="T3" fmla="*/ 58 h 151"/>
                  <a:gd name="T4" fmla="*/ 142 w 150"/>
                  <a:gd name="T5" fmla="*/ 43 h 151"/>
                  <a:gd name="T6" fmla="*/ 133 w 150"/>
                  <a:gd name="T7" fmla="*/ 28 h 151"/>
                  <a:gd name="T8" fmla="*/ 121 w 150"/>
                  <a:gd name="T9" fmla="*/ 17 h 151"/>
                  <a:gd name="T10" fmla="*/ 107 w 150"/>
                  <a:gd name="T11" fmla="*/ 8 h 151"/>
                  <a:gd name="T12" fmla="*/ 92 w 150"/>
                  <a:gd name="T13" fmla="*/ 2 h 151"/>
                  <a:gd name="T14" fmla="*/ 74 w 150"/>
                  <a:gd name="T15" fmla="*/ 0 h 151"/>
                  <a:gd name="T16" fmla="*/ 57 w 150"/>
                  <a:gd name="T17" fmla="*/ 2 h 151"/>
                  <a:gd name="T18" fmla="*/ 41 w 150"/>
                  <a:gd name="T19" fmla="*/ 8 h 151"/>
                  <a:gd name="T20" fmla="*/ 27 w 150"/>
                  <a:gd name="T21" fmla="*/ 17 h 151"/>
                  <a:gd name="T22" fmla="*/ 16 w 150"/>
                  <a:gd name="T23" fmla="*/ 28 h 151"/>
                  <a:gd name="T24" fmla="*/ 8 w 150"/>
                  <a:gd name="T25" fmla="*/ 43 h 151"/>
                  <a:gd name="T26" fmla="*/ 1 w 150"/>
                  <a:gd name="T27" fmla="*/ 58 h 151"/>
                  <a:gd name="T28" fmla="*/ 0 w 150"/>
                  <a:gd name="T29" fmla="*/ 76 h 151"/>
                  <a:gd name="T30" fmla="*/ 1 w 150"/>
                  <a:gd name="T31" fmla="*/ 93 h 151"/>
                  <a:gd name="T32" fmla="*/ 8 w 150"/>
                  <a:gd name="T33" fmla="*/ 109 h 151"/>
                  <a:gd name="T34" fmla="*/ 16 w 150"/>
                  <a:gd name="T35" fmla="*/ 123 h 151"/>
                  <a:gd name="T36" fmla="*/ 27 w 150"/>
                  <a:gd name="T37" fmla="*/ 134 h 151"/>
                  <a:gd name="T38" fmla="*/ 41 w 150"/>
                  <a:gd name="T39" fmla="*/ 143 h 151"/>
                  <a:gd name="T40" fmla="*/ 57 w 150"/>
                  <a:gd name="T41" fmla="*/ 149 h 151"/>
                  <a:gd name="T42" fmla="*/ 74 w 150"/>
                  <a:gd name="T43" fmla="*/ 151 h 151"/>
                  <a:gd name="T44" fmla="*/ 92 w 150"/>
                  <a:gd name="T45" fmla="*/ 149 h 151"/>
                  <a:gd name="T46" fmla="*/ 107 w 150"/>
                  <a:gd name="T47" fmla="*/ 143 h 151"/>
                  <a:gd name="T48" fmla="*/ 121 w 150"/>
                  <a:gd name="T49" fmla="*/ 134 h 151"/>
                  <a:gd name="T50" fmla="*/ 133 w 150"/>
                  <a:gd name="T51" fmla="*/ 123 h 151"/>
                  <a:gd name="T52" fmla="*/ 142 w 150"/>
                  <a:gd name="T53" fmla="*/ 109 h 151"/>
                  <a:gd name="T54" fmla="*/ 147 w 150"/>
                  <a:gd name="T55" fmla="*/ 93 h 151"/>
                  <a:gd name="T56" fmla="*/ 150 w 150"/>
                  <a:gd name="T57" fmla="*/ 76 h 15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50"/>
                  <a:gd name="T88" fmla="*/ 0 h 151"/>
                  <a:gd name="T89" fmla="*/ 150 w 150"/>
                  <a:gd name="T90" fmla="*/ 151 h 151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50" h="151">
                    <a:moveTo>
                      <a:pt x="150" y="76"/>
                    </a:moveTo>
                    <a:lnTo>
                      <a:pt x="147" y="58"/>
                    </a:lnTo>
                    <a:lnTo>
                      <a:pt x="142" y="43"/>
                    </a:lnTo>
                    <a:lnTo>
                      <a:pt x="133" y="28"/>
                    </a:lnTo>
                    <a:lnTo>
                      <a:pt x="121" y="17"/>
                    </a:lnTo>
                    <a:lnTo>
                      <a:pt x="107" y="8"/>
                    </a:lnTo>
                    <a:lnTo>
                      <a:pt x="92" y="2"/>
                    </a:lnTo>
                    <a:lnTo>
                      <a:pt x="74" y="0"/>
                    </a:lnTo>
                    <a:lnTo>
                      <a:pt x="57" y="2"/>
                    </a:lnTo>
                    <a:lnTo>
                      <a:pt x="41" y="8"/>
                    </a:lnTo>
                    <a:lnTo>
                      <a:pt x="27" y="17"/>
                    </a:lnTo>
                    <a:lnTo>
                      <a:pt x="16" y="28"/>
                    </a:lnTo>
                    <a:lnTo>
                      <a:pt x="8" y="43"/>
                    </a:lnTo>
                    <a:lnTo>
                      <a:pt x="1" y="58"/>
                    </a:lnTo>
                    <a:lnTo>
                      <a:pt x="0" y="76"/>
                    </a:lnTo>
                    <a:lnTo>
                      <a:pt x="1" y="93"/>
                    </a:lnTo>
                    <a:lnTo>
                      <a:pt x="8" y="109"/>
                    </a:lnTo>
                    <a:lnTo>
                      <a:pt x="16" y="123"/>
                    </a:lnTo>
                    <a:lnTo>
                      <a:pt x="27" y="134"/>
                    </a:lnTo>
                    <a:lnTo>
                      <a:pt x="41" y="143"/>
                    </a:lnTo>
                    <a:lnTo>
                      <a:pt x="57" y="149"/>
                    </a:lnTo>
                    <a:lnTo>
                      <a:pt x="74" y="151"/>
                    </a:lnTo>
                    <a:lnTo>
                      <a:pt x="92" y="149"/>
                    </a:lnTo>
                    <a:lnTo>
                      <a:pt x="107" y="143"/>
                    </a:lnTo>
                    <a:lnTo>
                      <a:pt x="121" y="134"/>
                    </a:lnTo>
                    <a:lnTo>
                      <a:pt x="133" y="123"/>
                    </a:lnTo>
                    <a:lnTo>
                      <a:pt x="142" y="109"/>
                    </a:lnTo>
                    <a:lnTo>
                      <a:pt x="147" y="93"/>
                    </a:lnTo>
                    <a:lnTo>
                      <a:pt x="150" y="7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1" name="Freeform 63"/>
              <p:cNvSpPr>
                <a:spLocks/>
              </p:cNvSpPr>
              <p:nvPr/>
            </p:nvSpPr>
            <p:spPr bwMode="auto">
              <a:xfrm>
                <a:off x="4398" y="2753"/>
                <a:ext cx="148" cy="148"/>
              </a:xfrm>
              <a:custGeom>
                <a:avLst/>
                <a:gdLst>
                  <a:gd name="T0" fmla="*/ 148 w 148"/>
                  <a:gd name="T1" fmla="*/ 74 h 148"/>
                  <a:gd name="T2" fmla="*/ 147 w 148"/>
                  <a:gd name="T3" fmla="*/ 57 h 148"/>
                  <a:gd name="T4" fmla="*/ 140 w 148"/>
                  <a:gd name="T5" fmla="*/ 42 h 148"/>
                  <a:gd name="T6" fmla="*/ 132 w 148"/>
                  <a:gd name="T7" fmla="*/ 28 h 148"/>
                  <a:gd name="T8" fmla="*/ 121 w 148"/>
                  <a:gd name="T9" fmla="*/ 17 h 148"/>
                  <a:gd name="T10" fmla="*/ 106 w 148"/>
                  <a:gd name="T11" fmla="*/ 8 h 148"/>
                  <a:gd name="T12" fmla="*/ 92 w 148"/>
                  <a:gd name="T13" fmla="*/ 2 h 148"/>
                  <a:gd name="T14" fmla="*/ 74 w 148"/>
                  <a:gd name="T15" fmla="*/ 0 h 148"/>
                  <a:gd name="T16" fmla="*/ 57 w 148"/>
                  <a:gd name="T17" fmla="*/ 2 h 148"/>
                  <a:gd name="T18" fmla="*/ 42 w 148"/>
                  <a:gd name="T19" fmla="*/ 8 h 148"/>
                  <a:gd name="T20" fmla="*/ 28 w 148"/>
                  <a:gd name="T21" fmla="*/ 17 h 148"/>
                  <a:gd name="T22" fmla="*/ 17 w 148"/>
                  <a:gd name="T23" fmla="*/ 28 h 148"/>
                  <a:gd name="T24" fmla="*/ 8 w 148"/>
                  <a:gd name="T25" fmla="*/ 42 h 148"/>
                  <a:gd name="T26" fmla="*/ 2 w 148"/>
                  <a:gd name="T27" fmla="*/ 57 h 148"/>
                  <a:gd name="T28" fmla="*/ 0 w 148"/>
                  <a:gd name="T29" fmla="*/ 74 h 148"/>
                  <a:gd name="T30" fmla="*/ 2 w 148"/>
                  <a:gd name="T31" fmla="*/ 92 h 148"/>
                  <a:gd name="T32" fmla="*/ 8 w 148"/>
                  <a:gd name="T33" fmla="*/ 107 h 148"/>
                  <a:gd name="T34" fmla="*/ 17 w 148"/>
                  <a:gd name="T35" fmla="*/ 121 h 148"/>
                  <a:gd name="T36" fmla="*/ 28 w 148"/>
                  <a:gd name="T37" fmla="*/ 132 h 148"/>
                  <a:gd name="T38" fmla="*/ 42 w 148"/>
                  <a:gd name="T39" fmla="*/ 140 h 148"/>
                  <a:gd name="T40" fmla="*/ 57 w 148"/>
                  <a:gd name="T41" fmla="*/ 147 h 148"/>
                  <a:gd name="T42" fmla="*/ 74 w 148"/>
                  <a:gd name="T43" fmla="*/ 148 h 148"/>
                  <a:gd name="T44" fmla="*/ 92 w 148"/>
                  <a:gd name="T45" fmla="*/ 147 h 148"/>
                  <a:gd name="T46" fmla="*/ 106 w 148"/>
                  <a:gd name="T47" fmla="*/ 140 h 148"/>
                  <a:gd name="T48" fmla="*/ 121 w 148"/>
                  <a:gd name="T49" fmla="*/ 132 h 148"/>
                  <a:gd name="T50" fmla="*/ 132 w 148"/>
                  <a:gd name="T51" fmla="*/ 121 h 148"/>
                  <a:gd name="T52" fmla="*/ 140 w 148"/>
                  <a:gd name="T53" fmla="*/ 107 h 148"/>
                  <a:gd name="T54" fmla="*/ 147 w 148"/>
                  <a:gd name="T55" fmla="*/ 92 h 148"/>
                  <a:gd name="T56" fmla="*/ 148 w 148"/>
                  <a:gd name="T57" fmla="*/ 74 h 14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8"/>
                  <a:gd name="T88" fmla="*/ 0 h 148"/>
                  <a:gd name="T89" fmla="*/ 148 w 148"/>
                  <a:gd name="T90" fmla="*/ 148 h 14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8" h="148">
                    <a:moveTo>
                      <a:pt x="148" y="74"/>
                    </a:moveTo>
                    <a:lnTo>
                      <a:pt x="147" y="57"/>
                    </a:lnTo>
                    <a:lnTo>
                      <a:pt x="140" y="42"/>
                    </a:lnTo>
                    <a:lnTo>
                      <a:pt x="132" y="28"/>
                    </a:lnTo>
                    <a:lnTo>
                      <a:pt x="121" y="17"/>
                    </a:lnTo>
                    <a:lnTo>
                      <a:pt x="106" y="8"/>
                    </a:lnTo>
                    <a:lnTo>
                      <a:pt x="92" y="2"/>
                    </a:lnTo>
                    <a:lnTo>
                      <a:pt x="74" y="0"/>
                    </a:lnTo>
                    <a:lnTo>
                      <a:pt x="57" y="2"/>
                    </a:lnTo>
                    <a:lnTo>
                      <a:pt x="42" y="8"/>
                    </a:lnTo>
                    <a:lnTo>
                      <a:pt x="28" y="17"/>
                    </a:lnTo>
                    <a:lnTo>
                      <a:pt x="17" y="28"/>
                    </a:lnTo>
                    <a:lnTo>
                      <a:pt x="8" y="42"/>
                    </a:lnTo>
                    <a:lnTo>
                      <a:pt x="2" y="57"/>
                    </a:lnTo>
                    <a:lnTo>
                      <a:pt x="0" y="74"/>
                    </a:lnTo>
                    <a:lnTo>
                      <a:pt x="2" y="92"/>
                    </a:lnTo>
                    <a:lnTo>
                      <a:pt x="8" y="107"/>
                    </a:lnTo>
                    <a:lnTo>
                      <a:pt x="17" y="121"/>
                    </a:lnTo>
                    <a:lnTo>
                      <a:pt x="28" y="132"/>
                    </a:lnTo>
                    <a:lnTo>
                      <a:pt x="42" y="140"/>
                    </a:lnTo>
                    <a:lnTo>
                      <a:pt x="57" y="147"/>
                    </a:lnTo>
                    <a:lnTo>
                      <a:pt x="74" y="148"/>
                    </a:lnTo>
                    <a:lnTo>
                      <a:pt x="92" y="147"/>
                    </a:lnTo>
                    <a:lnTo>
                      <a:pt x="106" y="140"/>
                    </a:lnTo>
                    <a:lnTo>
                      <a:pt x="121" y="132"/>
                    </a:lnTo>
                    <a:lnTo>
                      <a:pt x="132" y="121"/>
                    </a:lnTo>
                    <a:lnTo>
                      <a:pt x="140" y="107"/>
                    </a:lnTo>
                    <a:lnTo>
                      <a:pt x="147" y="92"/>
                    </a:lnTo>
                    <a:lnTo>
                      <a:pt x="148" y="74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2" name="Freeform 64"/>
              <p:cNvSpPr>
                <a:spLocks/>
              </p:cNvSpPr>
              <p:nvPr/>
            </p:nvSpPr>
            <p:spPr bwMode="auto">
              <a:xfrm>
                <a:off x="4398" y="2753"/>
                <a:ext cx="148" cy="148"/>
              </a:xfrm>
              <a:custGeom>
                <a:avLst/>
                <a:gdLst>
                  <a:gd name="T0" fmla="*/ 148 w 148"/>
                  <a:gd name="T1" fmla="*/ 74 h 148"/>
                  <a:gd name="T2" fmla="*/ 147 w 148"/>
                  <a:gd name="T3" fmla="*/ 57 h 148"/>
                  <a:gd name="T4" fmla="*/ 140 w 148"/>
                  <a:gd name="T5" fmla="*/ 42 h 148"/>
                  <a:gd name="T6" fmla="*/ 132 w 148"/>
                  <a:gd name="T7" fmla="*/ 28 h 148"/>
                  <a:gd name="T8" fmla="*/ 121 w 148"/>
                  <a:gd name="T9" fmla="*/ 17 h 148"/>
                  <a:gd name="T10" fmla="*/ 106 w 148"/>
                  <a:gd name="T11" fmla="*/ 8 h 148"/>
                  <a:gd name="T12" fmla="*/ 92 w 148"/>
                  <a:gd name="T13" fmla="*/ 2 h 148"/>
                  <a:gd name="T14" fmla="*/ 74 w 148"/>
                  <a:gd name="T15" fmla="*/ 0 h 148"/>
                  <a:gd name="T16" fmla="*/ 57 w 148"/>
                  <a:gd name="T17" fmla="*/ 2 h 148"/>
                  <a:gd name="T18" fmla="*/ 42 w 148"/>
                  <a:gd name="T19" fmla="*/ 8 h 148"/>
                  <a:gd name="T20" fmla="*/ 28 w 148"/>
                  <a:gd name="T21" fmla="*/ 17 h 148"/>
                  <a:gd name="T22" fmla="*/ 17 w 148"/>
                  <a:gd name="T23" fmla="*/ 28 h 148"/>
                  <a:gd name="T24" fmla="*/ 8 w 148"/>
                  <a:gd name="T25" fmla="*/ 42 h 148"/>
                  <a:gd name="T26" fmla="*/ 2 w 148"/>
                  <a:gd name="T27" fmla="*/ 57 h 148"/>
                  <a:gd name="T28" fmla="*/ 0 w 148"/>
                  <a:gd name="T29" fmla="*/ 74 h 148"/>
                  <a:gd name="T30" fmla="*/ 2 w 148"/>
                  <a:gd name="T31" fmla="*/ 92 h 148"/>
                  <a:gd name="T32" fmla="*/ 8 w 148"/>
                  <a:gd name="T33" fmla="*/ 107 h 148"/>
                  <a:gd name="T34" fmla="*/ 17 w 148"/>
                  <a:gd name="T35" fmla="*/ 121 h 148"/>
                  <a:gd name="T36" fmla="*/ 28 w 148"/>
                  <a:gd name="T37" fmla="*/ 132 h 148"/>
                  <a:gd name="T38" fmla="*/ 42 w 148"/>
                  <a:gd name="T39" fmla="*/ 140 h 148"/>
                  <a:gd name="T40" fmla="*/ 57 w 148"/>
                  <a:gd name="T41" fmla="*/ 147 h 148"/>
                  <a:gd name="T42" fmla="*/ 74 w 148"/>
                  <a:gd name="T43" fmla="*/ 148 h 148"/>
                  <a:gd name="T44" fmla="*/ 92 w 148"/>
                  <a:gd name="T45" fmla="*/ 147 h 148"/>
                  <a:gd name="T46" fmla="*/ 106 w 148"/>
                  <a:gd name="T47" fmla="*/ 140 h 148"/>
                  <a:gd name="T48" fmla="*/ 121 w 148"/>
                  <a:gd name="T49" fmla="*/ 132 h 148"/>
                  <a:gd name="T50" fmla="*/ 132 w 148"/>
                  <a:gd name="T51" fmla="*/ 121 h 148"/>
                  <a:gd name="T52" fmla="*/ 140 w 148"/>
                  <a:gd name="T53" fmla="*/ 107 h 148"/>
                  <a:gd name="T54" fmla="*/ 147 w 148"/>
                  <a:gd name="T55" fmla="*/ 92 h 148"/>
                  <a:gd name="T56" fmla="*/ 148 w 148"/>
                  <a:gd name="T57" fmla="*/ 74 h 14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8"/>
                  <a:gd name="T88" fmla="*/ 0 h 148"/>
                  <a:gd name="T89" fmla="*/ 148 w 148"/>
                  <a:gd name="T90" fmla="*/ 148 h 14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8" h="148">
                    <a:moveTo>
                      <a:pt x="148" y="74"/>
                    </a:moveTo>
                    <a:lnTo>
                      <a:pt x="147" y="57"/>
                    </a:lnTo>
                    <a:lnTo>
                      <a:pt x="140" y="42"/>
                    </a:lnTo>
                    <a:lnTo>
                      <a:pt x="132" y="28"/>
                    </a:lnTo>
                    <a:lnTo>
                      <a:pt x="121" y="17"/>
                    </a:lnTo>
                    <a:lnTo>
                      <a:pt x="106" y="8"/>
                    </a:lnTo>
                    <a:lnTo>
                      <a:pt x="92" y="2"/>
                    </a:lnTo>
                    <a:lnTo>
                      <a:pt x="74" y="0"/>
                    </a:lnTo>
                    <a:lnTo>
                      <a:pt x="57" y="2"/>
                    </a:lnTo>
                    <a:lnTo>
                      <a:pt x="42" y="8"/>
                    </a:lnTo>
                    <a:lnTo>
                      <a:pt x="28" y="17"/>
                    </a:lnTo>
                    <a:lnTo>
                      <a:pt x="17" y="28"/>
                    </a:lnTo>
                    <a:lnTo>
                      <a:pt x="8" y="42"/>
                    </a:lnTo>
                    <a:lnTo>
                      <a:pt x="2" y="57"/>
                    </a:lnTo>
                    <a:lnTo>
                      <a:pt x="0" y="74"/>
                    </a:lnTo>
                    <a:lnTo>
                      <a:pt x="2" y="92"/>
                    </a:lnTo>
                    <a:lnTo>
                      <a:pt x="8" y="107"/>
                    </a:lnTo>
                    <a:lnTo>
                      <a:pt x="17" y="121"/>
                    </a:lnTo>
                    <a:lnTo>
                      <a:pt x="28" y="132"/>
                    </a:lnTo>
                    <a:lnTo>
                      <a:pt x="42" y="140"/>
                    </a:lnTo>
                    <a:lnTo>
                      <a:pt x="57" y="147"/>
                    </a:lnTo>
                    <a:lnTo>
                      <a:pt x="74" y="148"/>
                    </a:lnTo>
                    <a:lnTo>
                      <a:pt x="92" y="147"/>
                    </a:lnTo>
                    <a:lnTo>
                      <a:pt x="106" y="140"/>
                    </a:lnTo>
                    <a:lnTo>
                      <a:pt x="121" y="132"/>
                    </a:lnTo>
                    <a:lnTo>
                      <a:pt x="132" y="121"/>
                    </a:lnTo>
                    <a:lnTo>
                      <a:pt x="140" y="107"/>
                    </a:lnTo>
                    <a:lnTo>
                      <a:pt x="147" y="92"/>
                    </a:lnTo>
                    <a:lnTo>
                      <a:pt x="148" y="74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3" name="Freeform 65"/>
              <p:cNvSpPr>
                <a:spLocks/>
              </p:cNvSpPr>
              <p:nvPr/>
            </p:nvSpPr>
            <p:spPr bwMode="auto">
              <a:xfrm>
                <a:off x="4369" y="2898"/>
                <a:ext cx="149" cy="148"/>
              </a:xfrm>
              <a:custGeom>
                <a:avLst/>
                <a:gdLst>
                  <a:gd name="T0" fmla="*/ 149 w 149"/>
                  <a:gd name="T1" fmla="*/ 74 h 148"/>
                  <a:gd name="T2" fmla="*/ 146 w 149"/>
                  <a:gd name="T3" fmla="*/ 57 h 148"/>
                  <a:gd name="T4" fmla="*/ 141 w 149"/>
                  <a:gd name="T5" fmla="*/ 42 h 148"/>
                  <a:gd name="T6" fmla="*/ 132 w 149"/>
                  <a:gd name="T7" fmla="*/ 28 h 148"/>
                  <a:gd name="T8" fmla="*/ 121 w 149"/>
                  <a:gd name="T9" fmla="*/ 17 h 148"/>
                  <a:gd name="T10" fmla="*/ 107 w 149"/>
                  <a:gd name="T11" fmla="*/ 8 h 148"/>
                  <a:gd name="T12" fmla="*/ 91 w 149"/>
                  <a:gd name="T13" fmla="*/ 2 h 148"/>
                  <a:gd name="T14" fmla="*/ 74 w 149"/>
                  <a:gd name="T15" fmla="*/ 0 h 148"/>
                  <a:gd name="T16" fmla="*/ 57 w 149"/>
                  <a:gd name="T17" fmla="*/ 2 h 148"/>
                  <a:gd name="T18" fmla="*/ 42 w 149"/>
                  <a:gd name="T19" fmla="*/ 8 h 148"/>
                  <a:gd name="T20" fmla="*/ 28 w 149"/>
                  <a:gd name="T21" fmla="*/ 17 h 148"/>
                  <a:gd name="T22" fmla="*/ 17 w 149"/>
                  <a:gd name="T23" fmla="*/ 28 h 148"/>
                  <a:gd name="T24" fmla="*/ 8 w 149"/>
                  <a:gd name="T25" fmla="*/ 42 h 148"/>
                  <a:gd name="T26" fmla="*/ 2 w 149"/>
                  <a:gd name="T27" fmla="*/ 57 h 148"/>
                  <a:gd name="T28" fmla="*/ 0 w 149"/>
                  <a:gd name="T29" fmla="*/ 74 h 148"/>
                  <a:gd name="T30" fmla="*/ 2 w 149"/>
                  <a:gd name="T31" fmla="*/ 91 h 148"/>
                  <a:gd name="T32" fmla="*/ 8 w 149"/>
                  <a:gd name="T33" fmla="*/ 106 h 148"/>
                  <a:gd name="T34" fmla="*/ 17 w 149"/>
                  <a:gd name="T35" fmla="*/ 120 h 148"/>
                  <a:gd name="T36" fmla="*/ 28 w 149"/>
                  <a:gd name="T37" fmla="*/ 131 h 148"/>
                  <a:gd name="T38" fmla="*/ 42 w 149"/>
                  <a:gd name="T39" fmla="*/ 140 h 148"/>
                  <a:gd name="T40" fmla="*/ 57 w 149"/>
                  <a:gd name="T41" fmla="*/ 146 h 148"/>
                  <a:gd name="T42" fmla="*/ 74 w 149"/>
                  <a:gd name="T43" fmla="*/ 148 h 148"/>
                  <a:gd name="T44" fmla="*/ 91 w 149"/>
                  <a:gd name="T45" fmla="*/ 146 h 148"/>
                  <a:gd name="T46" fmla="*/ 107 w 149"/>
                  <a:gd name="T47" fmla="*/ 140 h 148"/>
                  <a:gd name="T48" fmla="*/ 121 w 149"/>
                  <a:gd name="T49" fmla="*/ 131 h 148"/>
                  <a:gd name="T50" fmla="*/ 132 w 149"/>
                  <a:gd name="T51" fmla="*/ 120 h 148"/>
                  <a:gd name="T52" fmla="*/ 141 w 149"/>
                  <a:gd name="T53" fmla="*/ 106 h 148"/>
                  <a:gd name="T54" fmla="*/ 146 w 149"/>
                  <a:gd name="T55" fmla="*/ 91 h 148"/>
                  <a:gd name="T56" fmla="*/ 149 w 149"/>
                  <a:gd name="T57" fmla="*/ 74 h 14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9"/>
                  <a:gd name="T88" fmla="*/ 0 h 148"/>
                  <a:gd name="T89" fmla="*/ 149 w 149"/>
                  <a:gd name="T90" fmla="*/ 148 h 14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9" h="148">
                    <a:moveTo>
                      <a:pt x="149" y="74"/>
                    </a:moveTo>
                    <a:lnTo>
                      <a:pt x="146" y="57"/>
                    </a:lnTo>
                    <a:lnTo>
                      <a:pt x="141" y="42"/>
                    </a:lnTo>
                    <a:lnTo>
                      <a:pt x="132" y="28"/>
                    </a:lnTo>
                    <a:lnTo>
                      <a:pt x="121" y="17"/>
                    </a:lnTo>
                    <a:lnTo>
                      <a:pt x="107" y="8"/>
                    </a:lnTo>
                    <a:lnTo>
                      <a:pt x="91" y="2"/>
                    </a:lnTo>
                    <a:lnTo>
                      <a:pt x="74" y="0"/>
                    </a:lnTo>
                    <a:lnTo>
                      <a:pt x="57" y="2"/>
                    </a:lnTo>
                    <a:lnTo>
                      <a:pt x="42" y="8"/>
                    </a:lnTo>
                    <a:lnTo>
                      <a:pt x="28" y="17"/>
                    </a:lnTo>
                    <a:lnTo>
                      <a:pt x="17" y="28"/>
                    </a:lnTo>
                    <a:lnTo>
                      <a:pt x="8" y="42"/>
                    </a:lnTo>
                    <a:lnTo>
                      <a:pt x="2" y="57"/>
                    </a:lnTo>
                    <a:lnTo>
                      <a:pt x="0" y="74"/>
                    </a:lnTo>
                    <a:lnTo>
                      <a:pt x="2" y="91"/>
                    </a:lnTo>
                    <a:lnTo>
                      <a:pt x="8" y="106"/>
                    </a:lnTo>
                    <a:lnTo>
                      <a:pt x="17" y="120"/>
                    </a:lnTo>
                    <a:lnTo>
                      <a:pt x="28" y="131"/>
                    </a:lnTo>
                    <a:lnTo>
                      <a:pt x="42" y="140"/>
                    </a:lnTo>
                    <a:lnTo>
                      <a:pt x="57" y="146"/>
                    </a:lnTo>
                    <a:lnTo>
                      <a:pt x="74" y="148"/>
                    </a:lnTo>
                    <a:lnTo>
                      <a:pt x="91" y="146"/>
                    </a:lnTo>
                    <a:lnTo>
                      <a:pt x="107" y="140"/>
                    </a:lnTo>
                    <a:lnTo>
                      <a:pt x="121" y="131"/>
                    </a:lnTo>
                    <a:lnTo>
                      <a:pt x="132" y="120"/>
                    </a:lnTo>
                    <a:lnTo>
                      <a:pt x="141" y="106"/>
                    </a:lnTo>
                    <a:lnTo>
                      <a:pt x="146" y="91"/>
                    </a:lnTo>
                    <a:lnTo>
                      <a:pt x="149" y="74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4" name="Freeform 66"/>
              <p:cNvSpPr>
                <a:spLocks/>
              </p:cNvSpPr>
              <p:nvPr/>
            </p:nvSpPr>
            <p:spPr bwMode="auto">
              <a:xfrm>
                <a:off x="4369" y="2898"/>
                <a:ext cx="149" cy="148"/>
              </a:xfrm>
              <a:custGeom>
                <a:avLst/>
                <a:gdLst>
                  <a:gd name="T0" fmla="*/ 149 w 149"/>
                  <a:gd name="T1" fmla="*/ 74 h 148"/>
                  <a:gd name="T2" fmla="*/ 146 w 149"/>
                  <a:gd name="T3" fmla="*/ 57 h 148"/>
                  <a:gd name="T4" fmla="*/ 141 w 149"/>
                  <a:gd name="T5" fmla="*/ 42 h 148"/>
                  <a:gd name="T6" fmla="*/ 132 w 149"/>
                  <a:gd name="T7" fmla="*/ 28 h 148"/>
                  <a:gd name="T8" fmla="*/ 121 w 149"/>
                  <a:gd name="T9" fmla="*/ 17 h 148"/>
                  <a:gd name="T10" fmla="*/ 107 w 149"/>
                  <a:gd name="T11" fmla="*/ 8 h 148"/>
                  <a:gd name="T12" fmla="*/ 91 w 149"/>
                  <a:gd name="T13" fmla="*/ 2 h 148"/>
                  <a:gd name="T14" fmla="*/ 74 w 149"/>
                  <a:gd name="T15" fmla="*/ 0 h 148"/>
                  <a:gd name="T16" fmla="*/ 57 w 149"/>
                  <a:gd name="T17" fmla="*/ 2 h 148"/>
                  <a:gd name="T18" fmla="*/ 42 w 149"/>
                  <a:gd name="T19" fmla="*/ 8 h 148"/>
                  <a:gd name="T20" fmla="*/ 28 w 149"/>
                  <a:gd name="T21" fmla="*/ 17 h 148"/>
                  <a:gd name="T22" fmla="*/ 17 w 149"/>
                  <a:gd name="T23" fmla="*/ 28 h 148"/>
                  <a:gd name="T24" fmla="*/ 8 w 149"/>
                  <a:gd name="T25" fmla="*/ 42 h 148"/>
                  <a:gd name="T26" fmla="*/ 2 w 149"/>
                  <a:gd name="T27" fmla="*/ 57 h 148"/>
                  <a:gd name="T28" fmla="*/ 0 w 149"/>
                  <a:gd name="T29" fmla="*/ 74 h 148"/>
                  <a:gd name="T30" fmla="*/ 2 w 149"/>
                  <a:gd name="T31" fmla="*/ 91 h 148"/>
                  <a:gd name="T32" fmla="*/ 8 w 149"/>
                  <a:gd name="T33" fmla="*/ 106 h 148"/>
                  <a:gd name="T34" fmla="*/ 17 w 149"/>
                  <a:gd name="T35" fmla="*/ 120 h 148"/>
                  <a:gd name="T36" fmla="*/ 28 w 149"/>
                  <a:gd name="T37" fmla="*/ 131 h 148"/>
                  <a:gd name="T38" fmla="*/ 42 w 149"/>
                  <a:gd name="T39" fmla="*/ 140 h 148"/>
                  <a:gd name="T40" fmla="*/ 57 w 149"/>
                  <a:gd name="T41" fmla="*/ 146 h 148"/>
                  <a:gd name="T42" fmla="*/ 74 w 149"/>
                  <a:gd name="T43" fmla="*/ 148 h 148"/>
                  <a:gd name="T44" fmla="*/ 91 w 149"/>
                  <a:gd name="T45" fmla="*/ 146 h 148"/>
                  <a:gd name="T46" fmla="*/ 107 w 149"/>
                  <a:gd name="T47" fmla="*/ 140 h 148"/>
                  <a:gd name="T48" fmla="*/ 121 w 149"/>
                  <a:gd name="T49" fmla="*/ 131 h 148"/>
                  <a:gd name="T50" fmla="*/ 132 w 149"/>
                  <a:gd name="T51" fmla="*/ 120 h 148"/>
                  <a:gd name="T52" fmla="*/ 141 w 149"/>
                  <a:gd name="T53" fmla="*/ 106 h 148"/>
                  <a:gd name="T54" fmla="*/ 146 w 149"/>
                  <a:gd name="T55" fmla="*/ 91 h 148"/>
                  <a:gd name="T56" fmla="*/ 149 w 149"/>
                  <a:gd name="T57" fmla="*/ 74 h 14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9"/>
                  <a:gd name="T88" fmla="*/ 0 h 148"/>
                  <a:gd name="T89" fmla="*/ 149 w 149"/>
                  <a:gd name="T90" fmla="*/ 148 h 14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9" h="148">
                    <a:moveTo>
                      <a:pt x="149" y="74"/>
                    </a:moveTo>
                    <a:lnTo>
                      <a:pt x="146" y="57"/>
                    </a:lnTo>
                    <a:lnTo>
                      <a:pt x="141" y="42"/>
                    </a:lnTo>
                    <a:lnTo>
                      <a:pt x="132" y="28"/>
                    </a:lnTo>
                    <a:lnTo>
                      <a:pt x="121" y="17"/>
                    </a:lnTo>
                    <a:lnTo>
                      <a:pt x="107" y="8"/>
                    </a:lnTo>
                    <a:lnTo>
                      <a:pt x="91" y="2"/>
                    </a:lnTo>
                    <a:lnTo>
                      <a:pt x="74" y="0"/>
                    </a:lnTo>
                    <a:lnTo>
                      <a:pt x="57" y="2"/>
                    </a:lnTo>
                    <a:lnTo>
                      <a:pt x="42" y="8"/>
                    </a:lnTo>
                    <a:lnTo>
                      <a:pt x="28" y="17"/>
                    </a:lnTo>
                    <a:lnTo>
                      <a:pt x="17" y="28"/>
                    </a:lnTo>
                    <a:lnTo>
                      <a:pt x="8" y="42"/>
                    </a:lnTo>
                    <a:lnTo>
                      <a:pt x="2" y="57"/>
                    </a:lnTo>
                    <a:lnTo>
                      <a:pt x="0" y="74"/>
                    </a:lnTo>
                    <a:lnTo>
                      <a:pt x="2" y="91"/>
                    </a:lnTo>
                    <a:lnTo>
                      <a:pt x="8" y="106"/>
                    </a:lnTo>
                    <a:lnTo>
                      <a:pt x="17" y="120"/>
                    </a:lnTo>
                    <a:lnTo>
                      <a:pt x="28" y="131"/>
                    </a:lnTo>
                    <a:lnTo>
                      <a:pt x="42" y="140"/>
                    </a:lnTo>
                    <a:lnTo>
                      <a:pt x="57" y="146"/>
                    </a:lnTo>
                    <a:lnTo>
                      <a:pt x="74" y="148"/>
                    </a:lnTo>
                    <a:lnTo>
                      <a:pt x="91" y="146"/>
                    </a:lnTo>
                    <a:lnTo>
                      <a:pt x="107" y="140"/>
                    </a:lnTo>
                    <a:lnTo>
                      <a:pt x="121" y="131"/>
                    </a:lnTo>
                    <a:lnTo>
                      <a:pt x="132" y="120"/>
                    </a:lnTo>
                    <a:lnTo>
                      <a:pt x="141" y="106"/>
                    </a:lnTo>
                    <a:lnTo>
                      <a:pt x="146" y="91"/>
                    </a:lnTo>
                    <a:lnTo>
                      <a:pt x="149" y="74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5" name="Freeform 67"/>
              <p:cNvSpPr>
                <a:spLocks/>
              </p:cNvSpPr>
              <p:nvPr/>
            </p:nvSpPr>
            <p:spPr bwMode="auto">
              <a:xfrm>
                <a:off x="4570" y="2805"/>
                <a:ext cx="147" cy="147"/>
              </a:xfrm>
              <a:custGeom>
                <a:avLst/>
                <a:gdLst>
                  <a:gd name="T0" fmla="*/ 147 w 147"/>
                  <a:gd name="T1" fmla="*/ 74 h 147"/>
                  <a:gd name="T2" fmla="*/ 146 w 147"/>
                  <a:gd name="T3" fmla="*/ 57 h 147"/>
                  <a:gd name="T4" fmla="*/ 140 w 147"/>
                  <a:gd name="T5" fmla="*/ 42 h 147"/>
                  <a:gd name="T6" fmla="*/ 131 w 147"/>
                  <a:gd name="T7" fmla="*/ 28 h 147"/>
                  <a:gd name="T8" fmla="*/ 120 w 147"/>
                  <a:gd name="T9" fmla="*/ 17 h 147"/>
                  <a:gd name="T10" fmla="*/ 106 w 147"/>
                  <a:gd name="T11" fmla="*/ 8 h 147"/>
                  <a:gd name="T12" fmla="*/ 91 w 147"/>
                  <a:gd name="T13" fmla="*/ 2 h 147"/>
                  <a:gd name="T14" fmla="*/ 74 w 147"/>
                  <a:gd name="T15" fmla="*/ 0 h 147"/>
                  <a:gd name="T16" fmla="*/ 56 w 147"/>
                  <a:gd name="T17" fmla="*/ 2 h 147"/>
                  <a:gd name="T18" fmla="*/ 41 w 147"/>
                  <a:gd name="T19" fmla="*/ 8 h 147"/>
                  <a:gd name="T20" fmla="*/ 27 w 147"/>
                  <a:gd name="T21" fmla="*/ 17 h 147"/>
                  <a:gd name="T22" fmla="*/ 16 w 147"/>
                  <a:gd name="T23" fmla="*/ 28 h 147"/>
                  <a:gd name="T24" fmla="*/ 8 w 147"/>
                  <a:gd name="T25" fmla="*/ 42 h 147"/>
                  <a:gd name="T26" fmla="*/ 1 w 147"/>
                  <a:gd name="T27" fmla="*/ 57 h 147"/>
                  <a:gd name="T28" fmla="*/ 0 w 147"/>
                  <a:gd name="T29" fmla="*/ 74 h 147"/>
                  <a:gd name="T30" fmla="*/ 1 w 147"/>
                  <a:gd name="T31" fmla="*/ 91 h 147"/>
                  <a:gd name="T32" fmla="*/ 8 w 147"/>
                  <a:gd name="T33" fmla="*/ 106 h 147"/>
                  <a:gd name="T34" fmla="*/ 16 w 147"/>
                  <a:gd name="T35" fmla="*/ 120 h 147"/>
                  <a:gd name="T36" fmla="*/ 27 w 147"/>
                  <a:gd name="T37" fmla="*/ 131 h 147"/>
                  <a:gd name="T38" fmla="*/ 41 w 147"/>
                  <a:gd name="T39" fmla="*/ 139 h 147"/>
                  <a:gd name="T40" fmla="*/ 56 w 147"/>
                  <a:gd name="T41" fmla="*/ 146 h 147"/>
                  <a:gd name="T42" fmla="*/ 74 w 147"/>
                  <a:gd name="T43" fmla="*/ 147 h 147"/>
                  <a:gd name="T44" fmla="*/ 91 w 147"/>
                  <a:gd name="T45" fmla="*/ 146 h 147"/>
                  <a:gd name="T46" fmla="*/ 106 w 147"/>
                  <a:gd name="T47" fmla="*/ 139 h 147"/>
                  <a:gd name="T48" fmla="*/ 120 w 147"/>
                  <a:gd name="T49" fmla="*/ 131 h 147"/>
                  <a:gd name="T50" fmla="*/ 131 w 147"/>
                  <a:gd name="T51" fmla="*/ 120 h 147"/>
                  <a:gd name="T52" fmla="*/ 140 w 147"/>
                  <a:gd name="T53" fmla="*/ 106 h 147"/>
                  <a:gd name="T54" fmla="*/ 146 w 147"/>
                  <a:gd name="T55" fmla="*/ 91 h 147"/>
                  <a:gd name="T56" fmla="*/ 147 w 147"/>
                  <a:gd name="T57" fmla="*/ 74 h 14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7"/>
                  <a:gd name="T88" fmla="*/ 0 h 147"/>
                  <a:gd name="T89" fmla="*/ 147 w 147"/>
                  <a:gd name="T90" fmla="*/ 147 h 14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7" h="147">
                    <a:moveTo>
                      <a:pt x="147" y="74"/>
                    </a:moveTo>
                    <a:lnTo>
                      <a:pt x="146" y="57"/>
                    </a:lnTo>
                    <a:lnTo>
                      <a:pt x="140" y="42"/>
                    </a:lnTo>
                    <a:lnTo>
                      <a:pt x="131" y="28"/>
                    </a:lnTo>
                    <a:lnTo>
                      <a:pt x="120" y="17"/>
                    </a:lnTo>
                    <a:lnTo>
                      <a:pt x="106" y="8"/>
                    </a:lnTo>
                    <a:lnTo>
                      <a:pt x="91" y="2"/>
                    </a:lnTo>
                    <a:lnTo>
                      <a:pt x="74" y="0"/>
                    </a:lnTo>
                    <a:lnTo>
                      <a:pt x="56" y="2"/>
                    </a:lnTo>
                    <a:lnTo>
                      <a:pt x="41" y="8"/>
                    </a:lnTo>
                    <a:lnTo>
                      <a:pt x="27" y="17"/>
                    </a:lnTo>
                    <a:lnTo>
                      <a:pt x="16" y="28"/>
                    </a:lnTo>
                    <a:lnTo>
                      <a:pt x="8" y="42"/>
                    </a:lnTo>
                    <a:lnTo>
                      <a:pt x="1" y="57"/>
                    </a:lnTo>
                    <a:lnTo>
                      <a:pt x="0" y="74"/>
                    </a:lnTo>
                    <a:lnTo>
                      <a:pt x="1" y="91"/>
                    </a:lnTo>
                    <a:lnTo>
                      <a:pt x="8" y="106"/>
                    </a:lnTo>
                    <a:lnTo>
                      <a:pt x="16" y="120"/>
                    </a:lnTo>
                    <a:lnTo>
                      <a:pt x="27" y="131"/>
                    </a:lnTo>
                    <a:lnTo>
                      <a:pt x="41" y="139"/>
                    </a:lnTo>
                    <a:lnTo>
                      <a:pt x="56" y="146"/>
                    </a:lnTo>
                    <a:lnTo>
                      <a:pt x="74" y="147"/>
                    </a:lnTo>
                    <a:lnTo>
                      <a:pt x="91" y="146"/>
                    </a:lnTo>
                    <a:lnTo>
                      <a:pt x="106" y="139"/>
                    </a:lnTo>
                    <a:lnTo>
                      <a:pt x="120" y="131"/>
                    </a:lnTo>
                    <a:lnTo>
                      <a:pt x="131" y="120"/>
                    </a:lnTo>
                    <a:lnTo>
                      <a:pt x="140" y="106"/>
                    </a:lnTo>
                    <a:lnTo>
                      <a:pt x="146" y="91"/>
                    </a:lnTo>
                    <a:lnTo>
                      <a:pt x="147" y="74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6" name="Freeform 68"/>
              <p:cNvSpPr>
                <a:spLocks/>
              </p:cNvSpPr>
              <p:nvPr/>
            </p:nvSpPr>
            <p:spPr bwMode="auto">
              <a:xfrm>
                <a:off x="4570" y="2805"/>
                <a:ext cx="147" cy="147"/>
              </a:xfrm>
              <a:custGeom>
                <a:avLst/>
                <a:gdLst>
                  <a:gd name="T0" fmla="*/ 147 w 147"/>
                  <a:gd name="T1" fmla="*/ 74 h 147"/>
                  <a:gd name="T2" fmla="*/ 146 w 147"/>
                  <a:gd name="T3" fmla="*/ 57 h 147"/>
                  <a:gd name="T4" fmla="*/ 140 w 147"/>
                  <a:gd name="T5" fmla="*/ 42 h 147"/>
                  <a:gd name="T6" fmla="*/ 131 w 147"/>
                  <a:gd name="T7" fmla="*/ 28 h 147"/>
                  <a:gd name="T8" fmla="*/ 120 w 147"/>
                  <a:gd name="T9" fmla="*/ 17 h 147"/>
                  <a:gd name="T10" fmla="*/ 106 w 147"/>
                  <a:gd name="T11" fmla="*/ 8 h 147"/>
                  <a:gd name="T12" fmla="*/ 91 w 147"/>
                  <a:gd name="T13" fmla="*/ 2 h 147"/>
                  <a:gd name="T14" fmla="*/ 74 w 147"/>
                  <a:gd name="T15" fmla="*/ 0 h 147"/>
                  <a:gd name="T16" fmla="*/ 56 w 147"/>
                  <a:gd name="T17" fmla="*/ 2 h 147"/>
                  <a:gd name="T18" fmla="*/ 41 w 147"/>
                  <a:gd name="T19" fmla="*/ 8 h 147"/>
                  <a:gd name="T20" fmla="*/ 27 w 147"/>
                  <a:gd name="T21" fmla="*/ 17 h 147"/>
                  <a:gd name="T22" fmla="*/ 16 w 147"/>
                  <a:gd name="T23" fmla="*/ 28 h 147"/>
                  <a:gd name="T24" fmla="*/ 8 w 147"/>
                  <a:gd name="T25" fmla="*/ 42 h 147"/>
                  <a:gd name="T26" fmla="*/ 1 w 147"/>
                  <a:gd name="T27" fmla="*/ 57 h 147"/>
                  <a:gd name="T28" fmla="*/ 0 w 147"/>
                  <a:gd name="T29" fmla="*/ 74 h 147"/>
                  <a:gd name="T30" fmla="*/ 1 w 147"/>
                  <a:gd name="T31" fmla="*/ 91 h 147"/>
                  <a:gd name="T32" fmla="*/ 8 w 147"/>
                  <a:gd name="T33" fmla="*/ 106 h 147"/>
                  <a:gd name="T34" fmla="*/ 16 w 147"/>
                  <a:gd name="T35" fmla="*/ 120 h 147"/>
                  <a:gd name="T36" fmla="*/ 27 w 147"/>
                  <a:gd name="T37" fmla="*/ 131 h 147"/>
                  <a:gd name="T38" fmla="*/ 41 w 147"/>
                  <a:gd name="T39" fmla="*/ 139 h 147"/>
                  <a:gd name="T40" fmla="*/ 56 w 147"/>
                  <a:gd name="T41" fmla="*/ 146 h 147"/>
                  <a:gd name="T42" fmla="*/ 74 w 147"/>
                  <a:gd name="T43" fmla="*/ 147 h 147"/>
                  <a:gd name="T44" fmla="*/ 91 w 147"/>
                  <a:gd name="T45" fmla="*/ 146 h 147"/>
                  <a:gd name="T46" fmla="*/ 106 w 147"/>
                  <a:gd name="T47" fmla="*/ 139 h 147"/>
                  <a:gd name="T48" fmla="*/ 120 w 147"/>
                  <a:gd name="T49" fmla="*/ 131 h 147"/>
                  <a:gd name="T50" fmla="*/ 131 w 147"/>
                  <a:gd name="T51" fmla="*/ 120 h 147"/>
                  <a:gd name="T52" fmla="*/ 140 w 147"/>
                  <a:gd name="T53" fmla="*/ 106 h 147"/>
                  <a:gd name="T54" fmla="*/ 146 w 147"/>
                  <a:gd name="T55" fmla="*/ 91 h 147"/>
                  <a:gd name="T56" fmla="*/ 147 w 147"/>
                  <a:gd name="T57" fmla="*/ 74 h 14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7"/>
                  <a:gd name="T88" fmla="*/ 0 h 147"/>
                  <a:gd name="T89" fmla="*/ 147 w 147"/>
                  <a:gd name="T90" fmla="*/ 147 h 147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7" h="147">
                    <a:moveTo>
                      <a:pt x="147" y="74"/>
                    </a:moveTo>
                    <a:lnTo>
                      <a:pt x="146" y="57"/>
                    </a:lnTo>
                    <a:lnTo>
                      <a:pt x="140" y="42"/>
                    </a:lnTo>
                    <a:lnTo>
                      <a:pt x="131" y="28"/>
                    </a:lnTo>
                    <a:lnTo>
                      <a:pt x="120" y="17"/>
                    </a:lnTo>
                    <a:lnTo>
                      <a:pt x="106" y="8"/>
                    </a:lnTo>
                    <a:lnTo>
                      <a:pt x="91" y="2"/>
                    </a:lnTo>
                    <a:lnTo>
                      <a:pt x="74" y="0"/>
                    </a:lnTo>
                    <a:lnTo>
                      <a:pt x="56" y="2"/>
                    </a:lnTo>
                    <a:lnTo>
                      <a:pt x="41" y="8"/>
                    </a:lnTo>
                    <a:lnTo>
                      <a:pt x="27" y="17"/>
                    </a:lnTo>
                    <a:lnTo>
                      <a:pt x="16" y="28"/>
                    </a:lnTo>
                    <a:lnTo>
                      <a:pt x="8" y="42"/>
                    </a:lnTo>
                    <a:lnTo>
                      <a:pt x="1" y="57"/>
                    </a:lnTo>
                    <a:lnTo>
                      <a:pt x="0" y="74"/>
                    </a:lnTo>
                    <a:lnTo>
                      <a:pt x="1" y="91"/>
                    </a:lnTo>
                    <a:lnTo>
                      <a:pt x="8" y="106"/>
                    </a:lnTo>
                    <a:lnTo>
                      <a:pt x="16" y="120"/>
                    </a:lnTo>
                    <a:lnTo>
                      <a:pt x="27" y="131"/>
                    </a:lnTo>
                    <a:lnTo>
                      <a:pt x="41" y="139"/>
                    </a:lnTo>
                    <a:lnTo>
                      <a:pt x="56" y="146"/>
                    </a:lnTo>
                    <a:lnTo>
                      <a:pt x="74" y="147"/>
                    </a:lnTo>
                    <a:lnTo>
                      <a:pt x="91" y="146"/>
                    </a:lnTo>
                    <a:lnTo>
                      <a:pt x="106" y="139"/>
                    </a:lnTo>
                    <a:lnTo>
                      <a:pt x="120" y="131"/>
                    </a:lnTo>
                    <a:lnTo>
                      <a:pt x="131" y="120"/>
                    </a:lnTo>
                    <a:lnTo>
                      <a:pt x="140" y="106"/>
                    </a:lnTo>
                    <a:lnTo>
                      <a:pt x="146" y="91"/>
                    </a:lnTo>
                    <a:lnTo>
                      <a:pt x="147" y="74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7" name="Freeform 69"/>
              <p:cNvSpPr>
                <a:spLocks/>
              </p:cNvSpPr>
              <p:nvPr/>
            </p:nvSpPr>
            <p:spPr bwMode="auto">
              <a:xfrm>
                <a:off x="5151" y="1755"/>
                <a:ext cx="146" cy="146"/>
              </a:xfrm>
              <a:custGeom>
                <a:avLst/>
                <a:gdLst>
                  <a:gd name="T0" fmla="*/ 146 w 146"/>
                  <a:gd name="T1" fmla="*/ 73 h 146"/>
                  <a:gd name="T2" fmla="*/ 145 w 146"/>
                  <a:gd name="T3" fmla="*/ 56 h 146"/>
                  <a:gd name="T4" fmla="*/ 139 w 146"/>
                  <a:gd name="T5" fmla="*/ 41 h 146"/>
                  <a:gd name="T6" fmla="*/ 131 w 146"/>
                  <a:gd name="T7" fmla="*/ 27 h 146"/>
                  <a:gd name="T8" fmla="*/ 119 w 146"/>
                  <a:gd name="T9" fmla="*/ 16 h 146"/>
                  <a:gd name="T10" fmla="*/ 105 w 146"/>
                  <a:gd name="T11" fmla="*/ 7 h 146"/>
                  <a:gd name="T12" fmla="*/ 90 w 146"/>
                  <a:gd name="T13" fmla="*/ 1 h 146"/>
                  <a:gd name="T14" fmla="*/ 73 w 146"/>
                  <a:gd name="T15" fmla="*/ 0 h 146"/>
                  <a:gd name="T16" fmla="*/ 57 w 146"/>
                  <a:gd name="T17" fmla="*/ 1 h 146"/>
                  <a:gd name="T18" fmla="*/ 41 w 146"/>
                  <a:gd name="T19" fmla="*/ 7 h 146"/>
                  <a:gd name="T20" fmla="*/ 28 w 146"/>
                  <a:gd name="T21" fmla="*/ 16 h 146"/>
                  <a:gd name="T22" fmla="*/ 17 w 146"/>
                  <a:gd name="T23" fmla="*/ 27 h 146"/>
                  <a:gd name="T24" fmla="*/ 8 w 146"/>
                  <a:gd name="T25" fmla="*/ 41 h 146"/>
                  <a:gd name="T26" fmla="*/ 2 w 146"/>
                  <a:gd name="T27" fmla="*/ 56 h 146"/>
                  <a:gd name="T28" fmla="*/ 0 w 146"/>
                  <a:gd name="T29" fmla="*/ 73 h 146"/>
                  <a:gd name="T30" fmla="*/ 2 w 146"/>
                  <a:gd name="T31" fmla="*/ 89 h 146"/>
                  <a:gd name="T32" fmla="*/ 8 w 146"/>
                  <a:gd name="T33" fmla="*/ 105 h 146"/>
                  <a:gd name="T34" fmla="*/ 17 w 146"/>
                  <a:gd name="T35" fmla="*/ 118 h 146"/>
                  <a:gd name="T36" fmla="*/ 28 w 146"/>
                  <a:gd name="T37" fmla="*/ 129 h 146"/>
                  <a:gd name="T38" fmla="*/ 41 w 146"/>
                  <a:gd name="T39" fmla="*/ 138 h 146"/>
                  <a:gd name="T40" fmla="*/ 57 w 146"/>
                  <a:gd name="T41" fmla="*/ 144 h 146"/>
                  <a:gd name="T42" fmla="*/ 73 w 146"/>
                  <a:gd name="T43" fmla="*/ 146 h 146"/>
                  <a:gd name="T44" fmla="*/ 90 w 146"/>
                  <a:gd name="T45" fmla="*/ 144 h 146"/>
                  <a:gd name="T46" fmla="*/ 105 w 146"/>
                  <a:gd name="T47" fmla="*/ 138 h 146"/>
                  <a:gd name="T48" fmla="*/ 119 w 146"/>
                  <a:gd name="T49" fmla="*/ 129 h 146"/>
                  <a:gd name="T50" fmla="*/ 131 w 146"/>
                  <a:gd name="T51" fmla="*/ 118 h 146"/>
                  <a:gd name="T52" fmla="*/ 139 w 146"/>
                  <a:gd name="T53" fmla="*/ 105 h 146"/>
                  <a:gd name="T54" fmla="*/ 145 w 146"/>
                  <a:gd name="T55" fmla="*/ 89 h 146"/>
                  <a:gd name="T56" fmla="*/ 146 w 146"/>
                  <a:gd name="T57" fmla="*/ 73 h 14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6"/>
                  <a:gd name="T88" fmla="*/ 0 h 146"/>
                  <a:gd name="T89" fmla="*/ 146 w 146"/>
                  <a:gd name="T90" fmla="*/ 146 h 14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6" h="146">
                    <a:moveTo>
                      <a:pt x="146" y="73"/>
                    </a:moveTo>
                    <a:lnTo>
                      <a:pt x="145" y="56"/>
                    </a:lnTo>
                    <a:lnTo>
                      <a:pt x="139" y="41"/>
                    </a:lnTo>
                    <a:lnTo>
                      <a:pt x="131" y="27"/>
                    </a:lnTo>
                    <a:lnTo>
                      <a:pt x="119" y="16"/>
                    </a:lnTo>
                    <a:lnTo>
                      <a:pt x="105" y="7"/>
                    </a:lnTo>
                    <a:lnTo>
                      <a:pt x="90" y="1"/>
                    </a:lnTo>
                    <a:lnTo>
                      <a:pt x="73" y="0"/>
                    </a:lnTo>
                    <a:lnTo>
                      <a:pt x="57" y="1"/>
                    </a:lnTo>
                    <a:lnTo>
                      <a:pt x="41" y="7"/>
                    </a:lnTo>
                    <a:lnTo>
                      <a:pt x="28" y="16"/>
                    </a:lnTo>
                    <a:lnTo>
                      <a:pt x="17" y="27"/>
                    </a:lnTo>
                    <a:lnTo>
                      <a:pt x="8" y="41"/>
                    </a:lnTo>
                    <a:lnTo>
                      <a:pt x="2" y="56"/>
                    </a:lnTo>
                    <a:lnTo>
                      <a:pt x="0" y="73"/>
                    </a:lnTo>
                    <a:lnTo>
                      <a:pt x="2" y="89"/>
                    </a:lnTo>
                    <a:lnTo>
                      <a:pt x="8" y="105"/>
                    </a:lnTo>
                    <a:lnTo>
                      <a:pt x="17" y="118"/>
                    </a:lnTo>
                    <a:lnTo>
                      <a:pt x="28" y="129"/>
                    </a:lnTo>
                    <a:lnTo>
                      <a:pt x="41" y="138"/>
                    </a:lnTo>
                    <a:lnTo>
                      <a:pt x="57" y="144"/>
                    </a:lnTo>
                    <a:lnTo>
                      <a:pt x="73" y="146"/>
                    </a:lnTo>
                    <a:lnTo>
                      <a:pt x="90" y="144"/>
                    </a:lnTo>
                    <a:lnTo>
                      <a:pt x="105" y="138"/>
                    </a:lnTo>
                    <a:lnTo>
                      <a:pt x="119" y="129"/>
                    </a:lnTo>
                    <a:lnTo>
                      <a:pt x="131" y="118"/>
                    </a:lnTo>
                    <a:lnTo>
                      <a:pt x="139" y="105"/>
                    </a:lnTo>
                    <a:lnTo>
                      <a:pt x="145" y="89"/>
                    </a:lnTo>
                    <a:lnTo>
                      <a:pt x="146" y="7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8" name="Freeform 70"/>
              <p:cNvSpPr>
                <a:spLocks/>
              </p:cNvSpPr>
              <p:nvPr/>
            </p:nvSpPr>
            <p:spPr bwMode="auto">
              <a:xfrm>
                <a:off x="5151" y="1755"/>
                <a:ext cx="146" cy="146"/>
              </a:xfrm>
              <a:custGeom>
                <a:avLst/>
                <a:gdLst>
                  <a:gd name="T0" fmla="*/ 146 w 146"/>
                  <a:gd name="T1" fmla="*/ 73 h 146"/>
                  <a:gd name="T2" fmla="*/ 145 w 146"/>
                  <a:gd name="T3" fmla="*/ 56 h 146"/>
                  <a:gd name="T4" fmla="*/ 139 w 146"/>
                  <a:gd name="T5" fmla="*/ 41 h 146"/>
                  <a:gd name="T6" fmla="*/ 131 w 146"/>
                  <a:gd name="T7" fmla="*/ 27 h 146"/>
                  <a:gd name="T8" fmla="*/ 119 w 146"/>
                  <a:gd name="T9" fmla="*/ 16 h 146"/>
                  <a:gd name="T10" fmla="*/ 105 w 146"/>
                  <a:gd name="T11" fmla="*/ 7 h 146"/>
                  <a:gd name="T12" fmla="*/ 90 w 146"/>
                  <a:gd name="T13" fmla="*/ 1 h 146"/>
                  <a:gd name="T14" fmla="*/ 73 w 146"/>
                  <a:gd name="T15" fmla="*/ 0 h 146"/>
                  <a:gd name="T16" fmla="*/ 57 w 146"/>
                  <a:gd name="T17" fmla="*/ 1 h 146"/>
                  <a:gd name="T18" fmla="*/ 41 w 146"/>
                  <a:gd name="T19" fmla="*/ 7 h 146"/>
                  <a:gd name="T20" fmla="*/ 28 w 146"/>
                  <a:gd name="T21" fmla="*/ 16 h 146"/>
                  <a:gd name="T22" fmla="*/ 17 w 146"/>
                  <a:gd name="T23" fmla="*/ 27 h 146"/>
                  <a:gd name="T24" fmla="*/ 8 w 146"/>
                  <a:gd name="T25" fmla="*/ 41 h 146"/>
                  <a:gd name="T26" fmla="*/ 2 w 146"/>
                  <a:gd name="T27" fmla="*/ 56 h 146"/>
                  <a:gd name="T28" fmla="*/ 0 w 146"/>
                  <a:gd name="T29" fmla="*/ 73 h 146"/>
                  <a:gd name="T30" fmla="*/ 2 w 146"/>
                  <a:gd name="T31" fmla="*/ 89 h 146"/>
                  <a:gd name="T32" fmla="*/ 8 w 146"/>
                  <a:gd name="T33" fmla="*/ 105 h 146"/>
                  <a:gd name="T34" fmla="*/ 17 w 146"/>
                  <a:gd name="T35" fmla="*/ 118 h 146"/>
                  <a:gd name="T36" fmla="*/ 28 w 146"/>
                  <a:gd name="T37" fmla="*/ 129 h 146"/>
                  <a:gd name="T38" fmla="*/ 41 w 146"/>
                  <a:gd name="T39" fmla="*/ 138 h 146"/>
                  <a:gd name="T40" fmla="*/ 57 w 146"/>
                  <a:gd name="T41" fmla="*/ 144 h 146"/>
                  <a:gd name="T42" fmla="*/ 73 w 146"/>
                  <a:gd name="T43" fmla="*/ 146 h 146"/>
                  <a:gd name="T44" fmla="*/ 90 w 146"/>
                  <a:gd name="T45" fmla="*/ 144 h 146"/>
                  <a:gd name="T46" fmla="*/ 105 w 146"/>
                  <a:gd name="T47" fmla="*/ 138 h 146"/>
                  <a:gd name="T48" fmla="*/ 119 w 146"/>
                  <a:gd name="T49" fmla="*/ 129 h 146"/>
                  <a:gd name="T50" fmla="*/ 131 w 146"/>
                  <a:gd name="T51" fmla="*/ 118 h 146"/>
                  <a:gd name="T52" fmla="*/ 139 w 146"/>
                  <a:gd name="T53" fmla="*/ 105 h 146"/>
                  <a:gd name="T54" fmla="*/ 145 w 146"/>
                  <a:gd name="T55" fmla="*/ 89 h 146"/>
                  <a:gd name="T56" fmla="*/ 146 w 146"/>
                  <a:gd name="T57" fmla="*/ 73 h 14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46"/>
                  <a:gd name="T88" fmla="*/ 0 h 146"/>
                  <a:gd name="T89" fmla="*/ 146 w 146"/>
                  <a:gd name="T90" fmla="*/ 146 h 14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46" h="146">
                    <a:moveTo>
                      <a:pt x="146" y="73"/>
                    </a:moveTo>
                    <a:lnTo>
                      <a:pt x="145" y="56"/>
                    </a:lnTo>
                    <a:lnTo>
                      <a:pt x="139" y="41"/>
                    </a:lnTo>
                    <a:lnTo>
                      <a:pt x="131" y="27"/>
                    </a:lnTo>
                    <a:lnTo>
                      <a:pt x="119" y="16"/>
                    </a:lnTo>
                    <a:lnTo>
                      <a:pt x="105" y="7"/>
                    </a:lnTo>
                    <a:lnTo>
                      <a:pt x="90" y="1"/>
                    </a:lnTo>
                    <a:lnTo>
                      <a:pt x="73" y="0"/>
                    </a:lnTo>
                    <a:lnTo>
                      <a:pt x="57" y="1"/>
                    </a:lnTo>
                    <a:lnTo>
                      <a:pt x="41" y="7"/>
                    </a:lnTo>
                    <a:lnTo>
                      <a:pt x="28" y="16"/>
                    </a:lnTo>
                    <a:lnTo>
                      <a:pt x="17" y="27"/>
                    </a:lnTo>
                    <a:lnTo>
                      <a:pt x="8" y="41"/>
                    </a:lnTo>
                    <a:lnTo>
                      <a:pt x="2" y="56"/>
                    </a:lnTo>
                    <a:lnTo>
                      <a:pt x="0" y="73"/>
                    </a:lnTo>
                    <a:lnTo>
                      <a:pt x="2" y="89"/>
                    </a:lnTo>
                    <a:lnTo>
                      <a:pt x="8" y="105"/>
                    </a:lnTo>
                    <a:lnTo>
                      <a:pt x="17" y="118"/>
                    </a:lnTo>
                    <a:lnTo>
                      <a:pt x="28" y="129"/>
                    </a:lnTo>
                    <a:lnTo>
                      <a:pt x="41" y="138"/>
                    </a:lnTo>
                    <a:lnTo>
                      <a:pt x="57" y="144"/>
                    </a:lnTo>
                    <a:lnTo>
                      <a:pt x="73" y="146"/>
                    </a:lnTo>
                    <a:lnTo>
                      <a:pt x="90" y="144"/>
                    </a:lnTo>
                    <a:lnTo>
                      <a:pt x="105" y="138"/>
                    </a:lnTo>
                    <a:lnTo>
                      <a:pt x="119" y="129"/>
                    </a:lnTo>
                    <a:lnTo>
                      <a:pt x="131" y="118"/>
                    </a:lnTo>
                    <a:lnTo>
                      <a:pt x="139" y="105"/>
                    </a:lnTo>
                    <a:lnTo>
                      <a:pt x="145" y="89"/>
                    </a:lnTo>
                    <a:lnTo>
                      <a:pt x="146" y="7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19" name="Freeform 71"/>
              <p:cNvSpPr>
                <a:spLocks/>
              </p:cNvSpPr>
              <p:nvPr/>
            </p:nvSpPr>
            <p:spPr bwMode="auto">
              <a:xfrm>
                <a:off x="4604" y="1066"/>
                <a:ext cx="137" cy="136"/>
              </a:xfrm>
              <a:custGeom>
                <a:avLst/>
                <a:gdLst>
                  <a:gd name="T0" fmla="*/ 137 w 137"/>
                  <a:gd name="T1" fmla="*/ 68 h 136"/>
                  <a:gd name="T2" fmla="*/ 135 w 137"/>
                  <a:gd name="T3" fmla="*/ 52 h 136"/>
                  <a:gd name="T4" fmla="*/ 130 w 137"/>
                  <a:gd name="T5" fmla="*/ 38 h 136"/>
                  <a:gd name="T6" fmla="*/ 122 w 137"/>
                  <a:gd name="T7" fmla="*/ 26 h 136"/>
                  <a:gd name="T8" fmla="*/ 111 w 137"/>
                  <a:gd name="T9" fmla="*/ 15 h 136"/>
                  <a:gd name="T10" fmla="*/ 98 w 137"/>
                  <a:gd name="T11" fmla="*/ 7 h 136"/>
                  <a:gd name="T12" fmla="*/ 84 w 137"/>
                  <a:gd name="T13" fmla="*/ 1 h 136"/>
                  <a:gd name="T14" fmla="*/ 69 w 137"/>
                  <a:gd name="T15" fmla="*/ 0 h 136"/>
                  <a:gd name="T16" fmla="*/ 53 w 137"/>
                  <a:gd name="T17" fmla="*/ 1 h 136"/>
                  <a:gd name="T18" fmla="*/ 39 w 137"/>
                  <a:gd name="T19" fmla="*/ 7 h 136"/>
                  <a:gd name="T20" fmla="*/ 26 w 137"/>
                  <a:gd name="T21" fmla="*/ 15 h 136"/>
                  <a:gd name="T22" fmla="*/ 15 w 137"/>
                  <a:gd name="T23" fmla="*/ 26 h 136"/>
                  <a:gd name="T24" fmla="*/ 7 w 137"/>
                  <a:gd name="T25" fmla="*/ 38 h 136"/>
                  <a:gd name="T26" fmla="*/ 2 w 137"/>
                  <a:gd name="T27" fmla="*/ 52 h 136"/>
                  <a:gd name="T28" fmla="*/ 0 w 137"/>
                  <a:gd name="T29" fmla="*/ 68 h 136"/>
                  <a:gd name="T30" fmla="*/ 2 w 137"/>
                  <a:gd name="T31" fmla="*/ 84 h 136"/>
                  <a:gd name="T32" fmla="*/ 7 w 137"/>
                  <a:gd name="T33" fmla="*/ 98 h 136"/>
                  <a:gd name="T34" fmla="*/ 15 w 137"/>
                  <a:gd name="T35" fmla="*/ 111 h 136"/>
                  <a:gd name="T36" fmla="*/ 26 w 137"/>
                  <a:gd name="T37" fmla="*/ 122 h 136"/>
                  <a:gd name="T38" fmla="*/ 39 w 137"/>
                  <a:gd name="T39" fmla="*/ 129 h 136"/>
                  <a:gd name="T40" fmla="*/ 53 w 137"/>
                  <a:gd name="T41" fmla="*/ 135 h 136"/>
                  <a:gd name="T42" fmla="*/ 69 w 137"/>
                  <a:gd name="T43" fmla="*/ 136 h 136"/>
                  <a:gd name="T44" fmla="*/ 84 w 137"/>
                  <a:gd name="T45" fmla="*/ 135 h 136"/>
                  <a:gd name="T46" fmla="*/ 98 w 137"/>
                  <a:gd name="T47" fmla="*/ 129 h 136"/>
                  <a:gd name="T48" fmla="*/ 111 w 137"/>
                  <a:gd name="T49" fmla="*/ 122 h 136"/>
                  <a:gd name="T50" fmla="*/ 122 w 137"/>
                  <a:gd name="T51" fmla="*/ 111 h 136"/>
                  <a:gd name="T52" fmla="*/ 130 w 137"/>
                  <a:gd name="T53" fmla="*/ 98 h 136"/>
                  <a:gd name="T54" fmla="*/ 135 w 137"/>
                  <a:gd name="T55" fmla="*/ 84 h 136"/>
                  <a:gd name="T56" fmla="*/ 137 w 137"/>
                  <a:gd name="T57" fmla="*/ 68 h 1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37"/>
                  <a:gd name="T88" fmla="*/ 0 h 136"/>
                  <a:gd name="T89" fmla="*/ 137 w 137"/>
                  <a:gd name="T90" fmla="*/ 136 h 1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37" h="136">
                    <a:moveTo>
                      <a:pt x="137" y="68"/>
                    </a:moveTo>
                    <a:lnTo>
                      <a:pt x="135" y="52"/>
                    </a:lnTo>
                    <a:lnTo>
                      <a:pt x="130" y="38"/>
                    </a:lnTo>
                    <a:lnTo>
                      <a:pt x="122" y="26"/>
                    </a:lnTo>
                    <a:lnTo>
                      <a:pt x="111" y="15"/>
                    </a:lnTo>
                    <a:lnTo>
                      <a:pt x="98" y="7"/>
                    </a:lnTo>
                    <a:lnTo>
                      <a:pt x="84" y="1"/>
                    </a:lnTo>
                    <a:lnTo>
                      <a:pt x="69" y="0"/>
                    </a:lnTo>
                    <a:lnTo>
                      <a:pt x="53" y="1"/>
                    </a:lnTo>
                    <a:lnTo>
                      <a:pt x="39" y="7"/>
                    </a:lnTo>
                    <a:lnTo>
                      <a:pt x="26" y="15"/>
                    </a:lnTo>
                    <a:lnTo>
                      <a:pt x="15" y="26"/>
                    </a:lnTo>
                    <a:lnTo>
                      <a:pt x="7" y="38"/>
                    </a:lnTo>
                    <a:lnTo>
                      <a:pt x="2" y="52"/>
                    </a:lnTo>
                    <a:lnTo>
                      <a:pt x="0" y="68"/>
                    </a:lnTo>
                    <a:lnTo>
                      <a:pt x="2" y="84"/>
                    </a:lnTo>
                    <a:lnTo>
                      <a:pt x="7" y="98"/>
                    </a:lnTo>
                    <a:lnTo>
                      <a:pt x="15" y="111"/>
                    </a:lnTo>
                    <a:lnTo>
                      <a:pt x="26" y="122"/>
                    </a:lnTo>
                    <a:lnTo>
                      <a:pt x="39" y="129"/>
                    </a:lnTo>
                    <a:lnTo>
                      <a:pt x="53" y="135"/>
                    </a:lnTo>
                    <a:lnTo>
                      <a:pt x="69" y="136"/>
                    </a:lnTo>
                    <a:lnTo>
                      <a:pt x="84" y="135"/>
                    </a:lnTo>
                    <a:lnTo>
                      <a:pt x="98" y="129"/>
                    </a:lnTo>
                    <a:lnTo>
                      <a:pt x="111" y="122"/>
                    </a:lnTo>
                    <a:lnTo>
                      <a:pt x="122" y="111"/>
                    </a:lnTo>
                    <a:lnTo>
                      <a:pt x="130" y="98"/>
                    </a:lnTo>
                    <a:lnTo>
                      <a:pt x="135" y="84"/>
                    </a:lnTo>
                    <a:lnTo>
                      <a:pt x="137" y="6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0" name="Freeform 72"/>
              <p:cNvSpPr>
                <a:spLocks/>
              </p:cNvSpPr>
              <p:nvPr/>
            </p:nvSpPr>
            <p:spPr bwMode="auto">
              <a:xfrm>
                <a:off x="4604" y="1066"/>
                <a:ext cx="137" cy="136"/>
              </a:xfrm>
              <a:custGeom>
                <a:avLst/>
                <a:gdLst>
                  <a:gd name="T0" fmla="*/ 137 w 137"/>
                  <a:gd name="T1" fmla="*/ 68 h 136"/>
                  <a:gd name="T2" fmla="*/ 135 w 137"/>
                  <a:gd name="T3" fmla="*/ 52 h 136"/>
                  <a:gd name="T4" fmla="*/ 130 w 137"/>
                  <a:gd name="T5" fmla="*/ 38 h 136"/>
                  <a:gd name="T6" fmla="*/ 122 w 137"/>
                  <a:gd name="T7" fmla="*/ 26 h 136"/>
                  <a:gd name="T8" fmla="*/ 111 w 137"/>
                  <a:gd name="T9" fmla="*/ 15 h 136"/>
                  <a:gd name="T10" fmla="*/ 98 w 137"/>
                  <a:gd name="T11" fmla="*/ 7 h 136"/>
                  <a:gd name="T12" fmla="*/ 84 w 137"/>
                  <a:gd name="T13" fmla="*/ 1 h 136"/>
                  <a:gd name="T14" fmla="*/ 69 w 137"/>
                  <a:gd name="T15" fmla="*/ 0 h 136"/>
                  <a:gd name="T16" fmla="*/ 53 w 137"/>
                  <a:gd name="T17" fmla="*/ 1 h 136"/>
                  <a:gd name="T18" fmla="*/ 39 w 137"/>
                  <a:gd name="T19" fmla="*/ 7 h 136"/>
                  <a:gd name="T20" fmla="*/ 26 w 137"/>
                  <a:gd name="T21" fmla="*/ 15 h 136"/>
                  <a:gd name="T22" fmla="*/ 15 w 137"/>
                  <a:gd name="T23" fmla="*/ 26 h 136"/>
                  <a:gd name="T24" fmla="*/ 7 w 137"/>
                  <a:gd name="T25" fmla="*/ 38 h 136"/>
                  <a:gd name="T26" fmla="*/ 2 w 137"/>
                  <a:gd name="T27" fmla="*/ 52 h 136"/>
                  <a:gd name="T28" fmla="*/ 0 w 137"/>
                  <a:gd name="T29" fmla="*/ 68 h 136"/>
                  <a:gd name="T30" fmla="*/ 2 w 137"/>
                  <a:gd name="T31" fmla="*/ 84 h 136"/>
                  <a:gd name="T32" fmla="*/ 7 w 137"/>
                  <a:gd name="T33" fmla="*/ 98 h 136"/>
                  <a:gd name="T34" fmla="*/ 15 w 137"/>
                  <a:gd name="T35" fmla="*/ 111 h 136"/>
                  <a:gd name="T36" fmla="*/ 26 w 137"/>
                  <a:gd name="T37" fmla="*/ 122 h 136"/>
                  <a:gd name="T38" fmla="*/ 39 w 137"/>
                  <a:gd name="T39" fmla="*/ 129 h 136"/>
                  <a:gd name="T40" fmla="*/ 53 w 137"/>
                  <a:gd name="T41" fmla="*/ 135 h 136"/>
                  <a:gd name="T42" fmla="*/ 69 w 137"/>
                  <a:gd name="T43" fmla="*/ 136 h 136"/>
                  <a:gd name="T44" fmla="*/ 84 w 137"/>
                  <a:gd name="T45" fmla="*/ 135 h 136"/>
                  <a:gd name="T46" fmla="*/ 98 w 137"/>
                  <a:gd name="T47" fmla="*/ 129 h 136"/>
                  <a:gd name="T48" fmla="*/ 111 w 137"/>
                  <a:gd name="T49" fmla="*/ 122 h 136"/>
                  <a:gd name="T50" fmla="*/ 122 w 137"/>
                  <a:gd name="T51" fmla="*/ 111 h 136"/>
                  <a:gd name="T52" fmla="*/ 130 w 137"/>
                  <a:gd name="T53" fmla="*/ 98 h 136"/>
                  <a:gd name="T54" fmla="*/ 135 w 137"/>
                  <a:gd name="T55" fmla="*/ 84 h 136"/>
                  <a:gd name="T56" fmla="*/ 137 w 137"/>
                  <a:gd name="T57" fmla="*/ 68 h 1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37"/>
                  <a:gd name="T88" fmla="*/ 0 h 136"/>
                  <a:gd name="T89" fmla="*/ 137 w 137"/>
                  <a:gd name="T90" fmla="*/ 136 h 1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37" h="136">
                    <a:moveTo>
                      <a:pt x="137" y="68"/>
                    </a:moveTo>
                    <a:lnTo>
                      <a:pt x="135" y="52"/>
                    </a:lnTo>
                    <a:lnTo>
                      <a:pt x="130" y="38"/>
                    </a:lnTo>
                    <a:lnTo>
                      <a:pt x="122" y="26"/>
                    </a:lnTo>
                    <a:lnTo>
                      <a:pt x="111" y="15"/>
                    </a:lnTo>
                    <a:lnTo>
                      <a:pt x="98" y="7"/>
                    </a:lnTo>
                    <a:lnTo>
                      <a:pt x="84" y="1"/>
                    </a:lnTo>
                    <a:lnTo>
                      <a:pt x="69" y="0"/>
                    </a:lnTo>
                    <a:lnTo>
                      <a:pt x="53" y="1"/>
                    </a:lnTo>
                    <a:lnTo>
                      <a:pt x="39" y="7"/>
                    </a:lnTo>
                    <a:lnTo>
                      <a:pt x="26" y="15"/>
                    </a:lnTo>
                    <a:lnTo>
                      <a:pt x="15" y="26"/>
                    </a:lnTo>
                    <a:lnTo>
                      <a:pt x="7" y="38"/>
                    </a:lnTo>
                    <a:lnTo>
                      <a:pt x="2" y="52"/>
                    </a:lnTo>
                    <a:lnTo>
                      <a:pt x="0" y="68"/>
                    </a:lnTo>
                    <a:lnTo>
                      <a:pt x="2" y="84"/>
                    </a:lnTo>
                    <a:lnTo>
                      <a:pt x="7" y="98"/>
                    </a:lnTo>
                    <a:lnTo>
                      <a:pt x="15" y="111"/>
                    </a:lnTo>
                    <a:lnTo>
                      <a:pt x="26" y="122"/>
                    </a:lnTo>
                    <a:lnTo>
                      <a:pt x="39" y="129"/>
                    </a:lnTo>
                    <a:lnTo>
                      <a:pt x="53" y="135"/>
                    </a:lnTo>
                    <a:lnTo>
                      <a:pt x="69" y="136"/>
                    </a:lnTo>
                    <a:lnTo>
                      <a:pt x="84" y="135"/>
                    </a:lnTo>
                    <a:lnTo>
                      <a:pt x="98" y="129"/>
                    </a:lnTo>
                    <a:lnTo>
                      <a:pt x="111" y="122"/>
                    </a:lnTo>
                    <a:lnTo>
                      <a:pt x="122" y="111"/>
                    </a:lnTo>
                    <a:lnTo>
                      <a:pt x="130" y="98"/>
                    </a:lnTo>
                    <a:lnTo>
                      <a:pt x="135" y="84"/>
                    </a:lnTo>
                    <a:lnTo>
                      <a:pt x="137" y="6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1" name="Freeform 73"/>
              <p:cNvSpPr>
                <a:spLocks/>
              </p:cNvSpPr>
              <p:nvPr/>
            </p:nvSpPr>
            <p:spPr bwMode="auto">
              <a:xfrm>
                <a:off x="4499" y="2650"/>
                <a:ext cx="134" cy="134"/>
              </a:xfrm>
              <a:custGeom>
                <a:avLst/>
                <a:gdLst>
                  <a:gd name="T0" fmla="*/ 134 w 134"/>
                  <a:gd name="T1" fmla="*/ 67 h 134"/>
                  <a:gd name="T2" fmla="*/ 132 w 134"/>
                  <a:gd name="T3" fmla="*/ 49 h 134"/>
                  <a:gd name="T4" fmla="*/ 125 w 134"/>
                  <a:gd name="T5" fmla="*/ 34 h 134"/>
                  <a:gd name="T6" fmla="*/ 115 w 134"/>
                  <a:gd name="T7" fmla="*/ 19 h 134"/>
                  <a:gd name="T8" fmla="*/ 101 w 134"/>
                  <a:gd name="T9" fmla="*/ 9 h 134"/>
                  <a:gd name="T10" fmla="*/ 85 w 134"/>
                  <a:gd name="T11" fmla="*/ 2 h 134"/>
                  <a:gd name="T12" fmla="*/ 67 w 134"/>
                  <a:gd name="T13" fmla="*/ 0 h 134"/>
                  <a:gd name="T14" fmla="*/ 51 w 134"/>
                  <a:gd name="T15" fmla="*/ 1 h 134"/>
                  <a:gd name="T16" fmla="*/ 38 w 134"/>
                  <a:gd name="T17" fmla="*/ 7 h 134"/>
                  <a:gd name="T18" fmla="*/ 25 w 134"/>
                  <a:gd name="T19" fmla="*/ 15 h 134"/>
                  <a:gd name="T20" fmla="*/ 15 w 134"/>
                  <a:gd name="T21" fmla="*/ 25 h 134"/>
                  <a:gd name="T22" fmla="*/ 7 w 134"/>
                  <a:gd name="T23" fmla="*/ 37 h 134"/>
                  <a:gd name="T24" fmla="*/ 2 w 134"/>
                  <a:gd name="T25" fmla="*/ 52 h 134"/>
                  <a:gd name="T26" fmla="*/ 0 w 134"/>
                  <a:gd name="T27" fmla="*/ 67 h 134"/>
                  <a:gd name="T28" fmla="*/ 2 w 134"/>
                  <a:gd name="T29" fmla="*/ 85 h 134"/>
                  <a:gd name="T30" fmla="*/ 9 w 134"/>
                  <a:gd name="T31" fmla="*/ 101 h 134"/>
                  <a:gd name="T32" fmla="*/ 20 w 134"/>
                  <a:gd name="T33" fmla="*/ 114 h 134"/>
                  <a:gd name="T34" fmla="*/ 33 w 134"/>
                  <a:gd name="T35" fmla="*/ 125 h 134"/>
                  <a:gd name="T36" fmla="*/ 49 w 134"/>
                  <a:gd name="T37" fmla="*/ 132 h 134"/>
                  <a:gd name="T38" fmla="*/ 67 w 134"/>
                  <a:gd name="T39" fmla="*/ 134 h 134"/>
                  <a:gd name="T40" fmla="*/ 82 w 134"/>
                  <a:gd name="T41" fmla="*/ 133 h 134"/>
                  <a:gd name="T42" fmla="*/ 97 w 134"/>
                  <a:gd name="T43" fmla="*/ 127 h 134"/>
                  <a:gd name="T44" fmla="*/ 109 w 134"/>
                  <a:gd name="T45" fmla="*/ 119 h 134"/>
                  <a:gd name="T46" fmla="*/ 119 w 134"/>
                  <a:gd name="T47" fmla="*/ 109 h 134"/>
                  <a:gd name="T48" fmla="*/ 127 w 134"/>
                  <a:gd name="T49" fmla="*/ 96 h 134"/>
                  <a:gd name="T50" fmla="*/ 133 w 134"/>
                  <a:gd name="T51" fmla="*/ 83 h 134"/>
                  <a:gd name="T52" fmla="*/ 134 w 134"/>
                  <a:gd name="T53" fmla="*/ 67 h 13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34"/>
                  <a:gd name="T82" fmla="*/ 0 h 134"/>
                  <a:gd name="T83" fmla="*/ 134 w 134"/>
                  <a:gd name="T84" fmla="*/ 134 h 13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34" h="134">
                    <a:moveTo>
                      <a:pt x="134" y="67"/>
                    </a:moveTo>
                    <a:lnTo>
                      <a:pt x="132" y="49"/>
                    </a:lnTo>
                    <a:lnTo>
                      <a:pt x="125" y="34"/>
                    </a:lnTo>
                    <a:lnTo>
                      <a:pt x="115" y="19"/>
                    </a:lnTo>
                    <a:lnTo>
                      <a:pt x="101" y="9"/>
                    </a:lnTo>
                    <a:lnTo>
                      <a:pt x="85" y="2"/>
                    </a:lnTo>
                    <a:lnTo>
                      <a:pt x="67" y="0"/>
                    </a:lnTo>
                    <a:lnTo>
                      <a:pt x="51" y="1"/>
                    </a:lnTo>
                    <a:lnTo>
                      <a:pt x="38" y="7"/>
                    </a:lnTo>
                    <a:lnTo>
                      <a:pt x="25" y="15"/>
                    </a:lnTo>
                    <a:lnTo>
                      <a:pt x="15" y="25"/>
                    </a:lnTo>
                    <a:lnTo>
                      <a:pt x="7" y="37"/>
                    </a:lnTo>
                    <a:lnTo>
                      <a:pt x="2" y="52"/>
                    </a:lnTo>
                    <a:lnTo>
                      <a:pt x="0" y="67"/>
                    </a:lnTo>
                    <a:lnTo>
                      <a:pt x="2" y="85"/>
                    </a:lnTo>
                    <a:lnTo>
                      <a:pt x="9" y="101"/>
                    </a:lnTo>
                    <a:lnTo>
                      <a:pt x="20" y="114"/>
                    </a:lnTo>
                    <a:lnTo>
                      <a:pt x="33" y="125"/>
                    </a:lnTo>
                    <a:lnTo>
                      <a:pt x="49" y="132"/>
                    </a:lnTo>
                    <a:lnTo>
                      <a:pt x="67" y="134"/>
                    </a:lnTo>
                    <a:lnTo>
                      <a:pt x="82" y="133"/>
                    </a:lnTo>
                    <a:lnTo>
                      <a:pt x="97" y="127"/>
                    </a:lnTo>
                    <a:lnTo>
                      <a:pt x="109" y="119"/>
                    </a:lnTo>
                    <a:lnTo>
                      <a:pt x="119" y="109"/>
                    </a:lnTo>
                    <a:lnTo>
                      <a:pt x="127" y="96"/>
                    </a:lnTo>
                    <a:lnTo>
                      <a:pt x="133" y="83"/>
                    </a:lnTo>
                    <a:lnTo>
                      <a:pt x="134" y="6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2" name="Freeform 74"/>
              <p:cNvSpPr>
                <a:spLocks/>
              </p:cNvSpPr>
              <p:nvPr/>
            </p:nvSpPr>
            <p:spPr bwMode="auto">
              <a:xfrm>
                <a:off x="4499" y="2650"/>
                <a:ext cx="134" cy="134"/>
              </a:xfrm>
              <a:custGeom>
                <a:avLst/>
                <a:gdLst>
                  <a:gd name="T0" fmla="*/ 134 w 134"/>
                  <a:gd name="T1" fmla="*/ 67 h 134"/>
                  <a:gd name="T2" fmla="*/ 132 w 134"/>
                  <a:gd name="T3" fmla="*/ 49 h 134"/>
                  <a:gd name="T4" fmla="*/ 125 w 134"/>
                  <a:gd name="T5" fmla="*/ 34 h 134"/>
                  <a:gd name="T6" fmla="*/ 115 w 134"/>
                  <a:gd name="T7" fmla="*/ 19 h 134"/>
                  <a:gd name="T8" fmla="*/ 101 w 134"/>
                  <a:gd name="T9" fmla="*/ 9 h 134"/>
                  <a:gd name="T10" fmla="*/ 85 w 134"/>
                  <a:gd name="T11" fmla="*/ 2 h 134"/>
                  <a:gd name="T12" fmla="*/ 67 w 134"/>
                  <a:gd name="T13" fmla="*/ 0 h 134"/>
                  <a:gd name="T14" fmla="*/ 51 w 134"/>
                  <a:gd name="T15" fmla="*/ 1 h 134"/>
                  <a:gd name="T16" fmla="*/ 38 w 134"/>
                  <a:gd name="T17" fmla="*/ 7 h 134"/>
                  <a:gd name="T18" fmla="*/ 25 w 134"/>
                  <a:gd name="T19" fmla="*/ 15 h 134"/>
                  <a:gd name="T20" fmla="*/ 15 w 134"/>
                  <a:gd name="T21" fmla="*/ 25 h 134"/>
                  <a:gd name="T22" fmla="*/ 7 w 134"/>
                  <a:gd name="T23" fmla="*/ 37 h 134"/>
                  <a:gd name="T24" fmla="*/ 2 w 134"/>
                  <a:gd name="T25" fmla="*/ 52 h 134"/>
                  <a:gd name="T26" fmla="*/ 0 w 134"/>
                  <a:gd name="T27" fmla="*/ 67 h 134"/>
                  <a:gd name="T28" fmla="*/ 2 w 134"/>
                  <a:gd name="T29" fmla="*/ 85 h 134"/>
                  <a:gd name="T30" fmla="*/ 9 w 134"/>
                  <a:gd name="T31" fmla="*/ 101 h 134"/>
                  <a:gd name="T32" fmla="*/ 20 w 134"/>
                  <a:gd name="T33" fmla="*/ 114 h 134"/>
                  <a:gd name="T34" fmla="*/ 33 w 134"/>
                  <a:gd name="T35" fmla="*/ 125 h 134"/>
                  <a:gd name="T36" fmla="*/ 49 w 134"/>
                  <a:gd name="T37" fmla="*/ 132 h 134"/>
                  <a:gd name="T38" fmla="*/ 67 w 134"/>
                  <a:gd name="T39" fmla="*/ 134 h 134"/>
                  <a:gd name="T40" fmla="*/ 82 w 134"/>
                  <a:gd name="T41" fmla="*/ 133 h 134"/>
                  <a:gd name="T42" fmla="*/ 97 w 134"/>
                  <a:gd name="T43" fmla="*/ 127 h 134"/>
                  <a:gd name="T44" fmla="*/ 109 w 134"/>
                  <a:gd name="T45" fmla="*/ 119 h 134"/>
                  <a:gd name="T46" fmla="*/ 119 w 134"/>
                  <a:gd name="T47" fmla="*/ 109 h 134"/>
                  <a:gd name="T48" fmla="*/ 127 w 134"/>
                  <a:gd name="T49" fmla="*/ 96 h 134"/>
                  <a:gd name="T50" fmla="*/ 133 w 134"/>
                  <a:gd name="T51" fmla="*/ 83 h 134"/>
                  <a:gd name="T52" fmla="*/ 134 w 134"/>
                  <a:gd name="T53" fmla="*/ 67 h 13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34"/>
                  <a:gd name="T82" fmla="*/ 0 h 134"/>
                  <a:gd name="T83" fmla="*/ 134 w 134"/>
                  <a:gd name="T84" fmla="*/ 134 h 13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34" h="134">
                    <a:moveTo>
                      <a:pt x="134" y="67"/>
                    </a:moveTo>
                    <a:lnTo>
                      <a:pt x="132" y="49"/>
                    </a:lnTo>
                    <a:lnTo>
                      <a:pt x="125" y="34"/>
                    </a:lnTo>
                    <a:lnTo>
                      <a:pt x="115" y="19"/>
                    </a:lnTo>
                    <a:lnTo>
                      <a:pt x="101" y="9"/>
                    </a:lnTo>
                    <a:lnTo>
                      <a:pt x="85" y="2"/>
                    </a:lnTo>
                    <a:lnTo>
                      <a:pt x="67" y="0"/>
                    </a:lnTo>
                    <a:lnTo>
                      <a:pt x="51" y="1"/>
                    </a:lnTo>
                    <a:lnTo>
                      <a:pt x="38" y="7"/>
                    </a:lnTo>
                    <a:lnTo>
                      <a:pt x="25" y="15"/>
                    </a:lnTo>
                    <a:lnTo>
                      <a:pt x="15" y="25"/>
                    </a:lnTo>
                    <a:lnTo>
                      <a:pt x="7" y="37"/>
                    </a:lnTo>
                    <a:lnTo>
                      <a:pt x="2" y="52"/>
                    </a:lnTo>
                    <a:lnTo>
                      <a:pt x="0" y="67"/>
                    </a:lnTo>
                    <a:lnTo>
                      <a:pt x="2" y="85"/>
                    </a:lnTo>
                    <a:lnTo>
                      <a:pt x="9" y="101"/>
                    </a:lnTo>
                    <a:lnTo>
                      <a:pt x="20" y="114"/>
                    </a:lnTo>
                    <a:lnTo>
                      <a:pt x="33" y="125"/>
                    </a:lnTo>
                    <a:lnTo>
                      <a:pt x="49" y="132"/>
                    </a:lnTo>
                    <a:lnTo>
                      <a:pt x="67" y="134"/>
                    </a:lnTo>
                    <a:lnTo>
                      <a:pt x="82" y="133"/>
                    </a:lnTo>
                    <a:lnTo>
                      <a:pt x="97" y="127"/>
                    </a:lnTo>
                    <a:lnTo>
                      <a:pt x="109" y="119"/>
                    </a:lnTo>
                    <a:lnTo>
                      <a:pt x="119" y="109"/>
                    </a:lnTo>
                    <a:lnTo>
                      <a:pt x="127" y="96"/>
                    </a:lnTo>
                    <a:lnTo>
                      <a:pt x="133" y="83"/>
                    </a:lnTo>
                    <a:lnTo>
                      <a:pt x="134" y="6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3" name="Freeform 75"/>
              <p:cNvSpPr>
                <a:spLocks/>
              </p:cNvSpPr>
              <p:nvPr/>
            </p:nvSpPr>
            <p:spPr bwMode="auto">
              <a:xfrm>
                <a:off x="4900" y="1200"/>
                <a:ext cx="128" cy="129"/>
              </a:xfrm>
              <a:custGeom>
                <a:avLst/>
                <a:gdLst>
                  <a:gd name="T0" fmla="*/ 128 w 128"/>
                  <a:gd name="T1" fmla="*/ 65 h 129"/>
                  <a:gd name="T2" fmla="*/ 125 w 128"/>
                  <a:gd name="T3" fmla="*/ 47 h 129"/>
                  <a:gd name="T4" fmla="*/ 119 w 128"/>
                  <a:gd name="T5" fmla="*/ 32 h 129"/>
                  <a:gd name="T6" fmla="*/ 109 w 128"/>
                  <a:gd name="T7" fmla="*/ 19 h 129"/>
                  <a:gd name="T8" fmla="*/ 96 w 128"/>
                  <a:gd name="T9" fmla="*/ 9 h 129"/>
                  <a:gd name="T10" fmla="*/ 81 w 128"/>
                  <a:gd name="T11" fmla="*/ 2 h 129"/>
                  <a:gd name="T12" fmla="*/ 63 w 128"/>
                  <a:gd name="T13" fmla="*/ 0 h 129"/>
                  <a:gd name="T14" fmla="*/ 46 w 128"/>
                  <a:gd name="T15" fmla="*/ 2 h 129"/>
                  <a:gd name="T16" fmla="*/ 31 w 128"/>
                  <a:gd name="T17" fmla="*/ 9 h 129"/>
                  <a:gd name="T18" fmla="*/ 19 w 128"/>
                  <a:gd name="T19" fmla="*/ 19 h 129"/>
                  <a:gd name="T20" fmla="*/ 8 w 128"/>
                  <a:gd name="T21" fmla="*/ 32 h 129"/>
                  <a:gd name="T22" fmla="*/ 2 w 128"/>
                  <a:gd name="T23" fmla="*/ 47 h 129"/>
                  <a:gd name="T24" fmla="*/ 0 w 128"/>
                  <a:gd name="T25" fmla="*/ 65 h 129"/>
                  <a:gd name="T26" fmla="*/ 2 w 128"/>
                  <a:gd name="T27" fmla="*/ 82 h 129"/>
                  <a:gd name="T28" fmla="*/ 8 w 128"/>
                  <a:gd name="T29" fmla="*/ 97 h 129"/>
                  <a:gd name="T30" fmla="*/ 19 w 128"/>
                  <a:gd name="T31" fmla="*/ 110 h 129"/>
                  <a:gd name="T32" fmla="*/ 31 w 128"/>
                  <a:gd name="T33" fmla="*/ 120 h 129"/>
                  <a:gd name="T34" fmla="*/ 46 w 128"/>
                  <a:gd name="T35" fmla="*/ 127 h 129"/>
                  <a:gd name="T36" fmla="*/ 63 w 128"/>
                  <a:gd name="T37" fmla="*/ 129 h 129"/>
                  <a:gd name="T38" fmla="*/ 81 w 128"/>
                  <a:gd name="T39" fmla="*/ 127 h 129"/>
                  <a:gd name="T40" fmla="*/ 96 w 128"/>
                  <a:gd name="T41" fmla="*/ 120 h 129"/>
                  <a:gd name="T42" fmla="*/ 109 w 128"/>
                  <a:gd name="T43" fmla="*/ 110 h 129"/>
                  <a:gd name="T44" fmla="*/ 119 w 128"/>
                  <a:gd name="T45" fmla="*/ 97 h 129"/>
                  <a:gd name="T46" fmla="*/ 125 w 128"/>
                  <a:gd name="T47" fmla="*/ 82 h 129"/>
                  <a:gd name="T48" fmla="*/ 128 w 128"/>
                  <a:gd name="T49" fmla="*/ 65 h 12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8"/>
                  <a:gd name="T76" fmla="*/ 0 h 129"/>
                  <a:gd name="T77" fmla="*/ 128 w 128"/>
                  <a:gd name="T78" fmla="*/ 129 h 12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8" h="129">
                    <a:moveTo>
                      <a:pt x="128" y="65"/>
                    </a:moveTo>
                    <a:lnTo>
                      <a:pt x="125" y="47"/>
                    </a:lnTo>
                    <a:lnTo>
                      <a:pt x="119" y="32"/>
                    </a:lnTo>
                    <a:lnTo>
                      <a:pt x="109" y="19"/>
                    </a:lnTo>
                    <a:lnTo>
                      <a:pt x="96" y="9"/>
                    </a:lnTo>
                    <a:lnTo>
                      <a:pt x="81" y="2"/>
                    </a:lnTo>
                    <a:lnTo>
                      <a:pt x="63" y="0"/>
                    </a:lnTo>
                    <a:lnTo>
                      <a:pt x="46" y="2"/>
                    </a:lnTo>
                    <a:lnTo>
                      <a:pt x="31" y="9"/>
                    </a:lnTo>
                    <a:lnTo>
                      <a:pt x="19" y="19"/>
                    </a:lnTo>
                    <a:lnTo>
                      <a:pt x="8" y="32"/>
                    </a:lnTo>
                    <a:lnTo>
                      <a:pt x="2" y="47"/>
                    </a:lnTo>
                    <a:lnTo>
                      <a:pt x="0" y="65"/>
                    </a:lnTo>
                    <a:lnTo>
                      <a:pt x="2" y="82"/>
                    </a:lnTo>
                    <a:lnTo>
                      <a:pt x="8" y="97"/>
                    </a:lnTo>
                    <a:lnTo>
                      <a:pt x="19" y="110"/>
                    </a:lnTo>
                    <a:lnTo>
                      <a:pt x="31" y="120"/>
                    </a:lnTo>
                    <a:lnTo>
                      <a:pt x="46" y="127"/>
                    </a:lnTo>
                    <a:lnTo>
                      <a:pt x="63" y="129"/>
                    </a:lnTo>
                    <a:lnTo>
                      <a:pt x="81" y="127"/>
                    </a:lnTo>
                    <a:lnTo>
                      <a:pt x="96" y="120"/>
                    </a:lnTo>
                    <a:lnTo>
                      <a:pt x="109" y="110"/>
                    </a:lnTo>
                    <a:lnTo>
                      <a:pt x="119" y="97"/>
                    </a:lnTo>
                    <a:lnTo>
                      <a:pt x="125" y="82"/>
                    </a:lnTo>
                    <a:lnTo>
                      <a:pt x="128" y="6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4" name="Freeform 76"/>
              <p:cNvSpPr>
                <a:spLocks/>
              </p:cNvSpPr>
              <p:nvPr/>
            </p:nvSpPr>
            <p:spPr bwMode="auto">
              <a:xfrm>
                <a:off x="4900" y="1200"/>
                <a:ext cx="128" cy="129"/>
              </a:xfrm>
              <a:custGeom>
                <a:avLst/>
                <a:gdLst>
                  <a:gd name="T0" fmla="*/ 128 w 128"/>
                  <a:gd name="T1" fmla="*/ 65 h 129"/>
                  <a:gd name="T2" fmla="*/ 125 w 128"/>
                  <a:gd name="T3" fmla="*/ 47 h 129"/>
                  <a:gd name="T4" fmla="*/ 119 w 128"/>
                  <a:gd name="T5" fmla="*/ 32 h 129"/>
                  <a:gd name="T6" fmla="*/ 109 w 128"/>
                  <a:gd name="T7" fmla="*/ 19 h 129"/>
                  <a:gd name="T8" fmla="*/ 96 w 128"/>
                  <a:gd name="T9" fmla="*/ 9 h 129"/>
                  <a:gd name="T10" fmla="*/ 81 w 128"/>
                  <a:gd name="T11" fmla="*/ 2 h 129"/>
                  <a:gd name="T12" fmla="*/ 63 w 128"/>
                  <a:gd name="T13" fmla="*/ 0 h 129"/>
                  <a:gd name="T14" fmla="*/ 46 w 128"/>
                  <a:gd name="T15" fmla="*/ 2 h 129"/>
                  <a:gd name="T16" fmla="*/ 31 w 128"/>
                  <a:gd name="T17" fmla="*/ 9 h 129"/>
                  <a:gd name="T18" fmla="*/ 19 w 128"/>
                  <a:gd name="T19" fmla="*/ 19 h 129"/>
                  <a:gd name="T20" fmla="*/ 8 w 128"/>
                  <a:gd name="T21" fmla="*/ 32 h 129"/>
                  <a:gd name="T22" fmla="*/ 2 w 128"/>
                  <a:gd name="T23" fmla="*/ 47 h 129"/>
                  <a:gd name="T24" fmla="*/ 0 w 128"/>
                  <a:gd name="T25" fmla="*/ 65 h 129"/>
                  <a:gd name="T26" fmla="*/ 2 w 128"/>
                  <a:gd name="T27" fmla="*/ 82 h 129"/>
                  <a:gd name="T28" fmla="*/ 8 w 128"/>
                  <a:gd name="T29" fmla="*/ 97 h 129"/>
                  <a:gd name="T30" fmla="*/ 19 w 128"/>
                  <a:gd name="T31" fmla="*/ 110 h 129"/>
                  <a:gd name="T32" fmla="*/ 31 w 128"/>
                  <a:gd name="T33" fmla="*/ 120 h 129"/>
                  <a:gd name="T34" fmla="*/ 46 w 128"/>
                  <a:gd name="T35" fmla="*/ 127 h 129"/>
                  <a:gd name="T36" fmla="*/ 63 w 128"/>
                  <a:gd name="T37" fmla="*/ 129 h 129"/>
                  <a:gd name="T38" fmla="*/ 81 w 128"/>
                  <a:gd name="T39" fmla="*/ 127 h 129"/>
                  <a:gd name="T40" fmla="*/ 96 w 128"/>
                  <a:gd name="T41" fmla="*/ 120 h 129"/>
                  <a:gd name="T42" fmla="*/ 109 w 128"/>
                  <a:gd name="T43" fmla="*/ 110 h 129"/>
                  <a:gd name="T44" fmla="*/ 119 w 128"/>
                  <a:gd name="T45" fmla="*/ 97 h 129"/>
                  <a:gd name="T46" fmla="*/ 125 w 128"/>
                  <a:gd name="T47" fmla="*/ 82 h 129"/>
                  <a:gd name="T48" fmla="*/ 128 w 128"/>
                  <a:gd name="T49" fmla="*/ 65 h 12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8"/>
                  <a:gd name="T76" fmla="*/ 0 h 129"/>
                  <a:gd name="T77" fmla="*/ 128 w 128"/>
                  <a:gd name="T78" fmla="*/ 129 h 12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8" h="129">
                    <a:moveTo>
                      <a:pt x="128" y="65"/>
                    </a:moveTo>
                    <a:lnTo>
                      <a:pt x="125" y="47"/>
                    </a:lnTo>
                    <a:lnTo>
                      <a:pt x="119" y="32"/>
                    </a:lnTo>
                    <a:lnTo>
                      <a:pt x="109" y="19"/>
                    </a:lnTo>
                    <a:lnTo>
                      <a:pt x="96" y="9"/>
                    </a:lnTo>
                    <a:lnTo>
                      <a:pt x="81" y="2"/>
                    </a:lnTo>
                    <a:lnTo>
                      <a:pt x="63" y="0"/>
                    </a:lnTo>
                    <a:lnTo>
                      <a:pt x="46" y="2"/>
                    </a:lnTo>
                    <a:lnTo>
                      <a:pt x="31" y="9"/>
                    </a:lnTo>
                    <a:lnTo>
                      <a:pt x="19" y="19"/>
                    </a:lnTo>
                    <a:lnTo>
                      <a:pt x="8" y="32"/>
                    </a:lnTo>
                    <a:lnTo>
                      <a:pt x="2" y="47"/>
                    </a:lnTo>
                    <a:lnTo>
                      <a:pt x="0" y="65"/>
                    </a:lnTo>
                    <a:lnTo>
                      <a:pt x="2" y="82"/>
                    </a:lnTo>
                    <a:lnTo>
                      <a:pt x="8" y="97"/>
                    </a:lnTo>
                    <a:lnTo>
                      <a:pt x="19" y="110"/>
                    </a:lnTo>
                    <a:lnTo>
                      <a:pt x="31" y="120"/>
                    </a:lnTo>
                    <a:lnTo>
                      <a:pt x="46" y="127"/>
                    </a:lnTo>
                    <a:lnTo>
                      <a:pt x="63" y="129"/>
                    </a:lnTo>
                    <a:lnTo>
                      <a:pt x="81" y="127"/>
                    </a:lnTo>
                    <a:lnTo>
                      <a:pt x="96" y="120"/>
                    </a:lnTo>
                    <a:lnTo>
                      <a:pt x="109" y="110"/>
                    </a:lnTo>
                    <a:lnTo>
                      <a:pt x="119" y="97"/>
                    </a:lnTo>
                    <a:lnTo>
                      <a:pt x="125" y="82"/>
                    </a:lnTo>
                    <a:lnTo>
                      <a:pt x="128" y="6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5" name="Freeform 77"/>
              <p:cNvSpPr>
                <a:spLocks/>
              </p:cNvSpPr>
              <p:nvPr/>
            </p:nvSpPr>
            <p:spPr bwMode="auto">
              <a:xfrm>
                <a:off x="4811" y="1177"/>
                <a:ext cx="123" cy="123"/>
              </a:xfrm>
              <a:custGeom>
                <a:avLst/>
                <a:gdLst>
                  <a:gd name="T0" fmla="*/ 123 w 123"/>
                  <a:gd name="T1" fmla="*/ 62 h 123"/>
                  <a:gd name="T2" fmla="*/ 121 w 123"/>
                  <a:gd name="T3" fmla="*/ 45 h 123"/>
                  <a:gd name="T4" fmla="*/ 115 w 123"/>
                  <a:gd name="T5" fmla="*/ 30 h 123"/>
                  <a:gd name="T6" fmla="*/ 105 w 123"/>
                  <a:gd name="T7" fmla="*/ 18 h 123"/>
                  <a:gd name="T8" fmla="*/ 93 w 123"/>
                  <a:gd name="T9" fmla="*/ 8 h 123"/>
                  <a:gd name="T10" fmla="*/ 78 w 123"/>
                  <a:gd name="T11" fmla="*/ 2 h 123"/>
                  <a:gd name="T12" fmla="*/ 61 w 123"/>
                  <a:gd name="T13" fmla="*/ 0 h 123"/>
                  <a:gd name="T14" fmla="*/ 45 w 123"/>
                  <a:gd name="T15" fmla="*/ 2 h 123"/>
                  <a:gd name="T16" fmla="*/ 31 w 123"/>
                  <a:gd name="T17" fmla="*/ 8 h 123"/>
                  <a:gd name="T18" fmla="*/ 18 w 123"/>
                  <a:gd name="T19" fmla="*/ 18 h 123"/>
                  <a:gd name="T20" fmla="*/ 9 w 123"/>
                  <a:gd name="T21" fmla="*/ 30 h 123"/>
                  <a:gd name="T22" fmla="*/ 2 w 123"/>
                  <a:gd name="T23" fmla="*/ 45 h 123"/>
                  <a:gd name="T24" fmla="*/ 0 w 123"/>
                  <a:gd name="T25" fmla="*/ 62 h 123"/>
                  <a:gd name="T26" fmla="*/ 2 w 123"/>
                  <a:gd name="T27" fmla="*/ 78 h 123"/>
                  <a:gd name="T28" fmla="*/ 9 w 123"/>
                  <a:gd name="T29" fmla="*/ 92 h 123"/>
                  <a:gd name="T30" fmla="*/ 18 w 123"/>
                  <a:gd name="T31" fmla="*/ 105 h 123"/>
                  <a:gd name="T32" fmla="*/ 31 w 123"/>
                  <a:gd name="T33" fmla="*/ 114 h 123"/>
                  <a:gd name="T34" fmla="*/ 45 w 123"/>
                  <a:gd name="T35" fmla="*/ 121 h 123"/>
                  <a:gd name="T36" fmla="*/ 61 w 123"/>
                  <a:gd name="T37" fmla="*/ 123 h 123"/>
                  <a:gd name="T38" fmla="*/ 78 w 123"/>
                  <a:gd name="T39" fmla="*/ 121 h 123"/>
                  <a:gd name="T40" fmla="*/ 93 w 123"/>
                  <a:gd name="T41" fmla="*/ 114 h 123"/>
                  <a:gd name="T42" fmla="*/ 105 w 123"/>
                  <a:gd name="T43" fmla="*/ 105 h 123"/>
                  <a:gd name="T44" fmla="*/ 115 w 123"/>
                  <a:gd name="T45" fmla="*/ 92 h 123"/>
                  <a:gd name="T46" fmla="*/ 121 w 123"/>
                  <a:gd name="T47" fmla="*/ 78 h 123"/>
                  <a:gd name="T48" fmla="*/ 123 w 123"/>
                  <a:gd name="T49" fmla="*/ 62 h 1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3"/>
                  <a:gd name="T76" fmla="*/ 0 h 123"/>
                  <a:gd name="T77" fmla="*/ 123 w 123"/>
                  <a:gd name="T78" fmla="*/ 123 h 12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3" h="123">
                    <a:moveTo>
                      <a:pt x="123" y="62"/>
                    </a:moveTo>
                    <a:lnTo>
                      <a:pt x="121" y="45"/>
                    </a:lnTo>
                    <a:lnTo>
                      <a:pt x="115" y="30"/>
                    </a:lnTo>
                    <a:lnTo>
                      <a:pt x="105" y="18"/>
                    </a:lnTo>
                    <a:lnTo>
                      <a:pt x="93" y="8"/>
                    </a:lnTo>
                    <a:lnTo>
                      <a:pt x="78" y="2"/>
                    </a:lnTo>
                    <a:lnTo>
                      <a:pt x="61" y="0"/>
                    </a:lnTo>
                    <a:lnTo>
                      <a:pt x="45" y="2"/>
                    </a:lnTo>
                    <a:lnTo>
                      <a:pt x="31" y="8"/>
                    </a:lnTo>
                    <a:lnTo>
                      <a:pt x="18" y="18"/>
                    </a:lnTo>
                    <a:lnTo>
                      <a:pt x="9" y="30"/>
                    </a:lnTo>
                    <a:lnTo>
                      <a:pt x="2" y="45"/>
                    </a:lnTo>
                    <a:lnTo>
                      <a:pt x="0" y="62"/>
                    </a:lnTo>
                    <a:lnTo>
                      <a:pt x="2" y="78"/>
                    </a:lnTo>
                    <a:lnTo>
                      <a:pt x="9" y="92"/>
                    </a:lnTo>
                    <a:lnTo>
                      <a:pt x="18" y="105"/>
                    </a:lnTo>
                    <a:lnTo>
                      <a:pt x="31" y="114"/>
                    </a:lnTo>
                    <a:lnTo>
                      <a:pt x="45" y="121"/>
                    </a:lnTo>
                    <a:lnTo>
                      <a:pt x="61" y="123"/>
                    </a:lnTo>
                    <a:lnTo>
                      <a:pt x="78" y="121"/>
                    </a:lnTo>
                    <a:lnTo>
                      <a:pt x="93" y="114"/>
                    </a:lnTo>
                    <a:lnTo>
                      <a:pt x="105" y="105"/>
                    </a:lnTo>
                    <a:lnTo>
                      <a:pt x="115" y="92"/>
                    </a:lnTo>
                    <a:lnTo>
                      <a:pt x="121" y="78"/>
                    </a:lnTo>
                    <a:lnTo>
                      <a:pt x="123" y="62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6" name="Freeform 78"/>
              <p:cNvSpPr>
                <a:spLocks/>
              </p:cNvSpPr>
              <p:nvPr/>
            </p:nvSpPr>
            <p:spPr bwMode="auto">
              <a:xfrm>
                <a:off x="4811" y="1177"/>
                <a:ext cx="123" cy="123"/>
              </a:xfrm>
              <a:custGeom>
                <a:avLst/>
                <a:gdLst>
                  <a:gd name="T0" fmla="*/ 123 w 123"/>
                  <a:gd name="T1" fmla="*/ 62 h 123"/>
                  <a:gd name="T2" fmla="*/ 121 w 123"/>
                  <a:gd name="T3" fmla="*/ 45 h 123"/>
                  <a:gd name="T4" fmla="*/ 115 w 123"/>
                  <a:gd name="T5" fmla="*/ 30 h 123"/>
                  <a:gd name="T6" fmla="*/ 105 w 123"/>
                  <a:gd name="T7" fmla="*/ 18 h 123"/>
                  <a:gd name="T8" fmla="*/ 93 w 123"/>
                  <a:gd name="T9" fmla="*/ 8 h 123"/>
                  <a:gd name="T10" fmla="*/ 78 w 123"/>
                  <a:gd name="T11" fmla="*/ 2 h 123"/>
                  <a:gd name="T12" fmla="*/ 61 w 123"/>
                  <a:gd name="T13" fmla="*/ 0 h 123"/>
                  <a:gd name="T14" fmla="*/ 45 w 123"/>
                  <a:gd name="T15" fmla="*/ 2 h 123"/>
                  <a:gd name="T16" fmla="*/ 31 w 123"/>
                  <a:gd name="T17" fmla="*/ 8 h 123"/>
                  <a:gd name="T18" fmla="*/ 18 w 123"/>
                  <a:gd name="T19" fmla="*/ 18 h 123"/>
                  <a:gd name="T20" fmla="*/ 9 w 123"/>
                  <a:gd name="T21" fmla="*/ 30 h 123"/>
                  <a:gd name="T22" fmla="*/ 2 w 123"/>
                  <a:gd name="T23" fmla="*/ 45 h 123"/>
                  <a:gd name="T24" fmla="*/ 0 w 123"/>
                  <a:gd name="T25" fmla="*/ 62 h 123"/>
                  <a:gd name="T26" fmla="*/ 2 w 123"/>
                  <a:gd name="T27" fmla="*/ 78 h 123"/>
                  <a:gd name="T28" fmla="*/ 9 w 123"/>
                  <a:gd name="T29" fmla="*/ 92 h 123"/>
                  <a:gd name="T30" fmla="*/ 18 w 123"/>
                  <a:gd name="T31" fmla="*/ 105 h 123"/>
                  <a:gd name="T32" fmla="*/ 31 w 123"/>
                  <a:gd name="T33" fmla="*/ 114 h 123"/>
                  <a:gd name="T34" fmla="*/ 45 w 123"/>
                  <a:gd name="T35" fmla="*/ 121 h 123"/>
                  <a:gd name="T36" fmla="*/ 61 w 123"/>
                  <a:gd name="T37" fmla="*/ 123 h 123"/>
                  <a:gd name="T38" fmla="*/ 78 w 123"/>
                  <a:gd name="T39" fmla="*/ 121 h 123"/>
                  <a:gd name="T40" fmla="*/ 93 w 123"/>
                  <a:gd name="T41" fmla="*/ 114 h 123"/>
                  <a:gd name="T42" fmla="*/ 105 w 123"/>
                  <a:gd name="T43" fmla="*/ 105 h 123"/>
                  <a:gd name="T44" fmla="*/ 115 w 123"/>
                  <a:gd name="T45" fmla="*/ 92 h 123"/>
                  <a:gd name="T46" fmla="*/ 121 w 123"/>
                  <a:gd name="T47" fmla="*/ 78 h 123"/>
                  <a:gd name="T48" fmla="*/ 123 w 123"/>
                  <a:gd name="T49" fmla="*/ 62 h 1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3"/>
                  <a:gd name="T76" fmla="*/ 0 h 123"/>
                  <a:gd name="T77" fmla="*/ 123 w 123"/>
                  <a:gd name="T78" fmla="*/ 123 h 12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3" h="123">
                    <a:moveTo>
                      <a:pt x="123" y="62"/>
                    </a:moveTo>
                    <a:lnTo>
                      <a:pt x="121" y="45"/>
                    </a:lnTo>
                    <a:lnTo>
                      <a:pt x="115" y="30"/>
                    </a:lnTo>
                    <a:lnTo>
                      <a:pt x="105" y="18"/>
                    </a:lnTo>
                    <a:lnTo>
                      <a:pt x="93" y="8"/>
                    </a:lnTo>
                    <a:lnTo>
                      <a:pt x="78" y="2"/>
                    </a:lnTo>
                    <a:lnTo>
                      <a:pt x="61" y="0"/>
                    </a:lnTo>
                    <a:lnTo>
                      <a:pt x="45" y="2"/>
                    </a:lnTo>
                    <a:lnTo>
                      <a:pt x="31" y="8"/>
                    </a:lnTo>
                    <a:lnTo>
                      <a:pt x="18" y="18"/>
                    </a:lnTo>
                    <a:lnTo>
                      <a:pt x="9" y="30"/>
                    </a:lnTo>
                    <a:lnTo>
                      <a:pt x="2" y="45"/>
                    </a:lnTo>
                    <a:lnTo>
                      <a:pt x="0" y="62"/>
                    </a:lnTo>
                    <a:lnTo>
                      <a:pt x="2" y="78"/>
                    </a:lnTo>
                    <a:lnTo>
                      <a:pt x="9" y="92"/>
                    </a:lnTo>
                    <a:lnTo>
                      <a:pt x="18" y="105"/>
                    </a:lnTo>
                    <a:lnTo>
                      <a:pt x="31" y="114"/>
                    </a:lnTo>
                    <a:lnTo>
                      <a:pt x="45" y="121"/>
                    </a:lnTo>
                    <a:lnTo>
                      <a:pt x="61" y="123"/>
                    </a:lnTo>
                    <a:lnTo>
                      <a:pt x="78" y="121"/>
                    </a:lnTo>
                    <a:lnTo>
                      <a:pt x="93" y="114"/>
                    </a:lnTo>
                    <a:lnTo>
                      <a:pt x="105" y="105"/>
                    </a:lnTo>
                    <a:lnTo>
                      <a:pt x="115" y="92"/>
                    </a:lnTo>
                    <a:lnTo>
                      <a:pt x="121" y="78"/>
                    </a:lnTo>
                    <a:lnTo>
                      <a:pt x="123" y="62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7" name="Freeform 79"/>
              <p:cNvSpPr>
                <a:spLocks/>
              </p:cNvSpPr>
              <p:nvPr/>
            </p:nvSpPr>
            <p:spPr bwMode="auto">
              <a:xfrm>
                <a:off x="4441" y="2851"/>
                <a:ext cx="122" cy="122"/>
              </a:xfrm>
              <a:custGeom>
                <a:avLst/>
                <a:gdLst>
                  <a:gd name="T0" fmla="*/ 122 w 122"/>
                  <a:gd name="T1" fmla="*/ 61 h 122"/>
                  <a:gd name="T2" fmla="*/ 119 w 122"/>
                  <a:gd name="T3" fmla="*/ 45 h 122"/>
                  <a:gd name="T4" fmla="*/ 113 w 122"/>
                  <a:gd name="T5" fmla="*/ 31 h 122"/>
                  <a:gd name="T6" fmla="*/ 104 w 122"/>
                  <a:gd name="T7" fmla="*/ 18 h 122"/>
                  <a:gd name="T8" fmla="*/ 91 w 122"/>
                  <a:gd name="T9" fmla="*/ 9 h 122"/>
                  <a:gd name="T10" fmla="*/ 77 w 122"/>
                  <a:gd name="T11" fmla="*/ 2 h 122"/>
                  <a:gd name="T12" fmla="*/ 60 w 122"/>
                  <a:gd name="T13" fmla="*/ 0 h 122"/>
                  <a:gd name="T14" fmla="*/ 44 w 122"/>
                  <a:gd name="T15" fmla="*/ 2 h 122"/>
                  <a:gd name="T16" fmla="*/ 30 w 122"/>
                  <a:gd name="T17" fmla="*/ 9 h 122"/>
                  <a:gd name="T18" fmla="*/ 17 w 122"/>
                  <a:gd name="T19" fmla="*/ 18 h 122"/>
                  <a:gd name="T20" fmla="*/ 8 w 122"/>
                  <a:gd name="T21" fmla="*/ 31 h 122"/>
                  <a:gd name="T22" fmla="*/ 2 w 122"/>
                  <a:gd name="T23" fmla="*/ 45 h 122"/>
                  <a:gd name="T24" fmla="*/ 0 w 122"/>
                  <a:gd name="T25" fmla="*/ 61 h 122"/>
                  <a:gd name="T26" fmla="*/ 2 w 122"/>
                  <a:gd name="T27" fmla="*/ 78 h 122"/>
                  <a:gd name="T28" fmla="*/ 8 w 122"/>
                  <a:gd name="T29" fmla="*/ 92 h 122"/>
                  <a:gd name="T30" fmla="*/ 17 w 122"/>
                  <a:gd name="T31" fmla="*/ 104 h 122"/>
                  <a:gd name="T32" fmla="*/ 30 w 122"/>
                  <a:gd name="T33" fmla="*/ 114 h 122"/>
                  <a:gd name="T34" fmla="*/ 44 w 122"/>
                  <a:gd name="T35" fmla="*/ 119 h 122"/>
                  <a:gd name="T36" fmla="*/ 60 w 122"/>
                  <a:gd name="T37" fmla="*/ 122 h 122"/>
                  <a:gd name="T38" fmla="*/ 77 w 122"/>
                  <a:gd name="T39" fmla="*/ 119 h 122"/>
                  <a:gd name="T40" fmla="*/ 91 w 122"/>
                  <a:gd name="T41" fmla="*/ 114 h 122"/>
                  <a:gd name="T42" fmla="*/ 104 w 122"/>
                  <a:gd name="T43" fmla="*/ 104 h 122"/>
                  <a:gd name="T44" fmla="*/ 113 w 122"/>
                  <a:gd name="T45" fmla="*/ 92 h 122"/>
                  <a:gd name="T46" fmla="*/ 119 w 122"/>
                  <a:gd name="T47" fmla="*/ 78 h 122"/>
                  <a:gd name="T48" fmla="*/ 122 w 122"/>
                  <a:gd name="T49" fmla="*/ 61 h 12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2"/>
                  <a:gd name="T76" fmla="*/ 0 h 122"/>
                  <a:gd name="T77" fmla="*/ 122 w 122"/>
                  <a:gd name="T78" fmla="*/ 122 h 12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2" h="122">
                    <a:moveTo>
                      <a:pt x="122" y="61"/>
                    </a:moveTo>
                    <a:lnTo>
                      <a:pt x="119" y="45"/>
                    </a:lnTo>
                    <a:lnTo>
                      <a:pt x="113" y="31"/>
                    </a:lnTo>
                    <a:lnTo>
                      <a:pt x="104" y="18"/>
                    </a:lnTo>
                    <a:lnTo>
                      <a:pt x="91" y="9"/>
                    </a:lnTo>
                    <a:lnTo>
                      <a:pt x="77" y="2"/>
                    </a:lnTo>
                    <a:lnTo>
                      <a:pt x="60" y="0"/>
                    </a:lnTo>
                    <a:lnTo>
                      <a:pt x="44" y="2"/>
                    </a:lnTo>
                    <a:lnTo>
                      <a:pt x="30" y="9"/>
                    </a:lnTo>
                    <a:lnTo>
                      <a:pt x="17" y="18"/>
                    </a:lnTo>
                    <a:lnTo>
                      <a:pt x="8" y="31"/>
                    </a:lnTo>
                    <a:lnTo>
                      <a:pt x="2" y="45"/>
                    </a:lnTo>
                    <a:lnTo>
                      <a:pt x="0" y="61"/>
                    </a:lnTo>
                    <a:lnTo>
                      <a:pt x="2" y="78"/>
                    </a:lnTo>
                    <a:lnTo>
                      <a:pt x="8" y="92"/>
                    </a:lnTo>
                    <a:lnTo>
                      <a:pt x="17" y="104"/>
                    </a:lnTo>
                    <a:lnTo>
                      <a:pt x="30" y="114"/>
                    </a:lnTo>
                    <a:lnTo>
                      <a:pt x="44" y="119"/>
                    </a:lnTo>
                    <a:lnTo>
                      <a:pt x="60" y="122"/>
                    </a:lnTo>
                    <a:lnTo>
                      <a:pt x="77" y="119"/>
                    </a:lnTo>
                    <a:lnTo>
                      <a:pt x="91" y="114"/>
                    </a:lnTo>
                    <a:lnTo>
                      <a:pt x="104" y="104"/>
                    </a:lnTo>
                    <a:lnTo>
                      <a:pt x="113" y="92"/>
                    </a:lnTo>
                    <a:lnTo>
                      <a:pt x="119" y="78"/>
                    </a:lnTo>
                    <a:lnTo>
                      <a:pt x="122" y="61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8" name="Freeform 80"/>
              <p:cNvSpPr>
                <a:spLocks/>
              </p:cNvSpPr>
              <p:nvPr/>
            </p:nvSpPr>
            <p:spPr bwMode="auto">
              <a:xfrm>
                <a:off x="4441" y="2851"/>
                <a:ext cx="122" cy="122"/>
              </a:xfrm>
              <a:custGeom>
                <a:avLst/>
                <a:gdLst>
                  <a:gd name="T0" fmla="*/ 122 w 122"/>
                  <a:gd name="T1" fmla="*/ 61 h 122"/>
                  <a:gd name="T2" fmla="*/ 119 w 122"/>
                  <a:gd name="T3" fmla="*/ 45 h 122"/>
                  <a:gd name="T4" fmla="*/ 113 w 122"/>
                  <a:gd name="T5" fmla="*/ 31 h 122"/>
                  <a:gd name="T6" fmla="*/ 104 w 122"/>
                  <a:gd name="T7" fmla="*/ 18 h 122"/>
                  <a:gd name="T8" fmla="*/ 91 w 122"/>
                  <a:gd name="T9" fmla="*/ 9 h 122"/>
                  <a:gd name="T10" fmla="*/ 77 w 122"/>
                  <a:gd name="T11" fmla="*/ 2 h 122"/>
                  <a:gd name="T12" fmla="*/ 60 w 122"/>
                  <a:gd name="T13" fmla="*/ 0 h 122"/>
                  <a:gd name="T14" fmla="*/ 44 w 122"/>
                  <a:gd name="T15" fmla="*/ 2 h 122"/>
                  <a:gd name="T16" fmla="*/ 30 w 122"/>
                  <a:gd name="T17" fmla="*/ 9 h 122"/>
                  <a:gd name="T18" fmla="*/ 17 w 122"/>
                  <a:gd name="T19" fmla="*/ 18 h 122"/>
                  <a:gd name="T20" fmla="*/ 8 w 122"/>
                  <a:gd name="T21" fmla="*/ 31 h 122"/>
                  <a:gd name="T22" fmla="*/ 2 w 122"/>
                  <a:gd name="T23" fmla="*/ 45 h 122"/>
                  <a:gd name="T24" fmla="*/ 0 w 122"/>
                  <a:gd name="T25" fmla="*/ 61 h 122"/>
                  <a:gd name="T26" fmla="*/ 2 w 122"/>
                  <a:gd name="T27" fmla="*/ 78 h 122"/>
                  <a:gd name="T28" fmla="*/ 8 w 122"/>
                  <a:gd name="T29" fmla="*/ 92 h 122"/>
                  <a:gd name="T30" fmla="*/ 17 w 122"/>
                  <a:gd name="T31" fmla="*/ 104 h 122"/>
                  <a:gd name="T32" fmla="*/ 30 w 122"/>
                  <a:gd name="T33" fmla="*/ 114 h 122"/>
                  <a:gd name="T34" fmla="*/ 44 w 122"/>
                  <a:gd name="T35" fmla="*/ 119 h 122"/>
                  <a:gd name="T36" fmla="*/ 60 w 122"/>
                  <a:gd name="T37" fmla="*/ 122 h 122"/>
                  <a:gd name="T38" fmla="*/ 77 w 122"/>
                  <a:gd name="T39" fmla="*/ 119 h 122"/>
                  <a:gd name="T40" fmla="*/ 91 w 122"/>
                  <a:gd name="T41" fmla="*/ 114 h 122"/>
                  <a:gd name="T42" fmla="*/ 104 w 122"/>
                  <a:gd name="T43" fmla="*/ 104 h 122"/>
                  <a:gd name="T44" fmla="*/ 113 w 122"/>
                  <a:gd name="T45" fmla="*/ 92 h 122"/>
                  <a:gd name="T46" fmla="*/ 119 w 122"/>
                  <a:gd name="T47" fmla="*/ 78 h 122"/>
                  <a:gd name="T48" fmla="*/ 122 w 122"/>
                  <a:gd name="T49" fmla="*/ 61 h 12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2"/>
                  <a:gd name="T76" fmla="*/ 0 h 122"/>
                  <a:gd name="T77" fmla="*/ 122 w 122"/>
                  <a:gd name="T78" fmla="*/ 122 h 122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2" h="122">
                    <a:moveTo>
                      <a:pt x="122" y="61"/>
                    </a:moveTo>
                    <a:lnTo>
                      <a:pt x="119" y="45"/>
                    </a:lnTo>
                    <a:lnTo>
                      <a:pt x="113" y="31"/>
                    </a:lnTo>
                    <a:lnTo>
                      <a:pt x="104" y="18"/>
                    </a:lnTo>
                    <a:lnTo>
                      <a:pt x="91" y="9"/>
                    </a:lnTo>
                    <a:lnTo>
                      <a:pt x="77" y="2"/>
                    </a:lnTo>
                    <a:lnTo>
                      <a:pt x="60" y="0"/>
                    </a:lnTo>
                    <a:lnTo>
                      <a:pt x="44" y="2"/>
                    </a:lnTo>
                    <a:lnTo>
                      <a:pt x="30" y="9"/>
                    </a:lnTo>
                    <a:lnTo>
                      <a:pt x="17" y="18"/>
                    </a:lnTo>
                    <a:lnTo>
                      <a:pt x="8" y="31"/>
                    </a:lnTo>
                    <a:lnTo>
                      <a:pt x="2" y="45"/>
                    </a:lnTo>
                    <a:lnTo>
                      <a:pt x="0" y="61"/>
                    </a:lnTo>
                    <a:lnTo>
                      <a:pt x="2" y="78"/>
                    </a:lnTo>
                    <a:lnTo>
                      <a:pt x="8" y="92"/>
                    </a:lnTo>
                    <a:lnTo>
                      <a:pt x="17" y="104"/>
                    </a:lnTo>
                    <a:lnTo>
                      <a:pt x="30" y="114"/>
                    </a:lnTo>
                    <a:lnTo>
                      <a:pt x="44" y="119"/>
                    </a:lnTo>
                    <a:lnTo>
                      <a:pt x="60" y="122"/>
                    </a:lnTo>
                    <a:lnTo>
                      <a:pt x="77" y="119"/>
                    </a:lnTo>
                    <a:lnTo>
                      <a:pt x="91" y="114"/>
                    </a:lnTo>
                    <a:lnTo>
                      <a:pt x="104" y="104"/>
                    </a:lnTo>
                    <a:lnTo>
                      <a:pt x="113" y="92"/>
                    </a:lnTo>
                    <a:lnTo>
                      <a:pt x="119" y="78"/>
                    </a:lnTo>
                    <a:lnTo>
                      <a:pt x="122" y="61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29" name="Freeform 81"/>
              <p:cNvSpPr>
                <a:spLocks/>
              </p:cNvSpPr>
              <p:nvPr/>
            </p:nvSpPr>
            <p:spPr bwMode="auto">
              <a:xfrm>
                <a:off x="4047" y="2697"/>
                <a:ext cx="120" cy="120"/>
              </a:xfrm>
              <a:custGeom>
                <a:avLst/>
                <a:gdLst>
                  <a:gd name="T0" fmla="*/ 120 w 120"/>
                  <a:gd name="T1" fmla="*/ 60 h 120"/>
                  <a:gd name="T2" fmla="*/ 118 w 120"/>
                  <a:gd name="T3" fmla="*/ 44 h 120"/>
                  <a:gd name="T4" fmla="*/ 113 w 120"/>
                  <a:gd name="T5" fmla="*/ 30 h 120"/>
                  <a:gd name="T6" fmla="*/ 103 w 120"/>
                  <a:gd name="T7" fmla="*/ 17 h 120"/>
                  <a:gd name="T8" fmla="*/ 91 w 120"/>
                  <a:gd name="T9" fmla="*/ 8 h 120"/>
                  <a:gd name="T10" fmla="*/ 76 w 120"/>
                  <a:gd name="T11" fmla="*/ 2 h 120"/>
                  <a:gd name="T12" fmla="*/ 61 w 120"/>
                  <a:gd name="T13" fmla="*/ 0 h 120"/>
                  <a:gd name="T14" fmla="*/ 45 w 120"/>
                  <a:gd name="T15" fmla="*/ 2 h 120"/>
                  <a:gd name="T16" fmla="*/ 30 w 120"/>
                  <a:gd name="T17" fmla="*/ 8 h 120"/>
                  <a:gd name="T18" fmla="*/ 18 w 120"/>
                  <a:gd name="T19" fmla="*/ 17 h 120"/>
                  <a:gd name="T20" fmla="*/ 9 w 120"/>
                  <a:gd name="T21" fmla="*/ 30 h 120"/>
                  <a:gd name="T22" fmla="*/ 3 w 120"/>
                  <a:gd name="T23" fmla="*/ 44 h 120"/>
                  <a:gd name="T24" fmla="*/ 0 w 120"/>
                  <a:gd name="T25" fmla="*/ 60 h 120"/>
                  <a:gd name="T26" fmla="*/ 3 w 120"/>
                  <a:gd name="T27" fmla="*/ 75 h 120"/>
                  <a:gd name="T28" fmla="*/ 9 w 120"/>
                  <a:gd name="T29" fmla="*/ 90 h 120"/>
                  <a:gd name="T30" fmla="*/ 18 w 120"/>
                  <a:gd name="T31" fmla="*/ 102 h 120"/>
                  <a:gd name="T32" fmla="*/ 30 w 120"/>
                  <a:gd name="T33" fmla="*/ 111 h 120"/>
                  <a:gd name="T34" fmla="*/ 45 w 120"/>
                  <a:gd name="T35" fmla="*/ 118 h 120"/>
                  <a:gd name="T36" fmla="*/ 61 w 120"/>
                  <a:gd name="T37" fmla="*/ 120 h 120"/>
                  <a:gd name="T38" fmla="*/ 76 w 120"/>
                  <a:gd name="T39" fmla="*/ 118 h 120"/>
                  <a:gd name="T40" fmla="*/ 91 w 120"/>
                  <a:gd name="T41" fmla="*/ 111 h 120"/>
                  <a:gd name="T42" fmla="*/ 103 w 120"/>
                  <a:gd name="T43" fmla="*/ 102 h 120"/>
                  <a:gd name="T44" fmla="*/ 113 w 120"/>
                  <a:gd name="T45" fmla="*/ 90 h 120"/>
                  <a:gd name="T46" fmla="*/ 118 w 120"/>
                  <a:gd name="T47" fmla="*/ 75 h 120"/>
                  <a:gd name="T48" fmla="*/ 120 w 120"/>
                  <a:gd name="T49" fmla="*/ 60 h 12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0"/>
                  <a:gd name="T76" fmla="*/ 0 h 120"/>
                  <a:gd name="T77" fmla="*/ 120 w 120"/>
                  <a:gd name="T78" fmla="*/ 120 h 12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0" h="120">
                    <a:moveTo>
                      <a:pt x="120" y="60"/>
                    </a:moveTo>
                    <a:lnTo>
                      <a:pt x="118" y="44"/>
                    </a:lnTo>
                    <a:lnTo>
                      <a:pt x="113" y="30"/>
                    </a:lnTo>
                    <a:lnTo>
                      <a:pt x="103" y="17"/>
                    </a:lnTo>
                    <a:lnTo>
                      <a:pt x="91" y="8"/>
                    </a:lnTo>
                    <a:lnTo>
                      <a:pt x="76" y="2"/>
                    </a:lnTo>
                    <a:lnTo>
                      <a:pt x="61" y="0"/>
                    </a:lnTo>
                    <a:lnTo>
                      <a:pt x="45" y="2"/>
                    </a:lnTo>
                    <a:lnTo>
                      <a:pt x="30" y="8"/>
                    </a:lnTo>
                    <a:lnTo>
                      <a:pt x="18" y="17"/>
                    </a:lnTo>
                    <a:lnTo>
                      <a:pt x="9" y="30"/>
                    </a:lnTo>
                    <a:lnTo>
                      <a:pt x="3" y="44"/>
                    </a:lnTo>
                    <a:lnTo>
                      <a:pt x="0" y="60"/>
                    </a:lnTo>
                    <a:lnTo>
                      <a:pt x="3" y="75"/>
                    </a:lnTo>
                    <a:lnTo>
                      <a:pt x="9" y="90"/>
                    </a:lnTo>
                    <a:lnTo>
                      <a:pt x="18" y="102"/>
                    </a:lnTo>
                    <a:lnTo>
                      <a:pt x="30" y="111"/>
                    </a:lnTo>
                    <a:lnTo>
                      <a:pt x="45" y="118"/>
                    </a:lnTo>
                    <a:lnTo>
                      <a:pt x="61" y="120"/>
                    </a:lnTo>
                    <a:lnTo>
                      <a:pt x="76" y="118"/>
                    </a:lnTo>
                    <a:lnTo>
                      <a:pt x="91" y="111"/>
                    </a:lnTo>
                    <a:lnTo>
                      <a:pt x="103" y="102"/>
                    </a:lnTo>
                    <a:lnTo>
                      <a:pt x="113" y="90"/>
                    </a:lnTo>
                    <a:lnTo>
                      <a:pt x="118" y="75"/>
                    </a:lnTo>
                    <a:lnTo>
                      <a:pt x="120" y="6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0" name="Freeform 82"/>
              <p:cNvSpPr>
                <a:spLocks/>
              </p:cNvSpPr>
              <p:nvPr/>
            </p:nvSpPr>
            <p:spPr bwMode="auto">
              <a:xfrm>
                <a:off x="4047" y="2697"/>
                <a:ext cx="120" cy="120"/>
              </a:xfrm>
              <a:custGeom>
                <a:avLst/>
                <a:gdLst>
                  <a:gd name="T0" fmla="*/ 120 w 120"/>
                  <a:gd name="T1" fmla="*/ 60 h 120"/>
                  <a:gd name="T2" fmla="*/ 118 w 120"/>
                  <a:gd name="T3" fmla="*/ 44 h 120"/>
                  <a:gd name="T4" fmla="*/ 113 w 120"/>
                  <a:gd name="T5" fmla="*/ 30 h 120"/>
                  <a:gd name="T6" fmla="*/ 103 w 120"/>
                  <a:gd name="T7" fmla="*/ 17 h 120"/>
                  <a:gd name="T8" fmla="*/ 91 w 120"/>
                  <a:gd name="T9" fmla="*/ 8 h 120"/>
                  <a:gd name="T10" fmla="*/ 76 w 120"/>
                  <a:gd name="T11" fmla="*/ 2 h 120"/>
                  <a:gd name="T12" fmla="*/ 61 w 120"/>
                  <a:gd name="T13" fmla="*/ 0 h 120"/>
                  <a:gd name="T14" fmla="*/ 45 w 120"/>
                  <a:gd name="T15" fmla="*/ 2 h 120"/>
                  <a:gd name="T16" fmla="*/ 30 w 120"/>
                  <a:gd name="T17" fmla="*/ 8 h 120"/>
                  <a:gd name="T18" fmla="*/ 18 w 120"/>
                  <a:gd name="T19" fmla="*/ 17 h 120"/>
                  <a:gd name="T20" fmla="*/ 9 w 120"/>
                  <a:gd name="T21" fmla="*/ 30 h 120"/>
                  <a:gd name="T22" fmla="*/ 3 w 120"/>
                  <a:gd name="T23" fmla="*/ 44 h 120"/>
                  <a:gd name="T24" fmla="*/ 0 w 120"/>
                  <a:gd name="T25" fmla="*/ 60 h 120"/>
                  <a:gd name="T26" fmla="*/ 3 w 120"/>
                  <a:gd name="T27" fmla="*/ 75 h 120"/>
                  <a:gd name="T28" fmla="*/ 9 w 120"/>
                  <a:gd name="T29" fmla="*/ 90 h 120"/>
                  <a:gd name="T30" fmla="*/ 18 w 120"/>
                  <a:gd name="T31" fmla="*/ 102 h 120"/>
                  <a:gd name="T32" fmla="*/ 30 w 120"/>
                  <a:gd name="T33" fmla="*/ 111 h 120"/>
                  <a:gd name="T34" fmla="*/ 45 w 120"/>
                  <a:gd name="T35" fmla="*/ 118 h 120"/>
                  <a:gd name="T36" fmla="*/ 61 w 120"/>
                  <a:gd name="T37" fmla="*/ 120 h 120"/>
                  <a:gd name="T38" fmla="*/ 76 w 120"/>
                  <a:gd name="T39" fmla="*/ 118 h 120"/>
                  <a:gd name="T40" fmla="*/ 91 w 120"/>
                  <a:gd name="T41" fmla="*/ 111 h 120"/>
                  <a:gd name="T42" fmla="*/ 103 w 120"/>
                  <a:gd name="T43" fmla="*/ 102 h 120"/>
                  <a:gd name="T44" fmla="*/ 113 w 120"/>
                  <a:gd name="T45" fmla="*/ 90 h 120"/>
                  <a:gd name="T46" fmla="*/ 118 w 120"/>
                  <a:gd name="T47" fmla="*/ 75 h 120"/>
                  <a:gd name="T48" fmla="*/ 120 w 120"/>
                  <a:gd name="T49" fmla="*/ 60 h 12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0"/>
                  <a:gd name="T76" fmla="*/ 0 h 120"/>
                  <a:gd name="T77" fmla="*/ 120 w 120"/>
                  <a:gd name="T78" fmla="*/ 120 h 12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0" h="120">
                    <a:moveTo>
                      <a:pt x="120" y="60"/>
                    </a:moveTo>
                    <a:lnTo>
                      <a:pt x="118" y="44"/>
                    </a:lnTo>
                    <a:lnTo>
                      <a:pt x="113" y="30"/>
                    </a:lnTo>
                    <a:lnTo>
                      <a:pt x="103" y="17"/>
                    </a:lnTo>
                    <a:lnTo>
                      <a:pt x="91" y="8"/>
                    </a:lnTo>
                    <a:lnTo>
                      <a:pt x="76" y="2"/>
                    </a:lnTo>
                    <a:lnTo>
                      <a:pt x="61" y="0"/>
                    </a:lnTo>
                    <a:lnTo>
                      <a:pt x="45" y="2"/>
                    </a:lnTo>
                    <a:lnTo>
                      <a:pt x="30" y="8"/>
                    </a:lnTo>
                    <a:lnTo>
                      <a:pt x="18" y="17"/>
                    </a:lnTo>
                    <a:lnTo>
                      <a:pt x="9" y="30"/>
                    </a:lnTo>
                    <a:lnTo>
                      <a:pt x="3" y="44"/>
                    </a:lnTo>
                    <a:lnTo>
                      <a:pt x="0" y="60"/>
                    </a:lnTo>
                    <a:lnTo>
                      <a:pt x="3" y="75"/>
                    </a:lnTo>
                    <a:lnTo>
                      <a:pt x="9" y="90"/>
                    </a:lnTo>
                    <a:lnTo>
                      <a:pt x="18" y="102"/>
                    </a:lnTo>
                    <a:lnTo>
                      <a:pt x="30" y="111"/>
                    </a:lnTo>
                    <a:lnTo>
                      <a:pt x="45" y="118"/>
                    </a:lnTo>
                    <a:lnTo>
                      <a:pt x="61" y="120"/>
                    </a:lnTo>
                    <a:lnTo>
                      <a:pt x="76" y="118"/>
                    </a:lnTo>
                    <a:lnTo>
                      <a:pt x="91" y="111"/>
                    </a:lnTo>
                    <a:lnTo>
                      <a:pt x="103" y="102"/>
                    </a:lnTo>
                    <a:lnTo>
                      <a:pt x="113" y="90"/>
                    </a:lnTo>
                    <a:lnTo>
                      <a:pt x="118" y="75"/>
                    </a:lnTo>
                    <a:lnTo>
                      <a:pt x="120" y="6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1" name="Freeform 83"/>
              <p:cNvSpPr>
                <a:spLocks/>
              </p:cNvSpPr>
              <p:nvPr/>
            </p:nvSpPr>
            <p:spPr bwMode="auto">
              <a:xfrm>
                <a:off x="4792" y="1163"/>
                <a:ext cx="120" cy="120"/>
              </a:xfrm>
              <a:custGeom>
                <a:avLst/>
                <a:gdLst>
                  <a:gd name="T0" fmla="*/ 120 w 120"/>
                  <a:gd name="T1" fmla="*/ 61 h 120"/>
                  <a:gd name="T2" fmla="*/ 118 w 120"/>
                  <a:gd name="T3" fmla="*/ 44 h 120"/>
                  <a:gd name="T4" fmla="*/ 112 w 120"/>
                  <a:gd name="T5" fmla="*/ 30 h 120"/>
                  <a:gd name="T6" fmla="*/ 103 w 120"/>
                  <a:gd name="T7" fmla="*/ 17 h 120"/>
                  <a:gd name="T8" fmla="*/ 90 w 120"/>
                  <a:gd name="T9" fmla="*/ 8 h 120"/>
                  <a:gd name="T10" fmla="*/ 76 w 120"/>
                  <a:gd name="T11" fmla="*/ 3 h 120"/>
                  <a:gd name="T12" fmla="*/ 60 w 120"/>
                  <a:gd name="T13" fmla="*/ 0 h 120"/>
                  <a:gd name="T14" fmla="*/ 44 w 120"/>
                  <a:gd name="T15" fmla="*/ 3 h 120"/>
                  <a:gd name="T16" fmla="*/ 30 w 120"/>
                  <a:gd name="T17" fmla="*/ 8 h 120"/>
                  <a:gd name="T18" fmla="*/ 17 w 120"/>
                  <a:gd name="T19" fmla="*/ 17 h 120"/>
                  <a:gd name="T20" fmla="*/ 8 w 120"/>
                  <a:gd name="T21" fmla="*/ 30 h 120"/>
                  <a:gd name="T22" fmla="*/ 2 w 120"/>
                  <a:gd name="T23" fmla="*/ 44 h 120"/>
                  <a:gd name="T24" fmla="*/ 0 w 120"/>
                  <a:gd name="T25" fmla="*/ 61 h 120"/>
                  <a:gd name="T26" fmla="*/ 2 w 120"/>
                  <a:gd name="T27" fmla="*/ 76 h 120"/>
                  <a:gd name="T28" fmla="*/ 8 w 120"/>
                  <a:gd name="T29" fmla="*/ 91 h 120"/>
                  <a:gd name="T30" fmla="*/ 17 w 120"/>
                  <a:gd name="T31" fmla="*/ 103 h 120"/>
                  <a:gd name="T32" fmla="*/ 30 w 120"/>
                  <a:gd name="T33" fmla="*/ 113 h 120"/>
                  <a:gd name="T34" fmla="*/ 44 w 120"/>
                  <a:gd name="T35" fmla="*/ 118 h 120"/>
                  <a:gd name="T36" fmla="*/ 60 w 120"/>
                  <a:gd name="T37" fmla="*/ 120 h 120"/>
                  <a:gd name="T38" fmla="*/ 76 w 120"/>
                  <a:gd name="T39" fmla="*/ 118 h 120"/>
                  <a:gd name="T40" fmla="*/ 90 w 120"/>
                  <a:gd name="T41" fmla="*/ 113 h 120"/>
                  <a:gd name="T42" fmla="*/ 103 w 120"/>
                  <a:gd name="T43" fmla="*/ 103 h 120"/>
                  <a:gd name="T44" fmla="*/ 112 w 120"/>
                  <a:gd name="T45" fmla="*/ 91 h 120"/>
                  <a:gd name="T46" fmla="*/ 118 w 120"/>
                  <a:gd name="T47" fmla="*/ 76 h 120"/>
                  <a:gd name="T48" fmla="*/ 120 w 120"/>
                  <a:gd name="T49" fmla="*/ 61 h 12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0"/>
                  <a:gd name="T76" fmla="*/ 0 h 120"/>
                  <a:gd name="T77" fmla="*/ 120 w 120"/>
                  <a:gd name="T78" fmla="*/ 120 h 12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0" h="120">
                    <a:moveTo>
                      <a:pt x="120" y="61"/>
                    </a:moveTo>
                    <a:lnTo>
                      <a:pt x="118" y="44"/>
                    </a:lnTo>
                    <a:lnTo>
                      <a:pt x="112" y="30"/>
                    </a:lnTo>
                    <a:lnTo>
                      <a:pt x="103" y="17"/>
                    </a:lnTo>
                    <a:lnTo>
                      <a:pt x="90" y="8"/>
                    </a:lnTo>
                    <a:lnTo>
                      <a:pt x="76" y="3"/>
                    </a:lnTo>
                    <a:lnTo>
                      <a:pt x="60" y="0"/>
                    </a:lnTo>
                    <a:lnTo>
                      <a:pt x="44" y="3"/>
                    </a:lnTo>
                    <a:lnTo>
                      <a:pt x="30" y="8"/>
                    </a:lnTo>
                    <a:lnTo>
                      <a:pt x="17" y="17"/>
                    </a:lnTo>
                    <a:lnTo>
                      <a:pt x="8" y="30"/>
                    </a:lnTo>
                    <a:lnTo>
                      <a:pt x="2" y="44"/>
                    </a:lnTo>
                    <a:lnTo>
                      <a:pt x="0" y="61"/>
                    </a:lnTo>
                    <a:lnTo>
                      <a:pt x="2" y="76"/>
                    </a:lnTo>
                    <a:lnTo>
                      <a:pt x="8" y="91"/>
                    </a:lnTo>
                    <a:lnTo>
                      <a:pt x="17" y="103"/>
                    </a:lnTo>
                    <a:lnTo>
                      <a:pt x="30" y="113"/>
                    </a:lnTo>
                    <a:lnTo>
                      <a:pt x="44" y="118"/>
                    </a:lnTo>
                    <a:lnTo>
                      <a:pt x="60" y="120"/>
                    </a:lnTo>
                    <a:lnTo>
                      <a:pt x="76" y="118"/>
                    </a:lnTo>
                    <a:lnTo>
                      <a:pt x="90" y="113"/>
                    </a:lnTo>
                    <a:lnTo>
                      <a:pt x="103" y="103"/>
                    </a:lnTo>
                    <a:lnTo>
                      <a:pt x="112" y="91"/>
                    </a:lnTo>
                    <a:lnTo>
                      <a:pt x="118" y="76"/>
                    </a:lnTo>
                    <a:lnTo>
                      <a:pt x="120" y="61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2" name="Freeform 84"/>
              <p:cNvSpPr>
                <a:spLocks/>
              </p:cNvSpPr>
              <p:nvPr/>
            </p:nvSpPr>
            <p:spPr bwMode="auto">
              <a:xfrm>
                <a:off x="4792" y="1163"/>
                <a:ext cx="120" cy="120"/>
              </a:xfrm>
              <a:custGeom>
                <a:avLst/>
                <a:gdLst>
                  <a:gd name="T0" fmla="*/ 120 w 120"/>
                  <a:gd name="T1" fmla="*/ 61 h 120"/>
                  <a:gd name="T2" fmla="*/ 118 w 120"/>
                  <a:gd name="T3" fmla="*/ 44 h 120"/>
                  <a:gd name="T4" fmla="*/ 112 w 120"/>
                  <a:gd name="T5" fmla="*/ 30 h 120"/>
                  <a:gd name="T6" fmla="*/ 103 w 120"/>
                  <a:gd name="T7" fmla="*/ 17 h 120"/>
                  <a:gd name="T8" fmla="*/ 90 w 120"/>
                  <a:gd name="T9" fmla="*/ 8 h 120"/>
                  <a:gd name="T10" fmla="*/ 76 w 120"/>
                  <a:gd name="T11" fmla="*/ 3 h 120"/>
                  <a:gd name="T12" fmla="*/ 60 w 120"/>
                  <a:gd name="T13" fmla="*/ 0 h 120"/>
                  <a:gd name="T14" fmla="*/ 44 w 120"/>
                  <a:gd name="T15" fmla="*/ 3 h 120"/>
                  <a:gd name="T16" fmla="*/ 30 w 120"/>
                  <a:gd name="T17" fmla="*/ 8 h 120"/>
                  <a:gd name="T18" fmla="*/ 17 w 120"/>
                  <a:gd name="T19" fmla="*/ 17 h 120"/>
                  <a:gd name="T20" fmla="*/ 8 w 120"/>
                  <a:gd name="T21" fmla="*/ 30 h 120"/>
                  <a:gd name="T22" fmla="*/ 2 w 120"/>
                  <a:gd name="T23" fmla="*/ 44 h 120"/>
                  <a:gd name="T24" fmla="*/ 0 w 120"/>
                  <a:gd name="T25" fmla="*/ 61 h 120"/>
                  <a:gd name="T26" fmla="*/ 2 w 120"/>
                  <a:gd name="T27" fmla="*/ 76 h 120"/>
                  <a:gd name="T28" fmla="*/ 8 w 120"/>
                  <a:gd name="T29" fmla="*/ 91 h 120"/>
                  <a:gd name="T30" fmla="*/ 17 w 120"/>
                  <a:gd name="T31" fmla="*/ 103 h 120"/>
                  <a:gd name="T32" fmla="*/ 30 w 120"/>
                  <a:gd name="T33" fmla="*/ 113 h 120"/>
                  <a:gd name="T34" fmla="*/ 44 w 120"/>
                  <a:gd name="T35" fmla="*/ 118 h 120"/>
                  <a:gd name="T36" fmla="*/ 60 w 120"/>
                  <a:gd name="T37" fmla="*/ 120 h 120"/>
                  <a:gd name="T38" fmla="*/ 76 w 120"/>
                  <a:gd name="T39" fmla="*/ 118 h 120"/>
                  <a:gd name="T40" fmla="*/ 90 w 120"/>
                  <a:gd name="T41" fmla="*/ 113 h 120"/>
                  <a:gd name="T42" fmla="*/ 103 w 120"/>
                  <a:gd name="T43" fmla="*/ 103 h 120"/>
                  <a:gd name="T44" fmla="*/ 112 w 120"/>
                  <a:gd name="T45" fmla="*/ 91 h 120"/>
                  <a:gd name="T46" fmla="*/ 118 w 120"/>
                  <a:gd name="T47" fmla="*/ 76 h 120"/>
                  <a:gd name="T48" fmla="*/ 120 w 120"/>
                  <a:gd name="T49" fmla="*/ 61 h 12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20"/>
                  <a:gd name="T76" fmla="*/ 0 h 120"/>
                  <a:gd name="T77" fmla="*/ 120 w 120"/>
                  <a:gd name="T78" fmla="*/ 120 h 12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20" h="120">
                    <a:moveTo>
                      <a:pt x="120" y="61"/>
                    </a:moveTo>
                    <a:lnTo>
                      <a:pt x="118" y="44"/>
                    </a:lnTo>
                    <a:lnTo>
                      <a:pt x="112" y="30"/>
                    </a:lnTo>
                    <a:lnTo>
                      <a:pt x="103" y="17"/>
                    </a:lnTo>
                    <a:lnTo>
                      <a:pt x="90" y="8"/>
                    </a:lnTo>
                    <a:lnTo>
                      <a:pt x="76" y="3"/>
                    </a:lnTo>
                    <a:lnTo>
                      <a:pt x="60" y="0"/>
                    </a:lnTo>
                    <a:lnTo>
                      <a:pt x="44" y="3"/>
                    </a:lnTo>
                    <a:lnTo>
                      <a:pt x="30" y="8"/>
                    </a:lnTo>
                    <a:lnTo>
                      <a:pt x="17" y="17"/>
                    </a:lnTo>
                    <a:lnTo>
                      <a:pt x="8" y="30"/>
                    </a:lnTo>
                    <a:lnTo>
                      <a:pt x="2" y="44"/>
                    </a:lnTo>
                    <a:lnTo>
                      <a:pt x="0" y="61"/>
                    </a:lnTo>
                    <a:lnTo>
                      <a:pt x="2" y="76"/>
                    </a:lnTo>
                    <a:lnTo>
                      <a:pt x="8" y="91"/>
                    </a:lnTo>
                    <a:lnTo>
                      <a:pt x="17" y="103"/>
                    </a:lnTo>
                    <a:lnTo>
                      <a:pt x="30" y="113"/>
                    </a:lnTo>
                    <a:lnTo>
                      <a:pt x="44" y="118"/>
                    </a:lnTo>
                    <a:lnTo>
                      <a:pt x="60" y="120"/>
                    </a:lnTo>
                    <a:lnTo>
                      <a:pt x="76" y="118"/>
                    </a:lnTo>
                    <a:lnTo>
                      <a:pt x="90" y="113"/>
                    </a:lnTo>
                    <a:lnTo>
                      <a:pt x="103" y="103"/>
                    </a:lnTo>
                    <a:lnTo>
                      <a:pt x="112" y="91"/>
                    </a:lnTo>
                    <a:lnTo>
                      <a:pt x="118" y="76"/>
                    </a:lnTo>
                    <a:lnTo>
                      <a:pt x="120" y="61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3" name="Freeform 85"/>
              <p:cNvSpPr>
                <a:spLocks/>
              </p:cNvSpPr>
              <p:nvPr/>
            </p:nvSpPr>
            <p:spPr bwMode="auto">
              <a:xfrm>
                <a:off x="4222" y="2906"/>
                <a:ext cx="119" cy="119"/>
              </a:xfrm>
              <a:custGeom>
                <a:avLst/>
                <a:gdLst>
                  <a:gd name="T0" fmla="*/ 119 w 119"/>
                  <a:gd name="T1" fmla="*/ 60 h 119"/>
                  <a:gd name="T2" fmla="*/ 117 w 119"/>
                  <a:gd name="T3" fmla="*/ 44 h 119"/>
                  <a:gd name="T4" fmla="*/ 111 w 119"/>
                  <a:gd name="T5" fmla="*/ 30 h 119"/>
                  <a:gd name="T6" fmla="*/ 102 w 119"/>
                  <a:gd name="T7" fmla="*/ 17 h 119"/>
                  <a:gd name="T8" fmla="*/ 90 w 119"/>
                  <a:gd name="T9" fmla="*/ 8 h 119"/>
                  <a:gd name="T10" fmla="*/ 76 w 119"/>
                  <a:gd name="T11" fmla="*/ 2 h 119"/>
                  <a:gd name="T12" fmla="*/ 60 w 119"/>
                  <a:gd name="T13" fmla="*/ 0 h 119"/>
                  <a:gd name="T14" fmla="*/ 44 w 119"/>
                  <a:gd name="T15" fmla="*/ 2 h 119"/>
                  <a:gd name="T16" fmla="*/ 30 w 119"/>
                  <a:gd name="T17" fmla="*/ 8 h 119"/>
                  <a:gd name="T18" fmla="*/ 18 w 119"/>
                  <a:gd name="T19" fmla="*/ 17 h 119"/>
                  <a:gd name="T20" fmla="*/ 8 w 119"/>
                  <a:gd name="T21" fmla="*/ 30 h 119"/>
                  <a:gd name="T22" fmla="*/ 3 w 119"/>
                  <a:gd name="T23" fmla="*/ 44 h 119"/>
                  <a:gd name="T24" fmla="*/ 0 w 119"/>
                  <a:gd name="T25" fmla="*/ 60 h 119"/>
                  <a:gd name="T26" fmla="*/ 3 w 119"/>
                  <a:gd name="T27" fmla="*/ 75 h 119"/>
                  <a:gd name="T28" fmla="*/ 8 w 119"/>
                  <a:gd name="T29" fmla="*/ 89 h 119"/>
                  <a:gd name="T30" fmla="*/ 18 w 119"/>
                  <a:gd name="T31" fmla="*/ 101 h 119"/>
                  <a:gd name="T32" fmla="*/ 30 w 119"/>
                  <a:gd name="T33" fmla="*/ 111 h 119"/>
                  <a:gd name="T34" fmla="*/ 44 w 119"/>
                  <a:gd name="T35" fmla="*/ 116 h 119"/>
                  <a:gd name="T36" fmla="*/ 60 w 119"/>
                  <a:gd name="T37" fmla="*/ 119 h 119"/>
                  <a:gd name="T38" fmla="*/ 76 w 119"/>
                  <a:gd name="T39" fmla="*/ 116 h 119"/>
                  <a:gd name="T40" fmla="*/ 90 w 119"/>
                  <a:gd name="T41" fmla="*/ 111 h 119"/>
                  <a:gd name="T42" fmla="*/ 102 w 119"/>
                  <a:gd name="T43" fmla="*/ 101 h 119"/>
                  <a:gd name="T44" fmla="*/ 111 w 119"/>
                  <a:gd name="T45" fmla="*/ 89 h 119"/>
                  <a:gd name="T46" fmla="*/ 117 w 119"/>
                  <a:gd name="T47" fmla="*/ 75 h 119"/>
                  <a:gd name="T48" fmla="*/ 119 w 119"/>
                  <a:gd name="T49" fmla="*/ 60 h 11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19"/>
                  <a:gd name="T76" fmla="*/ 0 h 119"/>
                  <a:gd name="T77" fmla="*/ 119 w 119"/>
                  <a:gd name="T78" fmla="*/ 119 h 11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19" h="119">
                    <a:moveTo>
                      <a:pt x="119" y="60"/>
                    </a:moveTo>
                    <a:lnTo>
                      <a:pt x="117" y="44"/>
                    </a:lnTo>
                    <a:lnTo>
                      <a:pt x="111" y="30"/>
                    </a:lnTo>
                    <a:lnTo>
                      <a:pt x="102" y="17"/>
                    </a:lnTo>
                    <a:lnTo>
                      <a:pt x="90" y="8"/>
                    </a:lnTo>
                    <a:lnTo>
                      <a:pt x="76" y="2"/>
                    </a:lnTo>
                    <a:lnTo>
                      <a:pt x="60" y="0"/>
                    </a:lnTo>
                    <a:lnTo>
                      <a:pt x="44" y="2"/>
                    </a:lnTo>
                    <a:lnTo>
                      <a:pt x="30" y="8"/>
                    </a:lnTo>
                    <a:lnTo>
                      <a:pt x="18" y="17"/>
                    </a:lnTo>
                    <a:lnTo>
                      <a:pt x="8" y="30"/>
                    </a:lnTo>
                    <a:lnTo>
                      <a:pt x="3" y="44"/>
                    </a:lnTo>
                    <a:lnTo>
                      <a:pt x="0" y="60"/>
                    </a:lnTo>
                    <a:lnTo>
                      <a:pt x="3" y="75"/>
                    </a:lnTo>
                    <a:lnTo>
                      <a:pt x="8" y="89"/>
                    </a:lnTo>
                    <a:lnTo>
                      <a:pt x="18" y="101"/>
                    </a:lnTo>
                    <a:lnTo>
                      <a:pt x="30" y="111"/>
                    </a:lnTo>
                    <a:lnTo>
                      <a:pt x="44" y="116"/>
                    </a:lnTo>
                    <a:lnTo>
                      <a:pt x="60" y="119"/>
                    </a:lnTo>
                    <a:lnTo>
                      <a:pt x="76" y="116"/>
                    </a:lnTo>
                    <a:lnTo>
                      <a:pt x="90" y="111"/>
                    </a:lnTo>
                    <a:lnTo>
                      <a:pt x="102" y="101"/>
                    </a:lnTo>
                    <a:lnTo>
                      <a:pt x="111" y="89"/>
                    </a:lnTo>
                    <a:lnTo>
                      <a:pt x="117" y="75"/>
                    </a:lnTo>
                    <a:lnTo>
                      <a:pt x="119" y="6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4" name="Freeform 86"/>
              <p:cNvSpPr>
                <a:spLocks/>
              </p:cNvSpPr>
              <p:nvPr/>
            </p:nvSpPr>
            <p:spPr bwMode="auto">
              <a:xfrm>
                <a:off x="4222" y="2906"/>
                <a:ext cx="119" cy="119"/>
              </a:xfrm>
              <a:custGeom>
                <a:avLst/>
                <a:gdLst>
                  <a:gd name="T0" fmla="*/ 119 w 119"/>
                  <a:gd name="T1" fmla="*/ 60 h 119"/>
                  <a:gd name="T2" fmla="*/ 117 w 119"/>
                  <a:gd name="T3" fmla="*/ 44 h 119"/>
                  <a:gd name="T4" fmla="*/ 111 w 119"/>
                  <a:gd name="T5" fmla="*/ 30 h 119"/>
                  <a:gd name="T6" fmla="*/ 102 w 119"/>
                  <a:gd name="T7" fmla="*/ 17 h 119"/>
                  <a:gd name="T8" fmla="*/ 90 w 119"/>
                  <a:gd name="T9" fmla="*/ 8 h 119"/>
                  <a:gd name="T10" fmla="*/ 76 w 119"/>
                  <a:gd name="T11" fmla="*/ 2 h 119"/>
                  <a:gd name="T12" fmla="*/ 60 w 119"/>
                  <a:gd name="T13" fmla="*/ 0 h 119"/>
                  <a:gd name="T14" fmla="*/ 44 w 119"/>
                  <a:gd name="T15" fmla="*/ 2 h 119"/>
                  <a:gd name="T16" fmla="*/ 30 w 119"/>
                  <a:gd name="T17" fmla="*/ 8 h 119"/>
                  <a:gd name="T18" fmla="*/ 18 w 119"/>
                  <a:gd name="T19" fmla="*/ 17 h 119"/>
                  <a:gd name="T20" fmla="*/ 8 w 119"/>
                  <a:gd name="T21" fmla="*/ 30 h 119"/>
                  <a:gd name="T22" fmla="*/ 3 w 119"/>
                  <a:gd name="T23" fmla="*/ 44 h 119"/>
                  <a:gd name="T24" fmla="*/ 0 w 119"/>
                  <a:gd name="T25" fmla="*/ 60 h 119"/>
                  <a:gd name="T26" fmla="*/ 3 w 119"/>
                  <a:gd name="T27" fmla="*/ 75 h 119"/>
                  <a:gd name="T28" fmla="*/ 8 w 119"/>
                  <a:gd name="T29" fmla="*/ 89 h 119"/>
                  <a:gd name="T30" fmla="*/ 18 w 119"/>
                  <a:gd name="T31" fmla="*/ 101 h 119"/>
                  <a:gd name="T32" fmla="*/ 30 w 119"/>
                  <a:gd name="T33" fmla="*/ 111 h 119"/>
                  <a:gd name="T34" fmla="*/ 44 w 119"/>
                  <a:gd name="T35" fmla="*/ 116 h 119"/>
                  <a:gd name="T36" fmla="*/ 60 w 119"/>
                  <a:gd name="T37" fmla="*/ 119 h 119"/>
                  <a:gd name="T38" fmla="*/ 76 w 119"/>
                  <a:gd name="T39" fmla="*/ 116 h 119"/>
                  <a:gd name="T40" fmla="*/ 90 w 119"/>
                  <a:gd name="T41" fmla="*/ 111 h 119"/>
                  <a:gd name="T42" fmla="*/ 102 w 119"/>
                  <a:gd name="T43" fmla="*/ 101 h 119"/>
                  <a:gd name="T44" fmla="*/ 111 w 119"/>
                  <a:gd name="T45" fmla="*/ 89 h 119"/>
                  <a:gd name="T46" fmla="*/ 117 w 119"/>
                  <a:gd name="T47" fmla="*/ 75 h 119"/>
                  <a:gd name="T48" fmla="*/ 119 w 119"/>
                  <a:gd name="T49" fmla="*/ 60 h 11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19"/>
                  <a:gd name="T76" fmla="*/ 0 h 119"/>
                  <a:gd name="T77" fmla="*/ 119 w 119"/>
                  <a:gd name="T78" fmla="*/ 119 h 11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19" h="119">
                    <a:moveTo>
                      <a:pt x="119" y="60"/>
                    </a:moveTo>
                    <a:lnTo>
                      <a:pt x="117" y="44"/>
                    </a:lnTo>
                    <a:lnTo>
                      <a:pt x="111" y="30"/>
                    </a:lnTo>
                    <a:lnTo>
                      <a:pt x="102" y="17"/>
                    </a:lnTo>
                    <a:lnTo>
                      <a:pt x="90" y="8"/>
                    </a:lnTo>
                    <a:lnTo>
                      <a:pt x="76" y="2"/>
                    </a:lnTo>
                    <a:lnTo>
                      <a:pt x="60" y="0"/>
                    </a:lnTo>
                    <a:lnTo>
                      <a:pt x="44" y="2"/>
                    </a:lnTo>
                    <a:lnTo>
                      <a:pt x="30" y="8"/>
                    </a:lnTo>
                    <a:lnTo>
                      <a:pt x="18" y="17"/>
                    </a:lnTo>
                    <a:lnTo>
                      <a:pt x="8" y="30"/>
                    </a:lnTo>
                    <a:lnTo>
                      <a:pt x="3" y="44"/>
                    </a:lnTo>
                    <a:lnTo>
                      <a:pt x="0" y="60"/>
                    </a:lnTo>
                    <a:lnTo>
                      <a:pt x="3" y="75"/>
                    </a:lnTo>
                    <a:lnTo>
                      <a:pt x="8" y="89"/>
                    </a:lnTo>
                    <a:lnTo>
                      <a:pt x="18" y="101"/>
                    </a:lnTo>
                    <a:lnTo>
                      <a:pt x="30" y="111"/>
                    </a:lnTo>
                    <a:lnTo>
                      <a:pt x="44" y="116"/>
                    </a:lnTo>
                    <a:lnTo>
                      <a:pt x="60" y="119"/>
                    </a:lnTo>
                    <a:lnTo>
                      <a:pt x="76" y="116"/>
                    </a:lnTo>
                    <a:lnTo>
                      <a:pt x="90" y="111"/>
                    </a:lnTo>
                    <a:lnTo>
                      <a:pt x="102" y="101"/>
                    </a:lnTo>
                    <a:lnTo>
                      <a:pt x="111" y="89"/>
                    </a:lnTo>
                    <a:lnTo>
                      <a:pt x="117" y="75"/>
                    </a:lnTo>
                    <a:lnTo>
                      <a:pt x="119" y="6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5" name="Freeform 87"/>
              <p:cNvSpPr>
                <a:spLocks/>
              </p:cNvSpPr>
              <p:nvPr/>
            </p:nvSpPr>
            <p:spPr bwMode="auto">
              <a:xfrm>
                <a:off x="4317" y="2893"/>
                <a:ext cx="115" cy="115"/>
              </a:xfrm>
              <a:custGeom>
                <a:avLst/>
                <a:gdLst>
                  <a:gd name="T0" fmla="*/ 115 w 115"/>
                  <a:gd name="T1" fmla="*/ 57 h 115"/>
                  <a:gd name="T2" fmla="*/ 113 w 115"/>
                  <a:gd name="T3" fmla="*/ 41 h 115"/>
                  <a:gd name="T4" fmla="*/ 107 w 115"/>
                  <a:gd name="T5" fmla="*/ 28 h 115"/>
                  <a:gd name="T6" fmla="*/ 98 w 115"/>
                  <a:gd name="T7" fmla="*/ 16 h 115"/>
                  <a:gd name="T8" fmla="*/ 86 w 115"/>
                  <a:gd name="T9" fmla="*/ 7 h 115"/>
                  <a:gd name="T10" fmla="*/ 73 w 115"/>
                  <a:gd name="T11" fmla="*/ 2 h 115"/>
                  <a:gd name="T12" fmla="*/ 57 w 115"/>
                  <a:gd name="T13" fmla="*/ 0 h 115"/>
                  <a:gd name="T14" fmla="*/ 42 w 115"/>
                  <a:gd name="T15" fmla="*/ 2 h 115"/>
                  <a:gd name="T16" fmla="*/ 28 w 115"/>
                  <a:gd name="T17" fmla="*/ 7 h 115"/>
                  <a:gd name="T18" fmla="*/ 16 w 115"/>
                  <a:gd name="T19" fmla="*/ 16 h 115"/>
                  <a:gd name="T20" fmla="*/ 8 w 115"/>
                  <a:gd name="T21" fmla="*/ 28 h 115"/>
                  <a:gd name="T22" fmla="*/ 2 w 115"/>
                  <a:gd name="T23" fmla="*/ 41 h 115"/>
                  <a:gd name="T24" fmla="*/ 0 w 115"/>
                  <a:gd name="T25" fmla="*/ 57 h 115"/>
                  <a:gd name="T26" fmla="*/ 2 w 115"/>
                  <a:gd name="T27" fmla="*/ 73 h 115"/>
                  <a:gd name="T28" fmla="*/ 8 w 115"/>
                  <a:gd name="T29" fmla="*/ 86 h 115"/>
                  <a:gd name="T30" fmla="*/ 16 w 115"/>
                  <a:gd name="T31" fmla="*/ 98 h 115"/>
                  <a:gd name="T32" fmla="*/ 28 w 115"/>
                  <a:gd name="T33" fmla="*/ 107 h 115"/>
                  <a:gd name="T34" fmla="*/ 42 w 115"/>
                  <a:gd name="T35" fmla="*/ 113 h 115"/>
                  <a:gd name="T36" fmla="*/ 57 w 115"/>
                  <a:gd name="T37" fmla="*/ 115 h 115"/>
                  <a:gd name="T38" fmla="*/ 73 w 115"/>
                  <a:gd name="T39" fmla="*/ 113 h 115"/>
                  <a:gd name="T40" fmla="*/ 86 w 115"/>
                  <a:gd name="T41" fmla="*/ 107 h 115"/>
                  <a:gd name="T42" fmla="*/ 98 w 115"/>
                  <a:gd name="T43" fmla="*/ 98 h 115"/>
                  <a:gd name="T44" fmla="*/ 107 w 115"/>
                  <a:gd name="T45" fmla="*/ 86 h 115"/>
                  <a:gd name="T46" fmla="*/ 113 w 115"/>
                  <a:gd name="T47" fmla="*/ 73 h 115"/>
                  <a:gd name="T48" fmla="*/ 115 w 115"/>
                  <a:gd name="T49" fmla="*/ 57 h 11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15"/>
                  <a:gd name="T76" fmla="*/ 0 h 115"/>
                  <a:gd name="T77" fmla="*/ 115 w 115"/>
                  <a:gd name="T78" fmla="*/ 115 h 11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15" h="115">
                    <a:moveTo>
                      <a:pt x="115" y="57"/>
                    </a:moveTo>
                    <a:lnTo>
                      <a:pt x="113" y="41"/>
                    </a:lnTo>
                    <a:lnTo>
                      <a:pt x="107" y="28"/>
                    </a:lnTo>
                    <a:lnTo>
                      <a:pt x="98" y="16"/>
                    </a:lnTo>
                    <a:lnTo>
                      <a:pt x="86" y="7"/>
                    </a:lnTo>
                    <a:lnTo>
                      <a:pt x="73" y="2"/>
                    </a:lnTo>
                    <a:lnTo>
                      <a:pt x="57" y="0"/>
                    </a:lnTo>
                    <a:lnTo>
                      <a:pt x="42" y="2"/>
                    </a:lnTo>
                    <a:lnTo>
                      <a:pt x="28" y="7"/>
                    </a:lnTo>
                    <a:lnTo>
                      <a:pt x="16" y="16"/>
                    </a:lnTo>
                    <a:lnTo>
                      <a:pt x="8" y="28"/>
                    </a:lnTo>
                    <a:lnTo>
                      <a:pt x="2" y="41"/>
                    </a:lnTo>
                    <a:lnTo>
                      <a:pt x="0" y="57"/>
                    </a:lnTo>
                    <a:lnTo>
                      <a:pt x="2" y="73"/>
                    </a:lnTo>
                    <a:lnTo>
                      <a:pt x="8" y="86"/>
                    </a:lnTo>
                    <a:lnTo>
                      <a:pt x="16" y="98"/>
                    </a:lnTo>
                    <a:lnTo>
                      <a:pt x="28" y="107"/>
                    </a:lnTo>
                    <a:lnTo>
                      <a:pt x="42" y="113"/>
                    </a:lnTo>
                    <a:lnTo>
                      <a:pt x="57" y="115"/>
                    </a:lnTo>
                    <a:lnTo>
                      <a:pt x="73" y="113"/>
                    </a:lnTo>
                    <a:lnTo>
                      <a:pt x="86" y="107"/>
                    </a:lnTo>
                    <a:lnTo>
                      <a:pt x="98" y="98"/>
                    </a:lnTo>
                    <a:lnTo>
                      <a:pt x="107" y="86"/>
                    </a:lnTo>
                    <a:lnTo>
                      <a:pt x="113" y="73"/>
                    </a:lnTo>
                    <a:lnTo>
                      <a:pt x="115" y="5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6" name="Freeform 88"/>
              <p:cNvSpPr>
                <a:spLocks/>
              </p:cNvSpPr>
              <p:nvPr/>
            </p:nvSpPr>
            <p:spPr bwMode="auto">
              <a:xfrm>
                <a:off x="4317" y="2893"/>
                <a:ext cx="115" cy="115"/>
              </a:xfrm>
              <a:custGeom>
                <a:avLst/>
                <a:gdLst>
                  <a:gd name="T0" fmla="*/ 115 w 115"/>
                  <a:gd name="T1" fmla="*/ 57 h 115"/>
                  <a:gd name="T2" fmla="*/ 113 w 115"/>
                  <a:gd name="T3" fmla="*/ 41 h 115"/>
                  <a:gd name="T4" fmla="*/ 107 w 115"/>
                  <a:gd name="T5" fmla="*/ 28 h 115"/>
                  <a:gd name="T6" fmla="*/ 98 w 115"/>
                  <a:gd name="T7" fmla="*/ 16 h 115"/>
                  <a:gd name="T8" fmla="*/ 86 w 115"/>
                  <a:gd name="T9" fmla="*/ 7 h 115"/>
                  <a:gd name="T10" fmla="*/ 73 w 115"/>
                  <a:gd name="T11" fmla="*/ 2 h 115"/>
                  <a:gd name="T12" fmla="*/ 57 w 115"/>
                  <a:gd name="T13" fmla="*/ 0 h 115"/>
                  <a:gd name="T14" fmla="*/ 42 w 115"/>
                  <a:gd name="T15" fmla="*/ 2 h 115"/>
                  <a:gd name="T16" fmla="*/ 28 w 115"/>
                  <a:gd name="T17" fmla="*/ 7 h 115"/>
                  <a:gd name="T18" fmla="*/ 16 w 115"/>
                  <a:gd name="T19" fmla="*/ 16 h 115"/>
                  <a:gd name="T20" fmla="*/ 8 w 115"/>
                  <a:gd name="T21" fmla="*/ 28 h 115"/>
                  <a:gd name="T22" fmla="*/ 2 w 115"/>
                  <a:gd name="T23" fmla="*/ 41 h 115"/>
                  <a:gd name="T24" fmla="*/ 0 w 115"/>
                  <a:gd name="T25" fmla="*/ 57 h 115"/>
                  <a:gd name="T26" fmla="*/ 2 w 115"/>
                  <a:gd name="T27" fmla="*/ 73 h 115"/>
                  <a:gd name="T28" fmla="*/ 8 w 115"/>
                  <a:gd name="T29" fmla="*/ 86 h 115"/>
                  <a:gd name="T30" fmla="*/ 16 w 115"/>
                  <a:gd name="T31" fmla="*/ 98 h 115"/>
                  <a:gd name="T32" fmla="*/ 28 w 115"/>
                  <a:gd name="T33" fmla="*/ 107 h 115"/>
                  <a:gd name="T34" fmla="*/ 42 w 115"/>
                  <a:gd name="T35" fmla="*/ 113 h 115"/>
                  <a:gd name="T36" fmla="*/ 57 w 115"/>
                  <a:gd name="T37" fmla="*/ 115 h 115"/>
                  <a:gd name="T38" fmla="*/ 73 w 115"/>
                  <a:gd name="T39" fmla="*/ 113 h 115"/>
                  <a:gd name="T40" fmla="*/ 86 w 115"/>
                  <a:gd name="T41" fmla="*/ 107 h 115"/>
                  <a:gd name="T42" fmla="*/ 98 w 115"/>
                  <a:gd name="T43" fmla="*/ 98 h 115"/>
                  <a:gd name="T44" fmla="*/ 107 w 115"/>
                  <a:gd name="T45" fmla="*/ 86 h 115"/>
                  <a:gd name="T46" fmla="*/ 113 w 115"/>
                  <a:gd name="T47" fmla="*/ 73 h 115"/>
                  <a:gd name="T48" fmla="*/ 115 w 115"/>
                  <a:gd name="T49" fmla="*/ 57 h 115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15"/>
                  <a:gd name="T76" fmla="*/ 0 h 115"/>
                  <a:gd name="T77" fmla="*/ 115 w 115"/>
                  <a:gd name="T78" fmla="*/ 115 h 115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15" h="115">
                    <a:moveTo>
                      <a:pt x="115" y="57"/>
                    </a:moveTo>
                    <a:lnTo>
                      <a:pt x="113" y="41"/>
                    </a:lnTo>
                    <a:lnTo>
                      <a:pt x="107" y="28"/>
                    </a:lnTo>
                    <a:lnTo>
                      <a:pt x="98" y="16"/>
                    </a:lnTo>
                    <a:lnTo>
                      <a:pt x="86" y="7"/>
                    </a:lnTo>
                    <a:lnTo>
                      <a:pt x="73" y="2"/>
                    </a:lnTo>
                    <a:lnTo>
                      <a:pt x="57" y="0"/>
                    </a:lnTo>
                    <a:lnTo>
                      <a:pt x="42" y="2"/>
                    </a:lnTo>
                    <a:lnTo>
                      <a:pt x="28" y="7"/>
                    </a:lnTo>
                    <a:lnTo>
                      <a:pt x="16" y="16"/>
                    </a:lnTo>
                    <a:lnTo>
                      <a:pt x="8" y="28"/>
                    </a:lnTo>
                    <a:lnTo>
                      <a:pt x="2" y="41"/>
                    </a:lnTo>
                    <a:lnTo>
                      <a:pt x="0" y="57"/>
                    </a:lnTo>
                    <a:lnTo>
                      <a:pt x="2" y="73"/>
                    </a:lnTo>
                    <a:lnTo>
                      <a:pt x="8" y="86"/>
                    </a:lnTo>
                    <a:lnTo>
                      <a:pt x="16" y="98"/>
                    </a:lnTo>
                    <a:lnTo>
                      <a:pt x="28" y="107"/>
                    </a:lnTo>
                    <a:lnTo>
                      <a:pt x="42" y="113"/>
                    </a:lnTo>
                    <a:lnTo>
                      <a:pt x="57" y="115"/>
                    </a:lnTo>
                    <a:lnTo>
                      <a:pt x="73" y="113"/>
                    </a:lnTo>
                    <a:lnTo>
                      <a:pt x="86" y="107"/>
                    </a:lnTo>
                    <a:lnTo>
                      <a:pt x="98" y="98"/>
                    </a:lnTo>
                    <a:lnTo>
                      <a:pt x="107" y="86"/>
                    </a:lnTo>
                    <a:lnTo>
                      <a:pt x="113" y="73"/>
                    </a:lnTo>
                    <a:lnTo>
                      <a:pt x="115" y="5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7" name="Freeform 89"/>
              <p:cNvSpPr>
                <a:spLocks/>
              </p:cNvSpPr>
              <p:nvPr/>
            </p:nvSpPr>
            <p:spPr bwMode="auto">
              <a:xfrm>
                <a:off x="4871" y="1180"/>
                <a:ext cx="98" cy="97"/>
              </a:xfrm>
              <a:custGeom>
                <a:avLst/>
                <a:gdLst>
                  <a:gd name="T0" fmla="*/ 98 w 98"/>
                  <a:gd name="T1" fmla="*/ 48 h 97"/>
                  <a:gd name="T2" fmla="*/ 96 w 98"/>
                  <a:gd name="T3" fmla="*/ 36 h 97"/>
                  <a:gd name="T4" fmla="*/ 91 w 98"/>
                  <a:gd name="T5" fmla="*/ 24 h 97"/>
                  <a:gd name="T6" fmla="*/ 84 w 98"/>
                  <a:gd name="T7" fmla="*/ 14 h 97"/>
                  <a:gd name="T8" fmla="*/ 73 w 98"/>
                  <a:gd name="T9" fmla="*/ 7 h 97"/>
                  <a:gd name="T10" fmla="*/ 62 w 98"/>
                  <a:gd name="T11" fmla="*/ 1 h 97"/>
                  <a:gd name="T12" fmla="*/ 49 w 98"/>
                  <a:gd name="T13" fmla="*/ 0 h 97"/>
                  <a:gd name="T14" fmla="*/ 36 w 98"/>
                  <a:gd name="T15" fmla="*/ 1 h 97"/>
                  <a:gd name="T16" fmla="*/ 24 w 98"/>
                  <a:gd name="T17" fmla="*/ 7 h 97"/>
                  <a:gd name="T18" fmla="*/ 14 w 98"/>
                  <a:gd name="T19" fmla="*/ 14 h 97"/>
                  <a:gd name="T20" fmla="*/ 7 w 98"/>
                  <a:gd name="T21" fmla="*/ 24 h 97"/>
                  <a:gd name="T22" fmla="*/ 1 w 98"/>
                  <a:gd name="T23" fmla="*/ 36 h 97"/>
                  <a:gd name="T24" fmla="*/ 0 w 98"/>
                  <a:gd name="T25" fmla="*/ 48 h 97"/>
                  <a:gd name="T26" fmla="*/ 1 w 98"/>
                  <a:gd name="T27" fmla="*/ 61 h 97"/>
                  <a:gd name="T28" fmla="*/ 7 w 98"/>
                  <a:gd name="T29" fmla="*/ 73 h 97"/>
                  <a:gd name="T30" fmla="*/ 14 w 98"/>
                  <a:gd name="T31" fmla="*/ 83 h 97"/>
                  <a:gd name="T32" fmla="*/ 24 w 98"/>
                  <a:gd name="T33" fmla="*/ 90 h 97"/>
                  <a:gd name="T34" fmla="*/ 36 w 98"/>
                  <a:gd name="T35" fmla="*/ 96 h 97"/>
                  <a:gd name="T36" fmla="*/ 49 w 98"/>
                  <a:gd name="T37" fmla="*/ 97 h 97"/>
                  <a:gd name="T38" fmla="*/ 62 w 98"/>
                  <a:gd name="T39" fmla="*/ 96 h 97"/>
                  <a:gd name="T40" fmla="*/ 73 w 98"/>
                  <a:gd name="T41" fmla="*/ 90 h 97"/>
                  <a:gd name="T42" fmla="*/ 84 w 98"/>
                  <a:gd name="T43" fmla="*/ 83 h 97"/>
                  <a:gd name="T44" fmla="*/ 91 w 98"/>
                  <a:gd name="T45" fmla="*/ 73 h 97"/>
                  <a:gd name="T46" fmla="*/ 96 w 98"/>
                  <a:gd name="T47" fmla="*/ 61 h 97"/>
                  <a:gd name="T48" fmla="*/ 98 w 98"/>
                  <a:gd name="T49" fmla="*/ 48 h 9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98"/>
                  <a:gd name="T76" fmla="*/ 0 h 97"/>
                  <a:gd name="T77" fmla="*/ 98 w 98"/>
                  <a:gd name="T78" fmla="*/ 97 h 9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98" h="97">
                    <a:moveTo>
                      <a:pt x="98" y="48"/>
                    </a:moveTo>
                    <a:lnTo>
                      <a:pt x="96" y="36"/>
                    </a:lnTo>
                    <a:lnTo>
                      <a:pt x="91" y="24"/>
                    </a:lnTo>
                    <a:lnTo>
                      <a:pt x="84" y="14"/>
                    </a:lnTo>
                    <a:lnTo>
                      <a:pt x="73" y="7"/>
                    </a:lnTo>
                    <a:lnTo>
                      <a:pt x="62" y="1"/>
                    </a:lnTo>
                    <a:lnTo>
                      <a:pt x="49" y="0"/>
                    </a:lnTo>
                    <a:lnTo>
                      <a:pt x="36" y="1"/>
                    </a:lnTo>
                    <a:lnTo>
                      <a:pt x="24" y="7"/>
                    </a:lnTo>
                    <a:lnTo>
                      <a:pt x="14" y="14"/>
                    </a:lnTo>
                    <a:lnTo>
                      <a:pt x="7" y="24"/>
                    </a:lnTo>
                    <a:lnTo>
                      <a:pt x="1" y="36"/>
                    </a:lnTo>
                    <a:lnTo>
                      <a:pt x="0" y="48"/>
                    </a:lnTo>
                    <a:lnTo>
                      <a:pt x="1" y="61"/>
                    </a:lnTo>
                    <a:lnTo>
                      <a:pt x="7" y="73"/>
                    </a:lnTo>
                    <a:lnTo>
                      <a:pt x="14" y="83"/>
                    </a:lnTo>
                    <a:lnTo>
                      <a:pt x="24" y="90"/>
                    </a:lnTo>
                    <a:lnTo>
                      <a:pt x="36" y="96"/>
                    </a:lnTo>
                    <a:lnTo>
                      <a:pt x="49" y="97"/>
                    </a:lnTo>
                    <a:lnTo>
                      <a:pt x="62" y="96"/>
                    </a:lnTo>
                    <a:lnTo>
                      <a:pt x="73" y="90"/>
                    </a:lnTo>
                    <a:lnTo>
                      <a:pt x="84" y="83"/>
                    </a:lnTo>
                    <a:lnTo>
                      <a:pt x="91" y="73"/>
                    </a:lnTo>
                    <a:lnTo>
                      <a:pt x="96" y="61"/>
                    </a:lnTo>
                    <a:lnTo>
                      <a:pt x="98" y="4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8" name="Freeform 90"/>
              <p:cNvSpPr>
                <a:spLocks/>
              </p:cNvSpPr>
              <p:nvPr/>
            </p:nvSpPr>
            <p:spPr bwMode="auto">
              <a:xfrm>
                <a:off x="4871" y="1180"/>
                <a:ext cx="98" cy="97"/>
              </a:xfrm>
              <a:custGeom>
                <a:avLst/>
                <a:gdLst>
                  <a:gd name="T0" fmla="*/ 98 w 98"/>
                  <a:gd name="T1" fmla="*/ 48 h 97"/>
                  <a:gd name="T2" fmla="*/ 96 w 98"/>
                  <a:gd name="T3" fmla="*/ 36 h 97"/>
                  <a:gd name="T4" fmla="*/ 91 w 98"/>
                  <a:gd name="T5" fmla="*/ 24 h 97"/>
                  <a:gd name="T6" fmla="*/ 84 w 98"/>
                  <a:gd name="T7" fmla="*/ 14 h 97"/>
                  <a:gd name="T8" fmla="*/ 73 w 98"/>
                  <a:gd name="T9" fmla="*/ 7 h 97"/>
                  <a:gd name="T10" fmla="*/ 62 w 98"/>
                  <a:gd name="T11" fmla="*/ 1 h 97"/>
                  <a:gd name="T12" fmla="*/ 49 w 98"/>
                  <a:gd name="T13" fmla="*/ 0 h 97"/>
                  <a:gd name="T14" fmla="*/ 36 w 98"/>
                  <a:gd name="T15" fmla="*/ 1 h 97"/>
                  <a:gd name="T16" fmla="*/ 24 w 98"/>
                  <a:gd name="T17" fmla="*/ 7 h 97"/>
                  <a:gd name="T18" fmla="*/ 14 w 98"/>
                  <a:gd name="T19" fmla="*/ 14 h 97"/>
                  <a:gd name="T20" fmla="*/ 7 w 98"/>
                  <a:gd name="T21" fmla="*/ 24 h 97"/>
                  <a:gd name="T22" fmla="*/ 1 w 98"/>
                  <a:gd name="T23" fmla="*/ 36 h 97"/>
                  <a:gd name="T24" fmla="*/ 0 w 98"/>
                  <a:gd name="T25" fmla="*/ 48 h 97"/>
                  <a:gd name="T26" fmla="*/ 1 w 98"/>
                  <a:gd name="T27" fmla="*/ 61 h 97"/>
                  <a:gd name="T28" fmla="*/ 7 w 98"/>
                  <a:gd name="T29" fmla="*/ 73 h 97"/>
                  <a:gd name="T30" fmla="*/ 14 w 98"/>
                  <a:gd name="T31" fmla="*/ 83 h 97"/>
                  <a:gd name="T32" fmla="*/ 24 w 98"/>
                  <a:gd name="T33" fmla="*/ 90 h 97"/>
                  <a:gd name="T34" fmla="*/ 36 w 98"/>
                  <a:gd name="T35" fmla="*/ 96 h 97"/>
                  <a:gd name="T36" fmla="*/ 49 w 98"/>
                  <a:gd name="T37" fmla="*/ 97 h 97"/>
                  <a:gd name="T38" fmla="*/ 62 w 98"/>
                  <a:gd name="T39" fmla="*/ 96 h 97"/>
                  <a:gd name="T40" fmla="*/ 73 w 98"/>
                  <a:gd name="T41" fmla="*/ 90 h 97"/>
                  <a:gd name="T42" fmla="*/ 84 w 98"/>
                  <a:gd name="T43" fmla="*/ 83 h 97"/>
                  <a:gd name="T44" fmla="*/ 91 w 98"/>
                  <a:gd name="T45" fmla="*/ 73 h 97"/>
                  <a:gd name="T46" fmla="*/ 96 w 98"/>
                  <a:gd name="T47" fmla="*/ 61 h 97"/>
                  <a:gd name="T48" fmla="*/ 98 w 98"/>
                  <a:gd name="T49" fmla="*/ 48 h 9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98"/>
                  <a:gd name="T76" fmla="*/ 0 h 97"/>
                  <a:gd name="T77" fmla="*/ 98 w 98"/>
                  <a:gd name="T78" fmla="*/ 97 h 9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98" h="97">
                    <a:moveTo>
                      <a:pt x="98" y="48"/>
                    </a:moveTo>
                    <a:lnTo>
                      <a:pt x="96" y="36"/>
                    </a:lnTo>
                    <a:lnTo>
                      <a:pt x="91" y="24"/>
                    </a:lnTo>
                    <a:lnTo>
                      <a:pt x="84" y="14"/>
                    </a:lnTo>
                    <a:lnTo>
                      <a:pt x="73" y="7"/>
                    </a:lnTo>
                    <a:lnTo>
                      <a:pt x="62" y="1"/>
                    </a:lnTo>
                    <a:lnTo>
                      <a:pt x="49" y="0"/>
                    </a:lnTo>
                    <a:lnTo>
                      <a:pt x="36" y="1"/>
                    </a:lnTo>
                    <a:lnTo>
                      <a:pt x="24" y="7"/>
                    </a:lnTo>
                    <a:lnTo>
                      <a:pt x="14" y="14"/>
                    </a:lnTo>
                    <a:lnTo>
                      <a:pt x="7" y="24"/>
                    </a:lnTo>
                    <a:lnTo>
                      <a:pt x="1" y="36"/>
                    </a:lnTo>
                    <a:lnTo>
                      <a:pt x="0" y="48"/>
                    </a:lnTo>
                    <a:lnTo>
                      <a:pt x="1" y="61"/>
                    </a:lnTo>
                    <a:lnTo>
                      <a:pt x="7" y="73"/>
                    </a:lnTo>
                    <a:lnTo>
                      <a:pt x="14" y="83"/>
                    </a:lnTo>
                    <a:lnTo>
                      <a:pt x="24" y="90"/>
                    </a:lnTo>
                    <a:lnTo>
                      <a:pt x="36" y="96"/>
                    </a:lnTo>
                    <a:lnTo>
                      <a:pt x="49" y="97"/>
                    </a:lnTo>
                    <a:lnTo>
                      <a:pt x="62" y="96"/>
                    </a:lnTo>
                    <a:lnTo>
                      <a:pt x="73" y="90"/>
                    </a:lnTo>
                    <a:lnTo>
                      <a:pt x="84" y="83"/>
                    </a:lnTo>
                    <a:lnTo>
                      <a:pt x="91" y="73"/>
                    </a:lnTo>
                    <a:lnTo>
                      <a:pt x="96" y="61"/>
                    </a:lnTo>
                    <a:lnTo>
                      <a:pt x="98" y="4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39" name="Freeform 91"/>
              <p:cNvSpPr>
                <a:spLocks/>
              </p:cNvSpPr>
              <p:nvPr/>
            </p:nvSpPr>
            <p:spPr bwMode="auto">
              <a:xfrm>
                <a:off x="3467" y="2180"/>
                <a:ext cx="98" cy="97"/>
              </a:xfrm>
              <a:custGeom>
                <a:avLst/>
                <a:gdLst>
                  <a:gd name="T0" fmla="*/ 98 w 98"/>
                  <a:gd name="T1" fmla="*/ 48 h 97"/>
                  <a:gd name="T2" fmla="*/ 96 w 98"/>
                  <a:gd name="T3" fmla="*/ 35 h 97"/>
                  <a:gd name="T4" fmla="*/ 91 w 98"/>
                  <a:gd name="T5" fmla="*/ 23 h 97"/>
                  <a:gd name="T6" fmla="*/ 84 w 98"/>
                  <a:gd name="T7" fmla="*/ 14 h 97"/>
                  <a:gd name="T8" fmla="*/ 73 w 98"/>
                  <a:gd name="T9" fmla="*/ 6 h 97"/>
                  <a:gd name="T10" fmla="*/ 62 w 98"/>
                  <a:gd name="T11" fmla="*/ 1 h 97"/>
                  <a:gd name="T12" fmla="*/ 49 w 98"/>
                  <a:gd name="T13" fmla="*/ 0 h 97"/>
                  <a:gd name="T14" fmla="*/ 36 w 98"/>
                  <a:gd name="T15" fmla="*/ 1 h 97"/>
                  <a:gd name="T16" fmla="*/ 25 w 98"/>
                  <a:gd name="T17" fmla="*/ 6 h 97"/>
                  <a:gd name="T18" fmla="*/ 14 w 98"/>
                  <a:gd name="T19" fmla="*/ 14 h 97"/>
                  <a:gd name="T20" fmla="*/ 7 w 98"/>
                  <a:gd name="T21" fmla="*/ 23 h 97"/>
                  <a:gd name="T22" fmla="*/ 2 w 98"/>
                  <a:gd name="T23" fmla="*/ 35 h 97"/>
                  <a:gd name="T24" fmla="*/ 0 w 98"/>
                  <a:gd name="T25" fmla="*/ 48 h 97"/>
                  <a:gd name="T26" fmla="*/ 2 w 98"/>
                  <a:gd name="T27" fmla="*/ 61 h 97"/>
                  <a:gd name="T28" fmla="*/ 7 w 98"/>
                  <a:gd name="T29" fmla="*/ 73 h 97"/>
                  <a:gd name="T30" fmla="*/ 14 w 98"/>
                  <a:gd name="T31" fmla="*/ 82 h 97"/>
                  <a:gd name="T32" fmla="*/ 25 w 98"/>
                  <a:gd name="T33" fmla="*/ 90 h 97"/>
                  <a:gd name="T34" fmla="*/ 36 w 98"/>
                  <a:gd name="T35" fmla="*/ 95 h 97"/>
                  <a:gd name="T36" fmla="*/ 49 w 98"/>
                  <a:gd name="T37" fmla="*/ 97 h 97"/>
                  <a:gd name="T38" fmla="*/ 62 w 98"/>
                  <a:gd name="T39" fmla="*/ 95 h 97"/>
                  <a:gd name="T40" fmla="*/ 73 w 98"/>
                  <a:gd name="T41" fmla="*/ 90 h 97"/>
                  <a:gd name="T42" fmla="*/ 84 w 98"/>
                  <a:gd name="T43" fmla="*/ 82 h 97"/>
                  <a:gd name="T44" fmla="*/ 91 w 98"/>
                  <a:gd name="T45" fmla="*/ 73 h 97"/>
                  <a:gd name="T46" fmla="*/ 96 w 98"/>
                  <a:gd name="T47" fmla="*/ 61 h 97"/>
                  <a:gd name="T48" fmla="*/ 98 w 98"/>
                  <a:gd name="T49" fmla="*/ 48 h 9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98"/>
                  <a:gd name="T76" fmla="*/ 0 h 97"/>
                  <a:gd name="T77" fmla="*/ 98 w 98"/>
                  <a:gd name="T78" fmla="*/ 97 h 9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98" h="97">
                    <a:moveTo>
                      <a:pt x="98" y="48"/>
                    </a:moveTo>
                    <a:lnTo>
                      <a:pt x="96" y="35"/>
                    </a:lnTo>
                    <a:lnTo>
                      <a:pt x="91" y="23"/>
                    </a:lnTo>
                    <a:lnTo>
                      <a:pt x="84" y="14"/>
                    </a:lnTo>
                    <a:lnTo>
                      <a:pt x="73" y="6"/>
                    </a:lnTo>
                    <a:lnTo>
                      <a:pt x="62" y="1"/>
                    </a:lnTo>
                    <a:lnTo>
                      <a:pt x="49" y="0"/>
                    </a:lnTo>
                    <a:lnTo>
                      <a:pt x="36" y="1"/>
                    </a:lnTo>
                    <a:lnTo>
                      <a:pt x="25" y="6"/>
                    </a:lnTo>
                    <a:lnTo>
                      <a:pt x="14" y="14"/>
                    </a:lnTo>
                    <a:lnTo>
                      <a:pt x="7" y="23"/>
                    </a:lnTo>
                    <a:lnTo>
                      <a:pt x="2" y="35"/>
                    </a:lnTo>
                    <a:lnTo>
                      <a:pt x="0" y="48"/>
                    </a:lnTo>
                    <a:lnTo>
                      <a:pt x="2" y="61"/>
                    </a:lnTo>
                    <a:lnTo>
                      <a:pt x="7" y="73"/>
                    </a:lnTo>
                    <a:lnTo>
                      <a:pt x="14" y="82"/>
                    </a:lnTo>
                    <a:lnTo>
                      <a:pt x="25" y="90"/>
                    </a:lnTo>
                    <a:lnTo>
                      <a:pt x="36" y="95"/>
                    </a:lnTo>
                    <a:lnTo>
                      <a:pt x="49" y="97"/>
                    </a:lnTo>
                    <a:lnTo>
                      <a:pt x="62" y="95"/>
                    </a:lnTo>
                    <a:lnTo>
                      <a:pt x="73" y="90"/>
                    </a:lnTo>
                    <a:lnTo>
                      <a:pt x="84" y="82"/>
                    </a:lnTo>
                    <a:lnTo>
                      <a:pt x="91" y="73"/>
                    </a:lnTo>
                    <a:lnTo>
                      <a:pt x="96" y="61"/>
                    </a:lnTo>
                    <a:lnTo>
                      <a:pt x="98" y="4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0" name="Freeform 92"/>
              <p:cNvSpPr>
                <a:spLocks/>
              </p:cNvSpPr>
              <p:nvPr/>
            </p:nvSpPr>
            <p:spPr bwMode="auto">
              <a:xfrm>
                <a:off x="3467" y="2180"/>
                <a:ext cx="98" cy="97"/>
              </a:xfrm>
              <a:custGeom>
                <a:avLst/>
                <a:gdLst>
                  <a:gd name="T0" fmla="*/ 98 w 98"/>
                  <a:gd name="T1" fmla="*/ 48 h 97"/>
                  <a:gd name="T2" fmla="*/ 96 w 98"/>
                  <a:gd name="T3" fmla="*/ 35 h 97"/>
                  <a:gd name="T4" fmla="*/ 91 w 98"/>
                  <a:gd name="T5" fmla="*/ 23 h 97"/>
                  <a:gd name="T6" fmla="*/ 84 w 98"/>
                  <a:gd name="T7" fmla="*/ 14 h 97"/>
                  <a:gd name="T8" fmla="*/ 73 w 98"/>
                  <a:gd name="T9" fmla="*/ 6 h 97"/>
                  <a:gd name="T10" fmla="*/ 62 w 98"/>
                  <a:gd name="T11" fmla="*/ 1 h 97"/>
                  <a:gd name="T12" fmla="*/ 49 w 98"/>
                  <a:gd name="T13" fmla="*/ 0 h 97"/>
                  <a:gd name="T14" fmla="*/ 36 w 98"/>
                  <a:gd name="T15" fmla="*/ 1 h 97"/>
                  <a:gd name="T16" fmla="*/ 25 w 98"/>
                  <a:gd name="T17" fmla="*/ 6 h 97"/>
                  <a:gd name="T18" fmla="*/ 14 w 98"/>
                  <a:gd name="T19" fmla="*/ 14 h 97"/>
                  <a:gd name="T20" fmla="*/ 7 w 98"/>
                  <a:gd name="T21" fmla="*/ 23 h 97"/>
                  <a:gd name="T22" fmla="*/ 2 w 98"/>
                  <a:gd name="T23" fmla="*/ 35 h 97"/>
                  <a:gd name="T24" fmla="*/ 0 w 98"/>
                  <a:gd name="T25" fmla="*/ 48 h 97"/>
                  <a:gd name="T26" fmla="*/ 2 w 98"/>
                  <a:gd name="T27" fmla="*/ 61 h 97"/>
                  <a:gd name="T28" fmla="*/ 7 w 98"/>
                  <a:gd name="T29" fmla="*/ 73 h 97"/>
                  <a:gd name="T30" fmla="*/ 14 w 98"/>
                  <a:gd name="T31" fmla="*/ 82 h 97"/>
                  <a:gd name="T32" fmla="*/ 25 w 98"/>
                  <a:gd name="T33" fmla="*/ 90 h 97"/>
                  <a:gd name="T34" fmla="*/ 36 w 98"/>
                  <a:gd name="T35" fmla="*/ 95 h 97"/>
                  <a:gd name="T36" fmla="*/ 49 w 98"/>
                  <a:gd name="T37" fmla="*/ 97 h 97"/>
                  <a:gd name="T38" fmla="*/ 62 w 98"/>
                  <a:gd name="T39" fmla="*/ 95 h 97"/>
                  <a:gd name="T40" fmla="*/ 73 w 98"/>
                  <a:gd name="T41" fmla="*/ 90 h 97"/>
                  <a:gd name="T42" fmla="*/ 84 w 98"/>
                  <a:gd name="T43" fmla="*/ 82 h 97"/>
                  <a:gd name="T44" fmla="*/ 91 w 98"/>
                  <a:gd name="T45" fmla="*/ 73 h 97"/>
                  <a:gd name="T46" fmla="*/ 96 w 98"/>
                  <a:gd name="T47" fmla="*/ 61 h 97"/>
                  <a:gd name="T48" fmla="*/ 98 w 98"/>
                  <a:gd name="T49" fmla="*/ 48 h 9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98"/>
                  <a:gd name="T76" fmla="*/ 0 h 97"/>
                  <a:gd name="T77" fmla="*/ 98 w 98"/>
                  <a:gd name="T78" fmla="*/ 97 h 9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98" h="97">
                    <a:moveTo>
                      <a:pt x="98" y="48"/>
                    </a:moveTo>
                    <a:lnTo>
                      <a:pt x="96" y="35"/>
                    </a:lnTo>
                    <a:lnTo>
                      <a:pt x="91" y="23"/>
                    </a:lnTo>
                    <a:lnTo>
                      <a:pt x="84" y="14"/>
                    </a:lnTo>
                    <a:lnTo>
                      <a:pt x="73" y="6"/>
                    </a:lnTo>
                    <a:lnTo>
                      <a:pt x="62" y="1"/>
                    </a:lnTo>
                    <a:lnTo>
                      <a:pt x="49" y="0"/>
                    </a:lnTo>
                    <a:lnTo>
                      <a:pt x="36" y="1"/>
                    </a:lnTo>
                    <a:lnTo>
                      <a:pt x="25" y="6"/>
                    </a:lnTo>
                    <a:lnTo>
                      <a:pt x="14" y="14"/>
                    </a:lnTo>
                    <a:lnTo>
                      <a:pt x="7" y="23"/>
                    </a:lnTo>
                    <a:lnTo>
                      <a:pt x="2" y="35"/>
                    </a:lnTo>
                    <a:lnTo>
                      <a:pt x="0" y="48"/>
                    </a:lnTo>
                    <a:lnTo>
                      <a:pt x="2" y="61"/>
                    </a:lnTo>
                    <a:lnTo>
                      <a:pt x="7" y="73"/>
                    </a:lnTo>
                    <a:lnTo>
                      <a:pt x="14" y="82"/>
                    </a:lnTo>
                    <a:lnTo>
                      <a:pt x="25" y="90"/>
                    </a:lnTo>
                    <a:lnTo>
                      <a:pt x="36" y="95"/>
                    </a:lnTo>
                    <a:lnTo>
                      <a:pt x="49" y="97"/>
                    </a:lnTo>
                    <a:lnTo>
                      <a:pt x="62" y="95"/>
                    </a:lnTo>
                    <a:lnTo>
                      <a:pt x="73" y="90"/>
                    </a:lnTo>
                    <a:lnTo>
                      <a:pt x="84" y="82"/>
                    </a:lnTo>
                    <a:lnTo>
                      <a:pt x="91" y="73"/>
                    </a:lnTo>
                    <a:lnTo>
                      <a:pt x="96" y="61"/>
                    </a:lnTo>
                    <a:lnTo>
                      <a:pt x="98" y="4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1" name="Freeform 93"/>
              <p:cNvSpPr>
                <a:spLocks/>
              </p:cNvSpPr>
              <p:nvPr/>
            </p:nvSpPr>
            <p:spPr bwMode="auto">
              <a:xfrm>
                <a:off x="4907" y="2776"/>
                <a:ext cx="96" cy="97"/>
              </a:xfrm>
              <a:custGeom>
                <a:avLst/>
                <a:gdLst>
                  <a:gd name="T0" fmla="*/ 96 w 96"/>
                  <a:gd name="T1" fmla="*/ 48 h 97"/>
                  <a:gd name="T2" fmla="*/ 95 w 96"/>
                  <a:gd name="T3" fmla="*/ 36 h 97"/>
                  <a:gd name="T4" fmla="*/ 90 w 96"/>
                  <a:gd name="T5" fmla="*/ 24 h 97"/>
                  <a:gd name="T6" fmla="*/ 82 w 96"/>
                  <a:gd name="T7" fmla="*/ 14 h 97"/>
                  <a:gd name="T8" fmla="*/ 73 w 96"/>
                  <a:gd name="T9" fmla="*/ 7 h 97"/>
                  <a:gd name="T10" fmla="*/ 61 w 96"/>
                  <a:gd name="T11" fmla="*/ 2 h 97"/>
                  <a:gd name="T12" fmla="*/ 48 w 96"/>
                  <a:gd name="T13" fmla="*/ 0 h 97"/>
                  <a:gd name="T14" fmla="*/ 36 w 96"/>
                  <a:gd name="T15" fmla="*/ 2 h 97"/>
                  <a:gd name="T16" fmla="*/ 24 w 96"/>
                  <a:gd name="T17" fmla="*/ 7 h 97"/>
                  <a:gd name="T18" fmla="*/ 14 w 96"/>
                  <a:gd name="T19" fmla="*/ 14 h 97"/>
                  <a:gd name="T20" fmla="*/ 7 w 96"/>
                  <a:gd name="T21" fmla="*/ 24 h 97"/>
                  <a:gd name="T22" fmla="*/ 1 w 96"/>
                  <a:gd name="T23" fmla="*/ 36 h 97"/>
                  <a:gd name="T24" fmla="*/ 0 w 96"/>
                  <a:gd name="T25" fmla="*/ 48 h 97"/>
                  <a:gd name="T26" fmla="*/ 1 w 96"/>
                  <a:gd name="T27" fmla="*/ 61 h 97"/>
                  <a:gd name="T28" fmla="*/ 7 w 96"/>
                  <a:gd name="T29" fmla="*/ 73 h 97"/>
                  <a:gd name="T30" fmla="*/ 14 w 96"/>
                  <a:gd name="T31" fmla="*/ 83 h 97"/>
                  <a:gd name="T32" fmla="*/ 24 w 96"/>
                  <a:gd name="T33" fmla="*/ 90 h 97"/>
                  <a:gd name="T34" fmla="*/ 36 w 96"/>
                  <a:gd name="T35" fmla="*/ 95 h 97"/>
                  <a:gd name="T36" fmla="*/ 48 w 96"/>
                  <a:gd name="T37" fmla="*/ 97 h 97"/>
                  <a:gd name="T38" fmla="*/ 61 w 96"/>
                  <a:gd name="T39" fmla="*/ 95 h 97"/>
                  <a:gd name="T40" fmla="*/ 73 w 96"/>
                  <a:gd name="T41" fmla="*/ 90 h 97"/>
                  <a:gd name="T42" fmla="*/ 82 w 96"/>
                  <a:gd name="T43" fmla="*/ 83 h 97"/>
                  <a:gd name="T44" fmla="*/ 90 w 96"/>
                  <a:gd name="T45" fmla="*/ 73 h 97"/>
                  <a:gd name="T46" fmla="*/ 95 w 96"/>
                  <a:gd name="T47" fmla="*/ 61 h 97"/>
                  <a:gd name="T48" fmla="*/ 96 w 96"/>
                  <a:gd name="T49" fmla="*/ 48 h 9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96"/>
                  <a:gd name="T76" fmla="*/ 0 h 97"/>
                  <a:gd name="T77" fmla="*/ 96 w 96"/>
                  <a:gd name="T78" fmla="*/ 97 h 9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96" h="97">
                    <a:moveTo>
                      <a:pt x="96" y="48"/>
                    </a:moveTo>
                    <a:lnTo>
                      <a:pt x="95" y="36"/>
                    </a:lnTo>
                    <a:lnTo>
                      <a:pt x="90" y="24"/>
                    </a:lnTo>
                    <a:lnTo>
                      <a:pt x="82" y="14"/>
                    </a:lnTo>
                    <a:lnTo>
                      <a:pt x="73" y="7"/>
                    </a:lnTo>
                    <a:lnTo>
                      <a:pt x="61" y="2"/>
                    </a:lnTo>
                    <a:lnTo>
                      <a:pt x="48" y="0"/>
                    </a:lnTo>
                    <a:lnTo>
                      <a:pt x="36" y="2"/>
                    </a:lnTo>
                    <a:lnTo>
                      <a:pt x="24" y="7"/>
                    </a:lnTo>
                    <a:lnTo>
                      <a:pt x="14" y="14"/>
                    </a:lnTo>
                    <a:lnTo>
                      <a:pt x="7" y="24"/>
                    </a:lnTo>
                    <a:lnTo>
                      <a:pt x="1" y="36"/>
                    </a:lnTo>
                    <a:lnTo>
                      <a:pt x="0" y="48"/>
                    </a:lnTo>
                    <a:lnTo>
                      <a:pt x="1" y="61"/>
                    </a:lnTo>
                    <a:lnTo>
                      <a:pt x="7" y="73"/>
                    </a:lnTo>
                    <a:lnTo>
                      <a:pt x="14" y="83"/>
                    </a:lnTo>
                    <a:lnTo>
                      <a:pt x="24" y="90"/>
                    </a:lnTo>
                    <a:lnTo>
                      <a:pt x="36" y="95"/>
                    </a:lnTo>
                    <a:lnTo>
                      <a:pt x="48" y="97"/>
                    </a:lnTo>
                    <a:lnTo>
                      <a:pt x="61" y="95"/>
                    </a:lnTo>
                    <a:lnTo>
                      <a:pt x="73" y="90"/>
                    </a:lnTo>
                    <a:lnTo>
                      <a:pt x="82" y="83"/>
                    </a:lnTo>
                    <a:lnTo>
                      <a:pt x="90" y="73"/>
                    </a:lnTo>
                    <a:lnTo>
                      <a:pt x="95" y="61"/>
                    </a:lnTo>
                    <a:lnTo>
                      <a:pt x="96" y="4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2" name="Freeform 94"/>
              <p:cNvSpPr>
                <a:spLocks/>
              </p:cNvSpPr>
              <p:nvPr/>
            </p:nvSpPr>
            <p:spPr bwMode="auto">
              <a:xfrm>
                <a:off x="4907" y="2776"/>
                <a:ext cx="96" cy="97"/>
              </a:xfrm>
              <a:custGeom>
                <a:avLst/>
                <a:gdLst>
                  <a:gd name="T0" fmla="*/ 96 w 96"/>
                  <a:gd name="T1" fmla="*/ 48 h 97"/>
                  <a:gd name="T2" fmla="*/ 95 w 96"/>
                  <a:gd name="T3" fmla="*/ 36 h 97"/>
                  <a:gd name="T4" fmla="*/ 90 w 96"/>
                  <a:gd name="T5" fmla="*/ 24 h 97"/>
                  <a:gd name="T6" fmla="*/ 82 w 96"/>
                  <a:gd name="T7" fmla="*/ 14 h 97"/>
                  <a:gd name="T8" fmla="*/ 73 w 96"/>
                  <a:gd name="T9" fmla="*/ 7 h 97"/>
                  <a:gd name="T10" fmla="*/ 61 w 96"/>
                  <a:gd name="T11" fmla="*/ 2 h 97"/>
                  <a:gd name="T12" fmla="*/ 48 w 96"/>
                  <a:gd name="T13" fmla="*/ 0 h 97"/>
                  <a:gd name="T14" fmla="*/ 36 w 96"/>
                  <a:gd name="T15" fmla="*/ 2 h 97"/>
                  <a:gd name="T16" fmla="*/ 24 w 96"/>
                  <a:gd name="T17" fmla="*/ 7 h 97"/>
                  <a:gd name="T18" fmla="*/ 14 w 96"/>
                  <a:gd name="T19" fmla="*/ 14 h 97"/>
                  <a:gd name="T20" fmla="*/ 7 w 96"/>
                  <a:gd name="T21" fmla="*/ 24 h 97"/>
                  <a:gd name="T22" fmla="*/ 1 w 96"/>
                  <a:gd name="T23" fmla="*/ 36 h 97"/>
                  <a:gd name="T24" fmla="*/ 0 w 96"/>
                  <a:gd name="T25" fmla="*/ 48 h 97"/>
                  <a:gd name="T26" fmla="*/ 1 w 96"/>
                  <a:gd name="T27" fmla="*/ 61 h 97"/>
                  <a:gd name="T28" fmla="*/ 7 w 96"/>
                  <a:gd name="T29" fmla="*/ 73 h 97"/>
                  <a:gd name="T30" fmla="*/ 14 w 96"/>
                  <a:gd name="T31" fmla="*/ 83 h 97"/>
                  <a:gd name="T32" fmla="*/ 24 w 96"/>
                  <a:gd name="T33" fmla="*/ 90 h 97"/>
                  <a:gd name="T34" fmla="*/ 36 w 96"/>
                  <a:gd name="T35" fmla="*/ 95 h 97"/>
                  <a:gd name="T36" fmla="*/ 48 w 96"/>
                  <a:gd name="T37" fmla="*/ 97 h 97"/>
                  <a:gd name="T38" fmla="*/ 61 w 96"/>
                  <a:gd name="T39" fmla="*/ 95 h 97"/>
                  <a:gd name="T40" fmla="*/ 73 w 96"/>
                  <a:gd name="T41" fmla="*/ 90 h 97"/>
                  <a:gd name="T42" fmla="*/ 82 w 96"/>
                  <a:gd name="T43" fmla="*/ 83 h 97"/>
                  <a:gd name="T44" fmla="*/ 90 w 96"/>
                  <a:gd name="T45" fmla="*/ 73 h 97"/>
                  <a:gd name="T46" fmla="*/ 95 w 96"/>
                  <a:gd name="T47" fmla="*/ 61 h 97"/>
                  <a:gd name="T48" fmla="*/ 96 w 96"/>
                  <a:gd name="T49" fmla="*/ 48 h 9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96"/>
                  <a:gd name="T76" fmla="*/ 0 h 97"/>
                  <a:gd name="T77" fmla="*/ 96 w 96"/>
                  <a:gd name="T78" fmla="*/ 97 h 9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96" h="97">
                    <a:moveTo>
                      <a:pt x="96" y="48"/>
                    </a:moveTo>
                    <a:lnTo>
                      <a:pt x="95" y="36"/>
                    </a:lnTo>
                    <a:lnTo>
                      <a:pt x="90" y="24"/>
                    </a:lnTo>
                    <a:lnTo>
                      <a:pt x="82" y="14"/>
                    </a:lnTo>
                    <a:lnTo>
                      <a:pt x="73" y="7"/>
                    </a:lnTo>
                    <a:lnTo>
                      <a:pt x="61" y="2"/>
                    </a:lnTo>
                    <a:lnTo>
                      <a:pt x="48" y="0"/>
                    </a:lnTo>
                    <a:lnTo>
                      <a:pt x="36" y="2"/>
                    </a:lnTo>
                    <a:lnTo>
                      <a:pt x="24" y="7"/>
                    </a:lnTo>
                    <a:lnTo>
                      <a:pt x="14" y="14"/>
                    </a:lnTo>
                    <a:lnTo>
                      <a:pt x="7" y="24"/>
                    </a:lnTo>
                    <a:lnTo>
                      <a:pt x="1" y="36"/>
                    </a:lnTo>
                    <a:lnTo>
                      <a:pt x="0" y="48"/>
                    </a:lnTo>
                    <a:lnTo>
                      <a:pt x="1" y="61"/>
                    </a:lnTo>
                    <a:lnTo>
                      <a:pt x="7" y="73"/>
                    </a:lnTo>
                    <a:lnTo>
                      <a:pt x="14" y="83"/>
                    </a:lnTo>
                    <a:lnTo>
                      <a:pt x="24" y="90"/>
                    </a:lnTo>
                    <a:lnTo>
                      <a:pt x="36" y="95"/>
                    </a:lnTo>
                    <a:lnTo>
                      <a:pt x="48" y="97"/>
                    </a:lnTo>
                    <a:lnTo>
                      <a:pt x="61" y="95"/>
                    </a:lnTo>
                    <a:lnTo>
                      <a:pt x="73" y="90"/>
                    </a:lnTo>
                    <a:lnTo>
                      <a:pt x="82" y="83"/>
                    </a:lnTo>
                    <a:lnTo>
                      <a:pt x="90" y="73"/>
                    </a:lnTo>
                    <a:lnTo>
                      <a:pt x="95" y="61"/>
                    </a:lnTo>
                    <a:lnTo>
                      <a:pt x="96" y="4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3" name="Freeform 95"/>
              <p:cNvSpPr>
                <a:spLocks/>
              </p:cNvSpPr>
              <p:nvPr/>
            </p:nvSpPr>
            <p:spPr bwMode="auto">
              <a:xfrm>
                <a:off x="4658" y="1076"/>
                <a:ext cx="95" cy="95"/>
              </a:xfrm>
              <a:custGeom>
                <a:avLst/>
                <a:gdLst>
                  <a:gd name="T0" fmla="*/ 95 w 95"/>
                  <a:gd name="T1" fmla="*/ 48 h 95"/>
                  <a:gd name="T2" fmla="*/ 93 w 95"/>
                  <a:gd name="T3" fmla="*/ 35 h 95"/>
                  <a:gd name="T4" fmla="*/ 88 w 95"/>
                  <a:gd name="T5" fmla="*/ 24 h 95"/>
                  <a:gd name="T6" fmla="*/ 81 w 95"/>
                  <a:gd name="T7" fmla="*/ 14 h 95"/>
                  <a:gd name="T8" fmla="*/ 71 w 95"/>
                  <a:gd name="T9" fmla="*/ 6 h 95"/>
                  <a:gd name="T10" fmla="*/ 60 w 95"/>
                  <a:gd name="T11" fmla="*/ 2 h 95"/>
                  <a:gd name="T12" fmla="*/ 48 w 95"/>
                  <a:gd name="T13" fmla="*/ 0 h 95"/>
                  <a:gd name="T14" fmla="*/ 35 w 95"/>
                  <a:gd name="T15" fmla="*/ 2 h 95"/>
                  <a:gd name="T16" fmla="*/ 24 w 95"/>
                  <a:gd name="T17" fmla="*/ 6 h 95"/>
                  <a:gd name="T18" fmla="*/ 15 w 95"/>
                  <a:gd name="T19" fmla="*/ 14 h 95"/>
                  <a:gd name="T20" fmla="*/ 7 w 95"/>
                  <a:gd name="T21" fmla="*/ 24 h 95"/>
                  <a:gd name="T22" fmla="*/ 2 w 95"/>
                  <a:gd name="T23" fmla="*/ 35 h 95"/>
                  <a:gd name="T24" fmla="*/ 0 w 95"/>
                  <a:gd name="T25" fmla="*/ 48 h 95"/>
                  <a:gd name="T26" fmla="*/ 3 w 95"/>
                  <a:gd name="T27" fmla="*/ 63 h 95"/>
                  <a:gd name="T28" fmla="*/ 10 w 95"/>
                  <a:gd name="T29" fmla="*/ 75 h 95"/>
                  <a:gd name="T30" fmla="*/ 20 w 95"/>
                  <a:gd name="T31" fmla="*/ 86 h 95"/>
                  <a:gd name="T32" fmla="*/ 33 w 95"/>
                  <a:gd name="T33" fmla="*/ 93 h 95"/>
                  <a:gd name="T34" fmla="*/ 48 w 95"/>
                  <a:gd name="T35" fmla="*/ 95 h 95"/>
                  <a:gd name="T36" fmla="*/ 63 w 95"/>
                  <a:gd name="T37" fmla="*/ 93 h 95"/>
                  <a:gd name="T38" fmla="*/ 75 w 95"/>
                  <a:gd name="T39" fmla="*/ 86 h 95"/>
                  <a:gd name="T40" fmla="*/ 85 w 95"/>
                  <a:gd name="T41" fmla="*/ 75 h 95"/>
                  <a:gd name="T42" fmla="*/ 92 w 95"/>
                  <a:gd name="T43" fmla="*/ 63 h 95"/>
                  <a:gd name="T44" fmla="*/ 95 w 95"/>
                  <a:gd name="T45" fmla="*/ 48 h 9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5"/>
                  <a:gd name="T70" fmla="*/ 0 h 95"/>
                  <a:gd name="T71" fmla="*/ 95 w 95"/>
                  <a:gd name="T72" fmla="*/ 95 h 9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5" h="95">
                    <a:moveTo>
                      <a:pt x="95" y="48"/>
                    </a:moveTo>
                    <a:lnTo>
                      <a:pt x="93" y="35"/>
                    </a:lnTo>
                    <a:lnTo>
                      <a:pt x="88" y="24"/>
                    </a:lnTo>
                    <a:lnTo>
                      <a:pt x="81" y="14"/>
                    </a:lnTo>
                    <a:lnTo>
                      <a:pt x="71" y="6"/>
                    </a:lnTo>
                    <a:lnTo>
                      <a:pt x="60" y="2"/>
                    </a:lnTo>
                    <a:lnTo>
                      <a:pt x="48" y="0"/>
                    </a:lnTo>
                    <a:lnTo>
                      <a:pt x="35" y="2"/>
                    </a:lnTo>
                    <a:lnTo>
                      <a:pt x="24" y="6"/>
                    </a:lnTo>
                    <a:lnTo>
                      <a:pt x="15" y="14"/>
                    </a:lnTo>
                    <a:lnTo>
                      <a:pt x="7" y="24"/>
                    </a:lnTo>
                    <a:lnTo>
                      <a:pt x="2" y="35"/>
                    </a:lnTo>
                    <a:lnTo>
                      <a:pt x="0" y="48"/>
                    </a:lnTo>
                    <a:lnTo>
                      <a:pt x="3" y="63"/>
                    </a:lnTo>
                    <a:lnTo>
                      <a:pt x="10" y="75"/>
                    </a:lnTo>
                    <a:lnTo>
                      <a:pt x="20" y="86"/>
                    </a:lnTo>
                    <a:lnTo>
                      <a:pt x="33" y="93"/>
                    </a:lnTo>
                    <a:lnTo>
                      <a:pt x="48" y="95"/>
                    </a:lnTo>
                    <a:lnTo>
                      <a:pt x="63" y="93"/>
                    </a:lnTo>
                    <a:lnTo>
                      <a:pt x="75" y="86"/>
                    </a:lnTo>
                    <a:lnTo>
                      <a:pt x="85" y="75"/>
                    </a:lnTo>
                    <a:lnTo>
                      <a:pt x="92" y="63"/>
                    </a:lnTo>
                    <a:lnTo>
                      <a:pt x="95" y="4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4" name="Freeform 96"/>
              <p:cNvSpPr>
                <a:spLocks/>
              </p:cNvSpPr>
              <p:nvPr/>
            </p:nvSpPr>
            <p:spPr bwMode="auto">
              <a:xfrm>
                <a:off x="4658" y="1076"/>
                <a:ext cx="95" cy="95"/>
              </a:xfrm>
              <a:custGeom>
                <a:avLst/>
                <a:gdLst>
                  <a:gd name="T0" fmla="*/ 95 w 95"/>
                  <a:gd name="T1" fmla="*/ 48 h 95"/>
                  <a:gd name="T2" fmla="*/ 93 w 95"/>
                  <a:gd name="T3" fmla="*/ 35 h 95"/>
                  <a:gd name="T4" fmla="*/ 88 w 95"/>
                  <a:gd name="T5" fmla="*/ 24 h 95"/>
                  <a:gd name="T6" fmla="*/ 81 w 95"/>
                  <a:gd name="T7" fmla="*/ 14 h 95"/>
                  <a:gd name="T8" fmla="*/ 71 w 95"/>
                  <a:gd name="T9" fmla="*/ 6 h 95"/>
                  <a:gd name="T10" fmla="*/ 60 w 95"/>
                  <a:gd name="T11" fmla="*/ 2 h 95"/>
                  <a:gd name="T12" fmla="*/ 48 w 95"/>
                  <a:gd name="T13" fmla="*/ 0 h 95"/>
                  <a:gd name="T14" fmla="*/ 35 w 95"/>
                  <a:gd name="T15" fmla="*/ 2 h 95"/>
                  <a:gd name="T16" fmla="*/ 24 w 95"/>
                  <a:gd name="T17" fmla="*/ 6 h 95"/>
                  <a:gd name="T18" fmla="*/ 15 w 95"/>
                  <a:gd name="T19" fmla="*/ 14 h 95"/>
                  <a:gd name="T20" fmla="*/ 7 w 95"/>
                  <a:gd name="T21" fmla="*/ 24 h 95"/>
                  <a:gd name="T22" fmla="*/ 2 w 95"/>
                  <a:gd name="T23" fmla="*/ 35 h 95"/>
                  <a:gd name="T24" fmla="*/ 0 w 95"/>
                  <a:gd name="T25" fmla="*/ 48 h 95"/>
                  <a:gd name="T26" fmla="*/ 3 w 95"/>
                  <a:gd name="T27" fmla="*/ 63 h 95"/>
                  <a:gd name="T28" fmla="*/ 10 w 95"/>
                  <a:gd name="T29" fmla="*/ 75 h 95"/>
                  <a:gd name="T30" fmla="*/ 20 w 95"/>
                  <a:gd name="T31" fmla="*/ 86 h 95"/>
                  <a:gd name="T32" fmla="*/ 33 w 95"/>
                  <a:gd name="T33" fmla="*/ 93 h 95"/>
                  <a:gd name="T34" fmla="*/ 48 w 95"/>
                  <a:gd name="T35" fmla="*/ 95 h 95"/>
                  <a:gd name="T36" fmla="*/ 63 w 95"/>
                  <a:gd name="T37" fmla="*/ 93 h 95"/>
                  <a:gd name="T38" fmla="*/ 75 w 95"/>
                  <a:gd name="T39" fmla="*/ 86 h 95"/>
                  <a:gd name="T40" fmla="*/ 85 w 95"/>
                  <a:gd name="T41" fmla="*/ 75 h 95"/>
                  <a:gd name="T42" fmla="*/ 92 w 95"/>
                  <a:gd name="T43" fmla="*/ 63 h 95"/>
                  <a:gd name="T44" fmla="*/ 95 w 95"/>
                  <a:gd name="T45" fmla="*/ 48 h 9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95"/>
                  <a:gd name="T70" fmla="*/ 0 h 95"/>
                  <a:gd name="T71" fmla="*/ 95 w 95"/>
                  <a:gd name="T72" fmla="*/ 95 h 95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95" h="95">
                    <a:moveTo>
                      <a:pt x="95" y="48"/>
                    </a:moveTo>
                    <a:lnTo>
                      <a:pt x="93" y="35"/>
                    </a:lnTo>
                    <a:lnTo>
                      <a:pt x="88" y="24"/>
                    </a:lnTo>
                    <a:lnTo>
                      <a:pt x="81" y="14"/>
                    </a:lnTo>
                    <a:lnTo>
                      <a:pt x="71" y="6"/>
                    </a:lnTo>
                    <a:lnTo>
                      <a:pt x="60" y="2"/>
                    </a:lnTo>
                    <a:lnTo>
                      <a:pt x="48" y="0"/>
                    </a:lnTo>
                    <a:lnTo>
                      <a:pt x="35" y="2"/>
                    </a:lnTo>
                    <a:lnTo>
                      <a:pt x="24" y="6"/>
                    </a:lnTo>
                    <a:lnTo>
                      <a:pt x="15" y="14"/>
                    </a:lnTo>
                    <a:lnTo>
                      <a:pt x="7" y="24"/>
                    </a:lnTo>
                    <a:lnTo>
                      <a:pt x="2" y="35"/>
                    </a:lnTo>
                    <a:lnTo>
                      <a:pt x="0" y="48"/>
                    </a:lnTo>
                    <a:lnTo>
                      <a:pt x="3" y="63"/>
                    </a:lnTo>
                    <a:lnTo>
                      <a:pt x="10" y="75"/>
                    </a:lnTo>
                    <a:lnTo>
                      <a:pt x="20" y="86"/>
                    </a:lnTo>
                    <a:lnTo>
                      <a:pt x="33" y="93"/>
                    </a:lnTo>
                    <a:lnTo>
                      <a:pt x="48" y="95"/>
                    </a:lnTo>
                    <a:lnTo>
                      <a:pt x="63" y="93"/>
                    </a:lnTo>
                    <a:lnTo>
                      <a:pt x="75" y="86"/>
                    </a:lnTo>
                    <a:lnTo>
                      <a:pt x="85" y="75"/>
                    </a:lnTo>
                    <a:lnTo>
                      <a:pt x="92" y="63"/>
                    </a:lnTo>
                    <a:lnTo>
                      <a:pt x="95" y="4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5" name="Freeform 97"/>
              <p:cNvSpPr>
                <a:spLocks/>
              </p:cNvSpPr>
              <p:nvPr/>
            </p:nvSpPr>
            <p:spPr bwMode="auto">
              <a:xfrm>
                <a:off x="4896" y="2763"/>
                <a:ext cx="92" cy="92"/>
              </a:xfrm>
              <a:custGeom>
                <a:avLst/>
                <a:gdLst>
                  <a:gd name="T0" fmla="*/ 92 w 92"/>
                  <a:gd name="T1" fmla="*/ 46 h 92"/>
                  <a:gd name="T2" fmla="*/ 89 w 92"/>
                  <a:gd name="T3" fmla="*/ 31 h 92"/>
                  <a:gd name="T4" fmla="*/ 83 w 92"/>
                  <a:gd name="T5" fmla="*/ 19 h 92"/>
                  <a:gd name="T6" fmla="*/ 73 w 92"/>
                  <a:gd name="T7" fmla="*/ 9 h 92"/>
                  <a:gd name="T8" fmla="*/ 60 w 92"/>
                  <a:gd name="T9" fmla="*/ 2 h 92"/>
                  <a:gd name="T10" fmla="*/ 46 w 92"/>
                  <a:gd name="T11" fmla="*/ 0 h 92"/>
                  <a:gd name="T12" fmla="*/ 31 w 92"/>
                  <a:gd name="T13" fmla="*/ 2 h 92"/>
                  <a:gd name="T14" fmla="*/ 19 w 92"/>
                  <a:gd name="T15" fmla="*/ 9 h 92"/>
                  <a:gd name="T16" fmla="*/ 8 w 92"/>
                  <a:gd name="T17" fmla="*/ 19 h 92"/>
                  <a:gd name="T18" fmla="*/ 2 w 92"/>
                  <a:gd name="T19" fmla="*/ 31 h 92"/>
                  <a:gd name="T20" fmla="*/ 0 w 92"/>
                  <a:gd name="T21" fmla="*/ 46 h 92"/>
                  <a:gd name="T22" fmla="*/ 2 w 92"/>
                  <a:gd name="T23" fmla="*/ 60 h 92"/>
                  <a:gd name="T24" fmla="*/ 8 w 92"/>
                  <a:gd name="T25" fmla="*/ 73 h 92"/>
                  <a:gd name="T26" fmla="*/ 19 w 92"/>
                  <a:gd name="T27" fmla="*/ 83 h 92"/>
                  <a:gd name="T28" fmla="*/ 31 w 92"/>
                  <a:gd name="T29" fmla="*/ 89 h 92"/>
                  <a:gd name="T30" fmla="*/ 46 w 92"/>
                  <a:gd name="T31" fmla="*/ 92 h 92"/>
                  <a:gd name="T32" fmla="*/ 60 w 92"/>
                  <a:gd name="T33" fmla="*/ 89 h 92"/>
                  <a:gd name="T34" fmla="*/ 73 w 92"/>
                  <a:gd name="T35" fmla="*/ 83 h 92"/>
                  <a:gd name="T36" fmla="*/ 83 w 92"/>
                  <a:gd name="T37" fmla="*/ 73 h 92"/>
                  <a:gd name="T38" fmla="*/ 89 w 92"/>
                  <a:gd name="T39" fmla="*/ 60 h 92"/>
                  <a:gd name="T40" fmla="*/ 92 w 92"/>
                  <a:gd name="T41" fmla="*/ 46 h 9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2"/>
                  <a:gd name="T64" fmla="*/ 0 h 92"/>
                  <a:gd name="T65" fmla="*/ 92 w 92"/>
                  <a:gd name="T66" fmla="*/ 92 h 9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2" h="92">
                    <a:moveTo>
                      <a:pt x="92" y="46"/>
                    </a:moveTo>
                    <a:lnTo>
                      <a:pt x="89" y="31"/>
                    </a:lnTo>
                    <a:lnTo>
                      <a:pt x="83" y="19"/>
                    </a:lnTo>
                    <a:lnTo>
                      <a:pt x="73" y="9"/>
                    </a:lnTo>
                    <a:lnTo>
                      <a:pt x="60" y="2"/>
                    </a:lnTo>
                    <a:lnTo>
                      <a:pt x="46" y="0"/>
                    </a:lnTo>
                    <a:lnTo>
                      <a:pt x="31" y="2"/>
                    </a:lnTo>
                    <a:lnTo>
                      <a:pt x="19" y="9"/>
                    </a:lnTo>
                    <a:lnTo>
                      <a:pt x="8" y="19"/>
                    </a:lnTo>
                    <a:lnTo>
                      <a:pt x="2" y="31"/>
                    </a:lnTo>
                    <a:lnTo>
                      <a:pt x="0" y="46"/>
                    </a:lnTo>
                    <a:lnTo>
                      <a:pt x="2" y="60"/>
                    </a:lnTo>
                    <a:lnTo>
                      <a:pt x="8" y="73"/>
                    </a:lnTo>
                    <a:lnTo>
                      <a:pt x="19" y="83"/>
                    </a:lnTo>
                    <a:lnTo>
                      <a:pt x="31" y="89"/>
                    </a:lnTo>
                    <a:lnTo>
                      <a:pt x="46" y="92"/>
                    </a:lnTo>
                    <a:lnTo>
                      <a:pt x="60" y="89"/>
                    </a:lnTo>
                    <a:lnTo>
                      <a:pt x="73" y="83"/>
                    </a:lnTo>
                    <a:lnTo>
                      <a:pt x="83" y="73"/>
                    </a:lnTo>
                    <a:lnTo>
                      <a:pt x="89" y="60"/>
                    </a:lnTo>
                    <a:lnTo>
                      <a:pt x="92" y="4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6" name="Freeform 98"/>
              <p:cNvSpPr>
                <a:spLocks/>
              </p:cNvSpPr>
              <p:nvPr/>
            </p:nvSpPr>
            <p:spPr bwMode="auto">
              <a:xfrm>
                <a:off x="4896" y="2763"/>
                <a:ext cx="92" cy="92"/>
              </a:xfrm>
              <a:custGeom>
                <a:avLst/>
                <a:gdLst>
                  <a:gd name="T0" fmla="*/ 92 w 92"/>
                  <a:gd name="T1" fmla="*/ 46 h 92"/>
                  <a:gd name="T2" fmla="*/ 89 w 92"/>
                  <a:gd name="T3" fmla="*/ 31 h 92"/>
                  <a:gd name="T4" fmla="*/ 83 w 92"/>
                  <a:gd name="T5" fmla="*/ 19 h 92"/>
                  <a:gd name="T6" fmla="*/ 73 w 92"/>
                  <a:gd name="T7" fmla="*/ 9 h 92"/>
                  <a:gd name="T8" fmla="*/ 60 w 92"/>
                  <a:gd name="T9" fmla="*/ 2 h 92"/>
                  <a:gd name="T10" fmla="*/ 46 w 92"/>
                  <a:gd name="T11" fmla="*/ 0 h 92"/>
                  <a:gd name="T12" fmla="*/ 31 w 92"/>
                  <a:gd name="T13" fmla="*/ 2 h 92"/>
                  <a:gd name="T14" fmla="*/ 19 w 92"/>
                  <a:gd name="T15" fmla="*/ 9 h 92"/>
                  <a:gd name="T16" fmla="*/ 8 w 92"/>
                  <a:gd name="T17" fmla="*/ 19 h 92"/>
                  <a:gd name="T18" fmla="*/ 2 w 92"/>
                  <a:gd name="T19" fmla="*/ 31 h 92"/>
                  <a:gd name="T20" fmla="*/ 0 w 92"/>
                  <a:gd name="T21" fmla="*/ 46 h 92"/>
                  <a:gd name="T22" fmla="*/ 2 w 92"/>
                  <a:gd name="T23" fmla="*/ 60 h 92"/>
                  <a:gd name="T24" fmla="*/ 8 w 92"/>
                  <a:gd name="T25" fmla="*/ 73 h 92"/>
                  <a:gd name="T26" fmla="*/ 19 w 92"/>
                  <a:gd name="T27" fmla="*/ 83 h 92"/>
                  <a:gd name="T28" fmla="*/ 31 w 92"/>
                  <a:gd name="T29" fmla="*/ 89 h 92"/>
                  <a:gd name="T30" fmla="*/ 46 w 92"/>
                  <a:gd name="T31" fmla="*/ 92 h 92"/>
                  <a:gd name="T32" fmla="*/ 60 w 92"/>
                  <a:gd name="T33" fmla="*/ 89 h 92"/>
                  <a:gd name="T34" fmla="*/ 73 w 92"/>
                  <a:gd name="T35" fmla="*/ 83 h 92"/>
                  <a:gd name="T36" fmla="*/ 83 w 92"/>
                  <a:gd name="T37" fmla="*/ 73 h 92"/>
                  <a:gd name="T38" fmla="*/ 89 w 92"/>
                  <a:gd name="T39" fmla="*/ 60 h 92"/>
                  <a:gd name="T40" fmla="*/ 92 w 92"/>
                  <a:gd name="T41" fmla="*/ 46 h 9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2"/>
                  <a:gd name="T64" fmla="*/ 0 h 92"/>
                  <a:gd name="T65" fmla="*/ 92 w 92"/>
                  <a:gd name="T66" fmla="*/ 92 h 9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2" h="92">
                    <a:moveTo>
                      <a:pt x="92" y="46"/>
                    </a:moveTo>
                    <a:lnTo>
                      <a:pt x="89" y="31"/>
                    </a:lnTo>
                    <a:lnTo>
                      <a:pt x="83" y="19"/>
                    </a:lnTo>
                    <a:lnTo>
                      <a:pt x="73" y="9"/>
                    </a:lnTo>
                    <a:lnTo>
                      <a:pt x="60" y="2"/>
                    </a:lnTo>
                    <a:lnTo>
                      <a:pt x="46" y="0"/>
                    </a:lnTo>
                    <a:lnTo>
                      <a:pt x="31" y="2"/>
                    </a:lnTo>
                    <a:lnTo>
                      <a:pt x="19" y="9"/>
                    </a:lnTo>
                    <a:lnTo>
                      <a:pt x="8" y="19"/>
                    </a:lnTo>
                    <a:lnTo>
                      <a:pt x="2" y="31"/>
                    </a:lnTo>
                    <a:lnTo>
                      <a:pt x="0" y="46"/>
                    </a:lnTo>
                    <a:lnTo>
                      <a:pt x="2" y="60"/>
                    </a:lnTo>
                    <a:lnTo>
                      <a:pt x="8" y="73"/>
                    </a:lnTo>
                    <a:lnTo>
                      <a:pt x="19" y="83"/>
                    </a:lnTo>
                    <a:lnTo>
                      <a:pt x="31" y="89"/>
                    </a:lnTo>
                    <a:lnTo>
                      <a:pt x="46" y="92"/>
                    </a:lnTo>
                    <a:lnTo>
                      <a:pt x="60" y="89"/>
                    </a:lnTo>
                    <a:lnTo>
                      <a:pt x="73" y="83"/>
                    </a:lnTo>
                    <a:lnTo>
                      <a:pt x="83" y="73"/>
                    </a:lnTo>
                    <a:lnTo>
                      <a:pt x="89" y="60"/>
                    </a:lnTo>
                    <a:lnTo>
                      <a:pt x="92" y="4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7" name="Freeform 99"/>
              <p:cNvSpPr>
                <a:spLocks/>
              </p:cNvSpPr>
              <p:nvPr/>
            </p:nvSpPr>
            <p:spPr bwMode="auto">
              <a:xfrm>
                <a:off x="4504" y="2988"/>
                <a:ext cx="89" cy="89"/>
              </a:xfrm>
              <a:custGeom>
                <a:avLst/>
                <a:gdLst>
                  <a:gd name="T0" fmla="*/ 89 w 89"/>
                  <a:gd name="T1" fmla="*/ 44 h 89"/>
                  <a:gd name="T2" fmla="*/ 87 w 89"/>
                  <a:gd name="T3" fmla="*/ 30 h 89"/>
                  <a:gd name="T4" fmla="*/ 81 w 89"/>
                  <a:gd name="T5" fmla="*/ 18 h 89"/>
                  <a:gd name="T6" fmla="*/ 70 w 89"/>
                  <a:gd name="T7" fmla="*/ 8 h 89"/>
                  <a:gd name="T8" fmla="*/ 59 w 89"/>
                  <a:gd name="T9" fmla="*/ 2 h 89"/>
                  <a:gd name="T10" fmla="*/ 44 w 89"/>
                  <a:gd name="T11" fmla="*/ 0 h 89"/>
                  <a:gd name="T12" fmla="*/ 30 w 89"/>
                  <a:gd name="T13" fmla="*/ 2 h 89"/>
                  <a:gd name="T14" fmla="*/ 18 w 89"/>
                  <a:gd name="T15" fmla="*/ 8 h 89"/>
                  <a:gd name="T16" fmla="*/ 8 w 89"/>
                  <a:gd name="T17" fmla="*/ 18 h 89"/>
                  <a:gd name="T18" fmla="*/ 2 w 89"/>
                  <a:gd name="T19" fmla="*/ 30 h 89"/>
                  <a:gd name="T20" fmla="*/ 0 w 89"/>
                  <a:gd name="T21" fmla="*/ 44 h 89"/>
                  <a:gd name="T22" fmla="*/ 2 w 89"/>
                  <a:gd name="T23" fmla="*/ 59 h 89"/>
                  <a:gd name="T24" fmla="*/ 8 w 89"/>
                  <a:gd name="T25" fmla="*/ 71 h 89"/>
                  <a:gd name="T26" fmla="*/ 18 w 89"/>
                  <a:gd name="T27" fmla="*/ 81 h 89"/>
                  <a:gd name="T28" fmla="*/ 30 w 89"/>
                  <a:gd name="T29" fmla="*/ 87 h 89"/>
                  <a:gd name="T30" fmla="*/ 44 w 89"/>
                  <a:gd name="T31" fmla="*/ 89 h 89"/>
                  <a:gd name="T32" fmla="*/ 59 w 89"/>
                  <a:gd name="T33" fmla="*/ 87 h 89"/>
                  <a:gd name="T34" fmla="*/ 70 w 89"/>
                  <a:gd name="T35" fmla="*/ 81 h 89"/>
                  <a:gd name="T36" fmla="*/ 81 w 89"/>
                  <a:gd name="T37" fmla="*/ 71 h 89"/>
                  <a:gd name="T38" fmla="*/ 87 w 89"/>
                  <a:gd name="T39" fmla="*/ 59 h 89"/>
                  <a:gd name="T40" fmla="*/ 89 w 89"/>
                  <a:gd name="T41" fmla="*/ 44 h 8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9"/>
                  <a:gd name="T64" fmla="*/ 0 h 89"/>
                  <a:gd name="T65" fmla="*/ 89 w 89"/>
                  <a:gd name="T66" fmla="*/ 89 h 8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9" h="89">
                    <a:moveTo>
                      <a:pt x="89" y="44"/>
                    </a:moveTo>
                    <a:lnTo>
                      <a:pt x="87" y="30"/>
                    </a:lnTo>
                    <a:lnTo>
                      <a:pt x="81" y="18"/>
                    </a:lnTo>
                    <a:lnTo>
                      <a:pt x="70" y="8"/>
                    </a:lnTo>
                    <a:lnTo>
                      <a:pt x="59" y="2"/>
                    </a:lnTo>
                    <a:lnTo>
                      <a:pt x="44" y="0"/>
                    </a:lnTo>
                    <a:lnTo>
                      <a:pt x="30" y="2"/>
                    </a:lnTo>
                    <a:lnTo>
                      <a:pt x="18" y="8"/>
                    </a:lnTo>
                    <a:lnTo>
                      <a:pt x="8" y="18"/>
                    </a:lnTo>
                    <a:lnTo>
                      <a:pt x="2" y="30"/>
                    </a:lnTo>
                    <a:lnTo>
                      <a:pt x="0" y="44"/>
                    </a:lnTo>
                    <a:lnTo>
                      <a:pt x="2" y="59"/>
                    </a:lnTo>
                    <a:lnTo>
                      <a:pt x="8" y="71"/>
                    </a:lnTo>
                    <a:lnTo>
                      <a:pt x="18" y="81"/>
                    </a:lnTo>
                    <a:lnTo>
                      <a:pt x="30" y="87"/>
                    </a:lnTo>
                    <a:lnTo>
                      <a:pt x="44" y="89"/>
                    </a:lnTo>
                    <a:lnTo>
                      <a:pt x="59" y="87"/>
                    </a:lnTo>
                    <a:lnTo>
                      <a:pt x="70" y="81"/>
                    </a:lnTo>
                    <a:lnTo>
                      <a:pt x="81" y="71"/>
                    </a:lnTo>
                    <a:lnTo>
                      <a:pt x="87" y="59"/>
                    </a:lnTo>
                    <a:lnTo>
                      <a:pt x="89" y="44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8" name="Freeform 100"/>
              <p:cNvSpPr>
                <a:spLocks/>
              </p:cNvSpPr>
              <p:nvPr/>
            </p:nvSpPr>
            <p:spPr bwMode="auto">
              <a:xfrm>
                <a:off x="4504" y="2988"/>
                <a:ext cx="89" cy="89"/>
              </a:xfrm>
              <a:custGeom>
                <a:avLst/>
                <a:gdLst>
                  <a:gd name="T0" fmla="*/ 89 w 89"/>
                  <a:gd name="T1" fmla="*/ 44 h 89"/>
                  <a:gd name="T2" fmla="*/ 87 w 89"/>
                  <a:gd name="T3" fmla="*/ 30 h 89"/>
                  <a:gd name="T4" fmla="*/ 81 w 89"/>
                  <a:gd name="T5" fmla="*/ 18 h 89"/>
                  <a:gd name="T6" fmla="*/ 70 w 89"/>
                  <a:gd name="T7" fmla="*/ 8 h 89"/>
                  <a:gd name="T8" fmla="*/ 59 w 89"/>
                  <a:gd name="T9" fmla="*/ 2 h 89"/>
                  <a:gd name="T10" fmla="*/ 44 w 89"/>
                  <a:gd name="T11" fmla="*/ 0 h 89"/>
                  <a:gd name="T12" fmla="*/ 30 w 89"/>
                  <a:gd name="T13" fmla="*/ 2 h 89"/>
                  <a:gd name="T14" fmla="*/ 18 w 89"/>
                  <a:gd name="T15" fmla="*/ 8 h 89"/>
                  <a:gd name="T16" fmla="*/ 8 w 89"/>
                  <a:gd name="T17" fmla="*/ 18 h 89"/>
                  <a:gd name="T18" fmla="*/ 2 w 89"/>
                  <a:gd name="T19" fmla="*/ 30 h 89"/>
                  <a:gd name="T20" fmla="*/ 0 w 89"/>
                  <a:gd name="T21" fmla="*/ 44 h 89"/>
                  <a:gd name="T22" fmla="*/ 2 w 89"/>
                  <a:gd name="T23" fmla="*/ 59 h 89"/>
                  <a:gd name="T24" fmla="*/ 8 w 89"/>
                  <a:gd name="T25" fmla="*/ 71 h 89"/>
                  <a:gd name="T26" fmla="*/ 18 w 89"/>
                  <a:gd name="T27" fmla="*/ 81 h 89"/>
                  <a:gd name="T28" fmla="*/ 30 w 89"/>
                  <a:gd name="T29" fmla="*/ 87 h 89"/>
                  <a:gd name="T30" fmla="*/ 44 w 89"/>
                  <a:gd name="T31" fmla="*/ 89 h 89"/>
                  <a:gd name="T32" fmla="*/ 59 w 89"/>
                  <a:gd name="T33" fmla="*/ 87 h 89"/>
                  <a:gd name="T34" fmla="*/ 70 w 89"/>
                  <a:gd name="T35" fmla="*/ 81 h 89"/>
                  <a:gd name="T36" fmla="*/ 81 w 89"/>
                  <a:gd name="T37" fmla="*/ 71 h 89"/>
                  <a:gd name="T38" fmla="*/ 87 w 89"/>
                  <a:gd name="T39" fmla="*/ 59 h 89"/>
                  <a:gd name="T40" fmla="*/ 89 w 89"/>
                  <a:gd name="T41" fmla="*/ 44 h 8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9"/>
                  <a:gd name="T64" fmla="*/ 0 h 89"/>
                  <a:gd name="T65" fmla="*/ 89 w 89"/>
                  <a:gd name="T66" fmla="*/ 89 h 8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9" h="89">
                    <a:moveTo>
                      <a:pt x="89" y="44"/>
                    </a:moveTo>
                    <a:lnTo>
                      <a:pt x="87" y="30"/>
                    </a:lnTo>
                    <a:lnTo>
                      <a:pt x="81" y="18"/>
                    </a:lnTo>
                    <a:lnTo>
                      <a:pt x="70" y="8"/>
                    </a:lnTo>
                    <a:lnTo>
                      <a:pt x="59" y="2"/>
                    </a:lnTo>
                    <a:lnTo>
                      <a:pt x="44" y="0"/>
                    </a:lnTo>
                    <a:lnTo>
                      <a:pt x="30" y="2"/>
                    </a:lnTo>
                    <a:lnTo>
                      <a:pt x="18" y="8"/>
                    </a:lnTo>
                    <a:lnTo>
                      <a:pt x="8" y="18"/>
                    </a:lnTo>
                    <a:lnTo>
                      <a:pt x="2" y="30"/>
                    </a:lnTo>
                    <a:lnTo>
                      <a:pt x="0" y="44"/>
                    </a:lnTo>
                    <a:lnTo>
                      <a:pt x="2" y="59"/>
                    </a:lnTo>
                    <a:lnTo>
                      <a:pt x="8" y="71"/>
                    </a:lnTo>
                    <a:lnTo>
                      <a:pt x="18" y="81"/>
                    </a:lnTo>
                    <a:lnTo>
                      <a:pt x="30" y="87"/>
                    </a:lnTo>
                    <a:lnTo>
                      <a:pt x="44" y="89"/>
                    </a:lnTo>
                    <a:lnTo>
                      <a:pt x="59" y="87"/>
                    </a:lnTo>
                    <a:lnTo>
                      <a:pt x="70" y="81"/>
                    </a:lnTo>
                    <a:lnTo>
                      <a:pt x="81" y="71"/>
                    </a:lnTo>
                    <a:lnTo>
                      <a:pt x="87" y="59"/>
                    </a:lnTo>
                    <a:lnTo>
                      <a:pt x="89" y="44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49" name="Freeform 101"/>
              <p:cNvSpPr>
                <a:spLocks/>
              </p:cNvSpPr>
              <p:nvPr/>
            </p:nvSpPr>
            <p:spPr bwMode="auto">
              <a:xfrm>
                <a:off x="4134" y="2871"/>
                <a:ext cx="90" cy="88"/>
              </a:xfrm>
              <a:custGeom>
                <a:avLst/>
                <a:gdLst>
                  <a:gd name="T0" fmla="*/ 90 w 90"/>
                  <a:gd name="T1" fmla="*/ 44 h 88"/>
                  <a:gd name="T2" fmla="*/ 88 w 90"/>
                  <a:gd name="T3" fmla="*/ 29 h 88"/>
                  <a:gd name="T4" fmla="*/ 81 w 90"/>
                  <a:gd name="T5" fmla="*/ 18 h 88"/>
                  <a:gd name="T6" fmla="*/ 71 w 90"/>
                  <a:gd name="T7" fmla="*/ 8 h 88"/>
                  <a:gd name="T8" fmla="*/ 59 w 90"/>
                  <a:gd name="T9" fmla="*/ 2 h 88"/>
                  <a:gd name="T10" fmla="*/ 45 w 90"/>
                  <a:gd name="T11" fmla="*/ 0 h 88"/>
                  <a:gd name="T12" fmla="*/ 31 w 90"/>
                  <a:gd name="T13" fmla="*/ 2 h 88"/>
                  <a:gd name="T14" fmla="*/ 19 w 90"/>
                  <a:gd name="T15" fmla="*/ 8 h 88"/>
                  <a:gd name="T16" fmla="*/ 9 w 90"/>
                  <a:gd name="T17" fmla="*/ 18 h 88"/>
                  <a:gd name="T18" fmla="*/ 3 w 90"/>
                  <a:gd name="T19" fmla="*/ 29 h 88"/>
                  <a:gd name="T20" fmla="*/ 0 w 90"/>
                  <a:gd name="T21" fmla="*/ 44 h 88"/>
                  <a:gd name="T22" fmla="*/ 3 w 90"/>
                  <a:gd name="T23" fmla="*/ 58 h 88"/>
                  <a:gd name="T24" fmla="*/ 9 w 90"/>
                  <a:gd name="T25" fmla="*/ 70 h 88"/>
                  <a:gd name="T26" fmla="*/ 19 w 90"/>
                  <a:gd name="T27" fmla="*/ 80 h 88"/>
                  <a:gd name="T28" fmla="*/ 31 w 90"/>
                  <a:gd name="T29" fmla="*/ 86 h 88"/>
                  <a:gd name="T30" fmla="*/ 45 w 90"/>
                  <a:gd name="T31" fmla="*/ 88 h 88"/>
                  <a:gd name="T32" fmla="*/ 59 w 90"/>
                  <a:gd name="T33" fmla="*/ 86 h 88"/>
                  <a:gd name="T34" fmla="*/ 71 w 90"/>
                  <a:gd name="T35" fmla="*/ 80 h 88"/>
                  <a:gd name="T36" fmla="*/ 81 w 90"/>
                  <a:gd name="T37" fmla="*/ 70 h 88"/>
                  <a:gd name="T38" fmla="*/ 88 w 90"/>
                  <a:gd name="T39" fmla="*/ 58 h 88"/>
                  <a:gd name="T40" fmla="*/ 90 w 90"/>
                  <a:gd name="T41" fmla="*/ 44 h 8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0"/>
                  <a:gd name="T64" fmla="*/ 0 h 88"/>
                  <a:gd name="T65" fmla="*/ 90 w 90"/>
                  <a:gd name="T66" fmla="*/ 88 h 8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0" h="88">
                    <a:moveTo>
                      <a:pt x="90" y="44"/>
                    </a:moveTo>
                    <a:lnTo>
                      <a:pt x="88" y="29"/>
                    </a:lnTo>
                    <a:lnTo>
                      <a:pt x="81" y="18"/>
                    </a:lnTo>
                    <a:lnTo>
                      <a:pt x="71" y="8"/>
                    </a:lnTo>
                    <a:lnTo>
                      <a:pt x="59" y="2"/>
                    </a:lnTo>
                    <a:lnTo>
                      <a:pt x="45" y="0"/>
                    </a:lnTo>
                    <a:lnTo>
                      <a:pt x="31" y="2"/>
                    </a:lnTo>
                    <a:lnTo>
                      <a:pt x="19" y="8"/>
                    </a:lnTo>
                    <a:lnTo>
                      <a:pt x="9" y="18"/>
                    </a:lnTo>
                    <a:lnTo>
                      <a:pt x="3" y="29"/>
                    </a:lnTo>
                    <a:lnTo>
                      <a:pt x="0" y="44"/>
                    </a:lnTo>
                    <a:lnTo>
                      <a:pt x="3" y="58"/>
                    </a:lnTo>
                    <a:lnTo>
                      <a:pt x="9" y="70"/>
                    </a:lnTo>
                    <a:lnTo>
                      <a:pt x="19" y="80"/>
                    </a:lnTo>
                    <a:lnTo>
                      <a:pt x="31" y="86"/>
                    </a:lnTo>
                    <a:lnTo>
                      <a:pt x="45" y="88"/>
                    </a:lnTo>
                    <a:lnTo>
                      <a:pt x="59" y="86"/>
                    </a:lnTo>
                    <a:lnTo>
                      <a:pt x="71" y="80"/>
                    </a:lnTo>
                    <a:lnTo>
                      <a:pt x="81" y="70"/>
                    </a:lnTo>
                    <a:lnTo>
                      <a:pt x="88" y="58"/>
                    </a:lnTo>
                    <a:lnTo>
                      <a:pt x="90" y="44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0" name="Freeform 102"/>
              <p:cNvSpPr>
                <a:spLocks/>
              </p:cNvSpPr>
              <p:nvPr/>
            </p:nvSpPr>
            <p:spPr bwMode="auto">
              <a:xfrm>
                <a:off x="4134" y="2871"/>
                <a:ext cx="90" cy="88"/>
              </a:xfrm>
              <a:custGeom>
                <a:avLst/>
                <a:gdLst>
                  <a:gd name="T0" fmla="*/ 90 w 90"/>
                  <a:gd name="T1" fmla="*/ 44 h 88"/>
                  <a:gd name="T2" fmla="*/ 88 w 90"/>
                  <a:gd name="T3" fmla="*/ 29 h 88"/>
                  <a:gd name="T4" fmla="*/ 81 w 90"/>
                  <a:gd name="T5" fmla="*/ 18 h 88"/>
                  <a:gd name="T6" fmla="*/ 71 w 90"/>
                  <a:gd name="T7" fmla="*/ 8 h 88"/>
                  <a:gd name="T8" fmla="*/ 59 w 90"/>
                  <a:gd name="T9" fmla="*/ 2 h 88"/>
                  <a:gd name="T10" fmla="*/ 45 w 90"/>
                  <a:gd name="T11" fmla="*/ 0 h 88"/>
                  <a:gd name="T12" fmla="*/ 31 w 90"/>
                  <a:gd name="T13" fmla="*/ 2 h 88"/>
                  <a:gd name="T14" fmla="*/ 19 w 90"/>
                  <a:gd name="T15" fmla="*/ 8 h 88"/>
                  <a:gd name="T16" fmla="*/ 9 w 90"/>
                  <a:gd name="T17" fmla="*/ 18 h 88"/>
                  <a:gd name="T18" fmla="*/ 3 w 90"/>
                  <a:gd name="T19" fmla="*/ 29 h 88"/>
                  <a:gd name="T20" fmla="*/ 0 w 90"/>
                  <a:gd name="T21" fmla="*/ 44 h 88"/>
                  <a:gd name="T22" fmla="*/ 3 w 90"/>
                  <a:gd name="T23" fmla="*/ 58 h 88"/>
                  <a:gd name="T24" fmla="*/ 9 w 90"/>
                  <a:gd name="T25" fmla="*/ 70 h 88"/>
                  <a:gd name="T26" fmla="*/ 19 w 90"/>
                  <a:gd name="T27" fmla="*/ 80 h 88"/>
                  <a:gd name="T28" fmla="*/ 31 w 90"/>
                  <a:gd name="T29" fmla="*/ 86 h 88"/>
                  <a:gd name="T30" fmla="*/ 45 w 90"/>
                  <a:gd name="T31" fmla="*/ 88 h 88"/>
                  <a:gd name="T32" fmla="*/ 59 w 90"/>
                  <a:gd name="T33" fmla="*/ 86 h 88"/>
                  <a:gd name="T34" fmla="*/ 71 w 90"/>
                  <a:gd name="T35" fmla="*/ 80 h 88"/>
                  <a:gd name="T36" fmla="*/ 81 w 90"/>
                  <a:gd name="T37" fmla="*/ 70 h 88"/>
                  <a:gd name="T38" fmla="*/ 88 w 90"/>
                  <a:gd name="T39" fmla="*/ 58 h 88"/>
                  <a:gd name="T40" fmla="*/ 90 w 90"/>
                  <a:gd name="T41" fmla="*/ 44 h 8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0"/>
                  <a:gd name="T64" fmla="*/ 0 h 88"/>
                  <a:gd name="T65" fmla="*/ 90 w 90"/>
                  <a:gd name="T66" fmla="*/ 88 h 8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0" h="88">
                    <a:moveTo>
                      <a:pt x="90" y="44"/>
                    </a:moveTo>
                    <a:lnTo>
                      <a:pt x="88" y="29"/>
                    </a:lnTo>
                    <a:lnTo>
                      <a:pt x="81" y="18"/>
                    </a:lnTo>
                    <a:lnTo>
                      <a:pt x="71" y="8"/>
                    </a:lnTo>
                    <a:lnTo>
                      <a:pt x="59" y="2"/>
                    </a:lnTo>
                    <a:lnTo>
                      <a:pt x="45" y="0"/>
                    </a:lnTo>
                    <a:lnTo>
                      <a:pt x="31" y="2"/>
                    </a:lnTo>
                    <a:lnTo>
                      <a:pt x="19" y="8"/>
                    </a:lnTo>
                    <a:lnTo>
                      <a:pt x="9" y="18"/>
                    </a:lnTo>
                    <a:lnTo>
                      <a:pt x="3" y="29"/>
                    </a:lnTo>
                    <a:lnTo>
                      <a:pt x="0" y="44"/>
                    </a:lnTo>
                    <a:lnTo>
                      <a:pt x="3" y="58"/>
                    </a:lnTo>
                    <a:lnTo>
                      <a:pt x="9" y="70"/>
                    </a:lnTo>
                    <a:lnTo>
                      <a:pt x="19" y="80"/>
                    </a:lnTo>
                    <a:lnTo>
                      <a:pt x="31" y="86"/>
                    </a:lnTo>
                    <a:lnTo>
                      <a:pt x="45" y="88"/>
                    </a:lnTo>
                    <a:lnTo>
                      <a:pt x="59" y="86"/>
                    </a:lnTo>
                    <a:lnTo>
                      <a:pt x="71" y="80"/>
                    </a:lnTo>
                    <a:lnTo>
                      <a:pt x="81" y="70"/>
                    </a:lnTo>
                    <a:lnTo>
                      <a:pt x="88" y="58"/>
                    </a:lnTo>
                    <a:lnTo>
                      <a:pt x="90" y="44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1" name="Freeform 103"/>
              <p:cNvSpPr>
                <a:spLocks/>
              </p:cNvSpPr>
              <p:nvPr/>
            </p:nvSpPr>
            <p:spPr bwMode="auto">
              <a:xfrm>
                <a:off x="4908" y="1400"/>
                <a:ext cx="84" cy="85"/>
              </a:xfrm>
              <a:custGeom>
                <a:avLst/>
                <a:gdLst>
                  <a:gd name="T0" fmla="*/ 84 w 84"/>
                  <a:gd name="T1" fmla="*/ 43 h 85"/>
                  <a:gd name="T2" fmla="*/ 82 w 84"/>
                  <a:gd name="T3" fmla="*/ 30 h 85"/>
                  <a:gd name="T4" fmla="*/ 77 w 84"/>
                  <a:gd name="T5" fmla="*/ 18 h 85"/>
                  <a:gd name="T6" fmla="*/ 67 w 84"/>
                  <a:gd name="T7" fmla="*/ 8 h 85"/>
                  <a:gd name="T8" fmla="*/ 55 w 84"/>
                  <a:gd name="T9" fmla="*/ 3 h 85"/>
                  <a:gd name="T10" fmla="*/ 42 w 84"/>
                  <a:gd name="T11" fmla="*/ 0 h 85"/>
                  <a:gd name="T12" fmla="*/ 29 w 84"/>
                  <a:gd name="T13" fmla="*/ 3 h 85"/>
                  <a:gd name="T14" fmla="*/ 18 w 84"/>
                  <a:gd name="T15" fmla="*/ 8 h 85"/>
                  <a:gd name="T16" fmla="*/ 8 w 84"/>
                  <a:gd name="T17" fmla="*/ 18 h 85"/>
                  <a:gd name="T18" fmla="*/ 3 w 84"/>
                  <a:gd name="T19" fmla="*/ 30 h 85"/>
                  <a:gd name="T20" fmla="*/ 0 w 84"/>
                  <a:gd name="T21" fmla="*/ 43 h 85"/>
                  <a:gd name="T22" fmla="*/ 3 w 84"/>
                  <a:gd name="T23" fmla="*/ 56 h 85"/>
                  <a:gd name="T24" fmla="*/ 8 w 84"/>
                  <a:gd name="T25" fmla="*/ 68 h 85"/>
                  <a:gd name="T26" fmla="*/ 18 w 84"/>
                  <a:gd name="T27" fmla="*/ 77 h 85"/>
                  <a:gd name="T28" fmla="*/ 29 w 84"/>
                  <a:gd name="T29" fmla="*/ 83 h 85"/>
                  <a:gd name="T30" fmla="*/ 42 w 84"/>
                  <a:gd name="T31" fmla="*/ 85 h 85"/>
                  <a:gd name="T32" fmla="*/ 55 w 84"/>
                  <a:gd name="T33" fmla="*/ 83 h 85"/>
                  <a:gd name="T34" fmla="*/ 67 w 84"/>
                  <a:gd name="T35" fmla="*/ 77 h 85"/>
                  <a:gd name="T36" fmla="*/ 77 w 84"/>
                  <a:gd name="T37" fmla="*/ 68 h 85"/>
                  <a:gd name="T38" fmla="*/ 82 w 84"/>
                  <a:gd name="T39" fmla="*/ 56 h 85"/>
                  <a:gd name="T40" fmla="*/ 84 w 84"/>
                  <a:gd name="T41" fmla="*/ 43 h 8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4"/>
                  <a:gd name="T64" fmla="*/ 0 h 85"/>
                  <a:gd name="T65" fmla="*/ 84 w 84"/>
                  <a:gd name="T66" fmla="*/ 85 h 8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4" h="85">
                    <a:moveTo>
                      <a:pt x="84" y="43"/>
                    </a:moveTo>
                    <a:lnTo>
                      <a:pt x="82" y="30"/>
                    </a:lnTo>
                    <a:lnTo>
                      <a:pt x="77" y="18"/>
                    </a:lnTo>
                    <a:lnTo>
                      <a:pt x="67" y="8"/>
                    </a:lnTo>
                    <a:lnTo>
                      <a:pt x="55" y="3"/>
                    </a:lnTo>
                    <a:lnTo>
                      <a:pt x="42" y="0"/>
                    </a:lnTo>
                    <a:lnTo>
                      <a:pt x="29" y="3"/>
                    </a:lnTo>
                    <a:lnTo>
                      <a:pt x="18" y="8"/>
                    </a:lnTo>
                    <a:lnTo>
                      <a:pt x="8" y="18"/>
                    </a:lnTo>
                    <a:lnTo>
                      <a:pt x="3" y="30"/>
                    </a:lnTo>
                    <a:lnTo>
                      <a:pt x="0" y="43"/>
                    </a:lnTo>
                    <a:lnTo>
                      <a:pt x="3" y="56"/>
                    </a:lnTo>
                    <a:lnTo>
                      <a:pt x="8" y="68"/>
                    </a:lnTo>
                    <a:lnTo>
                      <a:pt x="18" y="77"/>
                    </a:lnTo>
                    <a:lnTo>
                      <a:pt x="29" y="83"/>
                    </a:lnTo>
                    <a:lnTo>
                      <a:pt x="42" y="85"/>
                    </a:lnTo>
                    <a:lnTo>
                      <a:pt x="55" y="83"/>
                    </a:lnTo>
                    <a:lnTo>
                      <a:pt x="67" y="77"/>
                    </a:lnTo>
                    <a:lnTo>
                      <a:pt x="77" y="68"/>
                    </a:lnTo>
                    <a:lnTo>
                      <a:pt x="82" y="56"/>
                    </a:lnTo>
                    <a:lnTo>
                      <a:pt x="84" y="4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2" name="Freeform 104"/>
              <p:cNvSpPr>
                <a:spLocks/>
              </p:cNvSpPr>
              <p:nvPr/>
            </p:nvSpPr>
            <p:spPr bwMode="auto">
              <a:xfrm>
                <a:off x="4908" y="1400"/>
                <a:ext cx="84" cy="85"/>
              </a:xfrm>
              <a:custGeom>
                <a:avLst/>
                <a:gdLst>
                  <a:gd name="T0" fmla="*/ 84 w 84"/>
                  <a:gd name="T1" fmla="*/ 43 h 85"/>
                  <a:gd name="T2" fmla="*/ 82 w 84"/>
                  <a:gd name="T3" fmla="*/ 30 h 85"/>
                  <a:gd name="T4" fmla="*/ 77 w 84"/>
                  <a:gd name="T5" fmla="*/ 18 h 85"/>
                  <a:gd name="T6" fmla="*/ 67 w 84"/>
                  <a:gd name="T7" fmla="*/ 8 h 85"/>
                  <a:gd name="T8" fmla="*/ 55 w 84"/>
                  <a:gd name="T9" fmla="*/ 3 h 85"/>
                  <a:gd name="T10" fmla="*/ 42 w 84"/>
                  <a:gd name="T11" fmla="*/ 0 h 85"/>
                  <a:gd name="T12" fmla="*/ 29 w 84"/>
                  <a:gd name="T13" fmla="*/ 3 h 85"/>
                  <a:gd name="T14" fmla="*/ 18 w 84"/>
                  <a:gd name="T15" fmla="*/ 8 h 85"/>
                  <a:gd name="T16" fmla="*/ 8 w 84"/>
                  <a:gd name="T17" fmla="*/ 18 h 85"/>
                  <a:gd name="T18" fmla="*/ 3 w 84"/>
                  <a:gd name="T19" fmla="*/ 30 h 85"/>
                  <a:gd name="T20" fmla="*/ 0 w 84"/>
                  <a:gd name="T21" fmla="*/ 43 h 85"/>
                  <a:gd name="T22" fmla="*/ 3 w 84"/>
                  <a:gd name="T23" fmla="*/ 56 h 85"/>
                  <a:gd name="T24" fmla="*/ 8 w 84"/>
                  <a:gd name="T25" fmla="*/ 68 h 85"/>
                  <a:gd name="T26" fmla="*/ 18 w 84"/>
                  <a:gd name="T27" fmla="*/ 77 h 85"/>
                  <a:gd name="T28" fmla="*/ 29 w 84"/>
                  <a:gd name="T29" fmla="*/ 83 h 85"/>
                  <a:gd name="T30" fmla="*/ 42 w 84"/>
                  <a:gd name="T31" fmla="*/ 85 h 85"/>
                  <a:gd name="T32" fmla="*/ 55 w 84"/>
                  <a:gd name="T33" fmla="*/ 83 h 85"/>
                  <a:gd name="T34" fmla="*/ 67 w 84"/>
                  <a:gd name="T35" fmla="*/ 77 h 85"/>
                  <a:gd name="T36" fmla="*/ 77 w 84"/>
                  <a:gd name="T37" fmla="*/ 68 h 85"/>
                  <a:gd name="T38" fmla="*/ 82 w 84"/>
                  <a:gd name="T39" fmla="*/ 56 h 85"/>
                  <a:gd name="T40" fmla="*/ 84 w 84"/>
                  <a:gd name="T41" fmla="*/ 43 h 8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4"/>
                  <a:gd name="T64" fmla="*/ 0 h 85"/>
                  <a:gd name="T65" fmla="*/ 84 w 84"/>
                  <a:gd name="T66" fmla="*/ 85 h 8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4" h="85">
                    <a:moveTo>
                      <a:pt x="84" y="43"/>
                    </a:moveTo>
                    <a:lnTo>
                      <a:pt x="82" y="30"/>
                    </a:lnTo>
                    <a:lnTo>
                      <a:pt x="77" y="18"/>
                    </a:lnTo>
                    <a:lnTo>
                      <a:pt x="67" y="8"/>
                    </a:lnTo>
                    <a:lnTo>
                      <a:pt x="55" y="3"/>
                    </a:lnTo>
                    <a:lnTo>
                      <a:pt x="42" y="0"/>
                    </a:lnTo>
                    <a:lnTo>
                      <a:pt x="29" y="3"/>
                    </a:lnTo>
                    <a:lnTo>
                      <a:pt x="18" y="8"/>
                    </a:lnTo>
                    <a:lnTo>
                      <a:pt x="8" y="18"/>
                    </a:lnTo>
                    <a:lnTo>
                      <a:pt x="3" y="30"/>
                    </a:lnTo>
                    <a:lnTo>
                      <a:pt x="0" y="43"/>
                    </a:lnTo>
                    <a:lnTo>
                      <a:pt x="3" y="56"/>
                    </a:lnTo>
                    <a:lnTo>
                      <a:pt x="8" y="68"/>
                    </a:lnTo>
                    <a:lnTo>
                      <a:pt x="18" y="77"/>
                    </a:lnTo>
                    <a:lnTo>
                      <a:pt x="29" y="83"/>
                    </a:lnTo>
                    <a:lnTo>
                      <a:pt x="42" y="85"/>
                    </a:lnTo>
                    <a:lnTo>
                      <a:pt x="55" y="83"/>
                    </a:lnTo>
                    <a:lnTo>
                      <a:pt x="67" y="77"/>
                    </a:lnTo>
                    <a:lnTo>
                      <a:pt x="77" y="68"/>
                    </a:lnTo>
                    <a:lnTo>
                      <a:pt x="82" y="56"/>
                    </a:lnTo>
                    <a:lnTo>
                      <a:pt x="84" y="4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3" name="Freeform 105"/>
              <p:cNvSpPr>
                <a:spLocks/>
              </p:cNvSpPr>
              <p:nvPr/>
            </p:nvSpPr>
            <p:spPr bwMode="auto">
              <a:xfrm>
                <a:off x="4623" y="2965"/>
                <a:ext cx="83" cy="83"/>
              </a:xfrm>
              <a:custGeom>
                <a:avLst/>
                <a:gdLst>
                  <a:gd name="T0" fmla="*/ 83 w 83"/>
                  <a:gd name="T1" fmla="*/ 41 h 83"/>
                  <a:gd name="T2" fmla="*/ 81 w 83"/>
                  <a:gd name="T3" fmla="*/ 28 h 83"/>
                  <a:gd name="T4" fmla="*/ 76 w 83"/>
                  <a:gd name="T5" fmla="*/ 17 h 83"/>
                  <a:gd name="T6" fmla="*/ 66 w 83"/>
                  <a:gd name="T7" fmla="*/ 8 h 83"/>
                  <a:gd name="T8" fmla="*/ 55 w 83"/>
                  <a:gd name="T9" fmla="*/ 2 h 83"/>
                  <a:gd name="T10" fmla="*/ 42 w 83"/>
                  <a:gd name="T11" fmla="*/ 0 h 83"/>
                  <a:gd name="T12" fmla="*/ 28 w 83"/>
                  <a:gd name="T13" fmla="*/ 2 h 83"/>
                  <a:gd name="T14" fmla="*/ 17 w 83"/>
                  <a:gd name="T15" fmla="*/ 8 h 83"/>
                  <a:gd name="T16" fmla="*/ 8 w 83"/>
                  <a:gd name="T17" fmla="*/ 17 h 83"/>
                  <a:gd name="T18" fmla="*/ 2 w 83"/>
                  <a:gd name="T19" fmla="*/ 28 h 83"/>
                  <a:gd name="T20" fmla="*/ 0 w 83"/>
                  <a:gd name="T21" fmla="*/ 41 h 83"/>
                  <a:gd name="T22" fmla="*/ 2 w 83"/>
                  <a:gd name="T23" fmla="*/ 55 h 83"/>
                  <a:gd name="T24" fmla="*/ 8 w 83"/>
                  <a:gd name="T25" fmla="*/ 67 h 83"/>
                  <a:gd name="T26" fmla="*/ 17 w 83"/>
                  <a:gd name="T27" fmla="*/ 75 h 83"/>
                  <a:gd name="T28" fmla="*/ 28 w 83"/>
                  <a:gd name="T29" fmla="*/ 81 h 83"/>
                  <a:gd name="T30" fmla="*/ 42 w 83"/>
                  <a:gd name="T31" fmla="*/ 83 h 83"/>
                  <a:gd name="T32" fmla="*/ 55 w 83"/>
                  <a:gd name="T33" fmla="*/ 81 h 83"/>
                  <a:gd name="T34" fmla="*/ 66 w 83"/>
                  <a:gd name="T35" fmla="*/ 75 h 83"/>
                  <a:gd name="T36" fmla="*/ 76 w 83"/>
                  <a:gd name="T37" fmla="*/ 67 h 83"/>
                  <a:gd name="T38" fmla="*/ 81 w 83"/>
                  <a:gd name="T39" fmla="*/ 55 h 83"/>
                  <a:gd name="T40" fmla="*/ 83 w 83"/>
                  <a:gd name="T41" fmla="*/ 41 h 8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3"/>
                  <a:gd name="T64" fmla="*/ 0 h 83"/>
                  <a:gd name="T65" fmla="*/ 83 w 83"/>
                  <a:gd name="T66" fmla="*/ 83 h 8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3" h="83">
                    <a:moveTo>
                      <a:pt x="83" y="41"/>
                    </a:moveTo>
                    <a:lnTo>
                      <a:pt x="81" y="28"/>
                    </a:lnTo>
                    <a:lnTo>
                      <a:pt x="76" y="17"/>
                    </a:lnTo>
                    <a:lnTo>
                      <a:pt x="66" y="8"/>
                    </a:lnTo>
                    <a:lnTo>
                      <a:pt x="55" y="2"/>
                    </a:lnTo>
                    <a:lnTo>
                      <a:pt x="42" y="0"/>
                    </a:lnTo>
                    <a:lnTo>
                      <a:pt x="28" y="2"/>
                    </a:lnTo>
                    <a:lnTo>
                      <a:pt x="17" y="8"/>
                    </a:lnTo>
                    <a:lnTo>
                      <a:pt x="8" y="17"/>
                    </a:lnTo>
                    <a:lnTo>
                      <a:pt x="2" y="28"/>
                    </a:lnTo>
                    <a:lnTo>
                      <a:pt x="0" y="41"/>
                    </a:lnTo>
                    <a:lnTo>
                      <a:pt x="2" y="55"/>
                    </a:lnTo>
                    <a:lnTo>
                      <a:pt x="8" y="67"/>
                    </a:lnTo>
                    <a:lnTo>
                      <a:pt x="17" y="75"/>
                    </a:lnTo>
                    <a:lnTo>
                      <a:pt x="28" y="81"/>
                    </a:lnTo>
                    <a:lnTo>
                      <a:pt x="42" y="83"/>
                    </a:lnTo>
                    <a:lnTo>
                      <a:pt x="55" y="81"/>
                    </a:lnTo>
                    <a:lnTo>
                      <a:pt x="66" y="75"/>
                    </a:lnTo>
                    <a:lnTo>
                      <a:pt x="76" y="67"/>
                    </a:lnTo>
                    <a:lnTo>
                      <a:pt x="81" y="55"/>
                    </a:lnTo>
                    <a:lnTo>
                      <a:pt x="83" y="41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4" name="Freeform 106"/>
              <p:cNvSpPr>
                <a:spLocks/>
              </p:cNvSpPr>
              <p:nvPr/>
            </p:nvSpPr>
            <p:spPr bwMode="auto">
              <a:xfrm>
                <a:off x="4623" y="2965"/>
                <a:ext cx="83" cy="83"/>
              </a:xfrm>
              <a:custGeom>
                <a:avLst/>
                <a:gdLst>
                  <a:gd name="T0" fmla="*/ 83 w 83"/>
                  <a:gd name="T1" fmla="*/ 41 h 83"/>
                  <a:gd name="T2" fmla="*/ 81 w 83"/>
                  <a:gd name="T3" fmla="*/ 28 h 83"/>
                  <a:gd name="T4" fmla="*/ 76 w 83"/>
                  <a:gd name="T5" fmla="*/ 17 h 83"/>
                  <a:gd name="T6" fmla="*/ 66 w 83"/>
                  <a:gd name="T7" fmla="*/ 8 h 83"/>
                  <a:gd name="T8" fmla="*/ 55 w 83"/>
                  <a:gd name="T9" fmla="*/ 2 h 83"/>
                  <a:gd name="T10" fmla="*/ 42 w 83"/>
                  <a:gd name="T11" fmla="*/ 0 h 83"/>
                  <a:gd name="T12" fmla="*/ 28 w 83"/>
                  <a:gd name="T13" fmla="*/ 2 h 83"/>
                  <a:gd name="T14" fmla="*/ 17 w 83"/>
                  <a:gd name="T15" fmla="*/ 8 h 83"/>
                  <a:gd name="T16" fmla="*/ 8 w 83"/>
                  <a:gd name="T17" fmla="*/ 17 h 83"/>
                  <a:gd name="T18" fmla="*/ 2 w 83"/>
                  <a:gd name="T19" fmla="*/ 28 h 83"/>
                  <a:gd name="T20" fmla="*/ 0 w 83"/>
                  <a:gd name="T21" fmla="*/ 41 h 83"/>
                  <a:gd name="T22" fmla="*/ 2 w 83"/>
                  <a:gd name="T23" fmla="*/ 55 h 83"/>
                  <a:gd name="T24" fmla="*/ 8 w 83"/>
                  <a:gd name="T25" fmla="*/ 67 h 83"/>
                  <a:gd name="T26" fmla="*/ 17 w 83"/>
                  <a:gd name="T27" fmla="*/ 75 h 83"/>
                  <a:gd name="T28" fmla="*/ 28 w 83"/>
                  <a:gd name="T29" fmla="*/ 81 h 83"/>
                  <a:gd name="T30" fmla="*/ 42 w 83"/>
                  <a:gd name="T31" fmla="*/ 83 h 83"/>
                  <a:gd name="T32" fmla="*/ 55 w 83"/>
                  <a:gd name="T33" fmla="*/ 81 h 83"/>
                  <a:gd name="T34" fmla="*/ 66 w 83"/>
                  <a:gd name="T35" fmla="*/ 75 h 83"/>
                  <a:gd name="T36" fmla="*/ 76 w 83"/>
                  <a:gd name="T37" fmla="*/ 67 h 83"/>
                  <a:gd name="T38" fmla="*/ 81 w 83"/>
                  <a:gd name="T39" fmla="*/ 55 h 83"/>
                  <a:gd name="T40" fmla="*/ 83 w 83"/>
                  <a:gd name="T41" fmla="*/ 41 h 8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3"/>
                  <a:gd name="T64" fmla="*/ 0 h 83"/>
                  <a:gd name="T65" fmla="*/ 83 w 83"/>
                  <a:gd name="T66" fmla="*/ 83 h 8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3" h="83">
                    <a:moveTo>
                      <a:pt x="83" y="41"/>
                    </a:moveTo>
                    <a:lnTo>
                      <a:pt x="81" y="28"/>
                    </a:lnTo>
                    <a:lnTo>
                      <a:pt x="76" y="17"/>
                    </a:lnTo>
                    <a:lnTo>
                      <a:pt x="66" y="8"/>
                    </a:lnTo>
                    <a:lnTo>
                      <a:pt x="55" y="2"/>
                    </a:lnTo>
                    <a:lnTo>
                      <a:pt x="42" y="0"/>
                    </a:lnTo>
                    <a:lnTo>
                      <a:pt x="28" y="2"/>
                    </a:lnTo>
                    <a:lnTo>
                      <a:pt x="17" y="8"/>
                    </a:lnTo>
                    <a:lnTo>
                      <a:pt x="8" y="17"/>
                    </a:lnTo>
                    <a:lnTo>
                      <a:pt x="2" y="28"/>
                    </a:lnTo>
                    <a:lnTo>
                      <a:pt x="0" y="41"/>
                    </a:lnTo>
                    <a:lnTo>
                      <a:pt x="2" y="55"/>
                    </a:lnTo>
                    <a:lnTo>
                      <a:pt x="8" y="67"/>
                    </a:lnTo>
                    <a:lnTo>
                      <a:pt x="17" y="75"/>
                    </a:lnTo>
                    <a:lnTo>
                      <a:pt x="28" y="81"/>
                    </a:lnTo>
                    <a:lnTo>
                      <a:pt x="42" y="83"/>
                    </a:lnTo>
                    <a:lnTo>
                      <a:pt x="55" y="81"/>
                    </a:lnTo>
                    <a:lnTo>
                      <a:pt x="66" y="75"/>
                    </a:lnTo>
                    <a:lnTo>
                      <a:pt x="76" y="67"/>
                    </a:lnTo>
                    <a:lnTo>
                      <a:pt x="81" y="55"/>
                    </a:lnTo>
                    <a:lnTo>
                      <a:pt x="83" y="41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5" name="Freeform 107"/>
              <p:cNvSpPr>
                <a:spLocks/>
              </p:cNvSpPr>
              <p:nvPr/>
            </p:nvSpPr>
            <p:spPr bwMode="auto">
              <a:xfrm>
                <a:off x="4152" y="2955"/>
                <a:ext cx="83" cy="84"/>
              </a:xfrm>
              <a:custGeom>
                <a:avLst/>
                <a:gdLst>
                  <a:gd name="T0" fmla="*/ 83 w 83"/>
                  <a:gd name="T1" fmla="*/ 43 h 84"/>
                  <a:gd name="T2" fmla="*/ 81 w 83"/>
                  <a:gd name="T3" fmla="*/ 29 h 84"/>
                  <a:gd name="T4" fmla="*/ 75 w 83"/>
                  <a:gd name="T5" fmla="*/ 18 h 84"/>
                  <a:gd name="T6" fmla="*/ 66 w 83"/>
                  <a:gd name="T7" fmla="*/ 8 h 84"/>
                  <a:gd name="T8" fmla="*/ 55 w 83"/>
                  <a:gd name="T9" fmla="*/ 3 h 84"/>
                  <a:gd name="T10" fmla="*/ 41 w 83"/>
                  <a:gd name="T11" fmla="*/ 0 h 84"/>
                  <a:gd name="T12" fmla="*/ 28 w 83"/>
                  <a:gd name="T13" fmla="*/ 3 h 84"/>
                  <a:gd name="T14" fmla="*/ 17 w 83"/>
                  <a:gd name="T15" fmla="*/ 8 h 84"/>
                  <a:gd name="T16" fmla="*/ 8 w 83"/>
                  <a:gd name="T17" fmla="*/ 18 h 84"/>
                  <a:gd name="T18" fmla="*/ 2 w 83"/>
                  <a:gd name="T19" fmla="*/ 29 h 84"/>
                  <a:gd name="T20" fmla="*/ 0 w 83"/>
                  <a:gd name="T21" fmla="*/ 43 h 84"/>
                  <a:gd name="T22" fmla="*/ 2 w 83"/>
                  <a:gd name="T23" fmla="*/ 56 h 84"/>
                  <a:gd name="T24" fmla="*/ 8 w 83"/>
                  <a:gd name="T25" fmla="*/ 67 h 84"/>
                  <a:gd name="T26" fmla="*/ 17 w 83"/>
                  <a:gd name="T27" fmla="*/ 77 h 84"/>
                  <a:gd name="T28" fmla="*/ 28 w 83"/>
                  <a:gd name="T29" fmla="*/ 82 h 84"/>
                  <a:gd name="T30" fmla="*/ 41 w 83"/>
                  <a:gd name="T31" fmla="*/ 84 h 84"/>
                  <a:gd name="T32" fmla="*/ 55 w 83"/>
                  <a:gd name="T33" fmla="*/ 82 h 84"/>
                  <a:gd name="T34" fmla="*/ 66 w 83"/>
                  <a:gd name="T35" fmla="*/ 77 h 84"/>
                  <a:gd name="T36" fmla="*/ 75 w 83"/>
                  <a:gd name="T37" fmla="*/ 67 h 84"/>
                  <a:gd name="T38" fmla="*/ 81 w 83"/>
                  <a:gd name="T39" fmla="*/ 56 h 84"/>
                  <a:gd name="T40" fmla="*/ 83 w 83"/>
                  <a:gd name="T41" fmla="*/ 43 h 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3"/>
                  <a:gd name="T64" fmla="*/ 0 h 84"/>
                  <a:gd name="T65" fmla="*/ 83 w 83"/>
                  <a:gd name="T66" fmla="*/ 84 h 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3" h="84">
                    <a:moveTo>
                      <a:pt x="83" y="43"/>
                    </a:moveTo>
                    <a:lnTo>
                      <a:pt x="81" y="29"/>
                    </a:lnTo>
                    <a:lnTo>
                      <a:pt x="75" y="18"/>
                    </a:lnTo>
                    <a:lnTo>
                      <a:pt x="66" y="8"/>
                    </a:lnTo>
                    <a:lnTo>
                      <a:pt x="55" y="3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7" y="8"/>
                    </a:lnTo>
                    <a:lnTo>
                      <a:pt x="8" y="18"/>
                    </a:lnTo>
                    <a:lnTo>
                      <a:pt x="2" y="29"/>
                    </a:lnTo>
                    <a:lnTo>
                      <a:pt x="0" y="43"/>
                    </a:lnTo>
                    <a:lnTo>
                      <a:pt x="2" y="56"/>
                    </a:lnTo>
                    <a:lnTo>
                      <a:pt x="8" y="67"/>
                    </a:lnTo>
                    <a:lnTo>
                      <a:pt x="17" y="77"/>
                    </a:lnTo>
                    <a:lnTo>
                      <a:pt x="28" y="82"/>
                    </a:lnTo>
                    <a:lnTo>
                      <a:pt x="41" y="84"/>
                    </a:lnTo>
                    <a:lnTo>
                      <a:pt x="55" y="82"/>
                    </a:lnTo>
                    <a:lnTo>
                      <a:pt x="66" y="77"/>
                    </a:lnTo>
                    <a:lnTo>
                      <a:pt x="75" y="67"/>
                    </a:lnTo>
                    <a:lnTo>
                      <a:pt x="81" y="56"/>
                    </a:lnTo>
                    <a:lnTo>
                      <a:pt x="83" y="4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6" name="Freeform 108"/>
              <p:cNvSpPr>
                <a:spLocks/>
              </p:cNvSpPr>
              <p:nvPr/>
            </p:nvSpPr>
            <p:spPr bwMode="auto">
              <a:xfrm>
                <a:off x="4152" y="2955"/>
                <a:ext cx="83" cy="84"/>
              </a:xfrm>
              <a:custGeom>
                <a:avLst/>
                <a:gdLst>
                  <a:gd name="T0" fmla="*/ 83 w 83"/>
                  <a:gd name="T1" fmla="*/ 43 h 84"/>
                  <a:gd name="T2" fmla="*/ 81 w 83"/>
                  <a:gd name="T3" fmla="*/ 29 h 84"/>
                  <a:gd name="T4" fmla="*/ 75 w 83"/>
                  <a:gd name="T5" fmla="*/ 18 h 84"/>
                  <a:gd name="T6" fmla="*/ 66 w 83"/>
                  <a:gd name="T7" fmla="*/ 8 h 84"/>
                  <a:gd name="T8" fmla="*/ 55 w 83"/>
                  <a:gd name="T9" fmla="*/ 3 h 84"/>
                  <a:gd name="T10" fmla="*/ 41 w 83"/>
                  <a:gd name="T11" fmla="*/ 0 h 84"/>
                  <a:gd name="T12" fmla="*/ 28 w 83"/>
                  <a:gd name="T13" fmla="*/ 3 h 84"/>
                  <a:gd name="T14" fmla="*/ 17 w 83"/>
                  <a:gd name="T15" fmla="*/ 8 h 84"/>
                  <a:gd name="T16" fmla="*/ 8 w 83"/>
                  <a:gd name="T17" fmla="*/ 18 h 84"/>
                  <a:gd name="T18" fmla="*/ 2 w 83"/>
                  <a:gd name="T19" fmla="*/ 29 h 84"/>
                  <a:gd name="T20" fmla="*/ 0 w 83"/>
                  <a:gd name="T21" fmla="*/ 43 h 84"/>
                  <a:gd name="T22" fmla="*/ 2 w 83"/>
                  <a:gd name="T23" fmla="*/ 56 h 84"/>
                  <a:gd name="T24" fmla="*/ 8 w 83"/>
                  <a:gd name="T25" fmla="*/ 67 h 84"/>
                  <a:gd name="T26" fmla="*/ 17 w 83"/>
                  <a:gd name="T27" fmla="*/ 77 h 84"/>
                  <a:gd name="T28" fmla="*/ 28 w 83"/>
                  <a:gd name="T29" fmla="*/ 82 h 84"/>
                  <a:gd name="T30" fmla="*/ 41 w 83"/>
                  <a:gd name="T31" fmla="*/ 84 h 84"/>
                  <a:gd name="T32" fmla="*/ 55 w 83"/>
                  <a:gd name="T33" fmla="*/ 82 h 84"/>
                  <a:gd name="T34" fmla="*/ 66 w 83"/>
                  <a:gd name="T35" fmla="*/ 77 h 84"/>
                  <a:gd name="T36" fmla="*/ 75 w 83"/>
                  <a:gd name="T37" fmla="*/ 67 h 84"/>
                  <a:gd name="T38" fmla="*/ 81 w 83"/>
                  <a:gd name="T39" fmla="*/ 56 h 84"/>
                  <a:gd name="T40" fmla="*/ 83 w 83"/>
                  <a:gd name="T41" fmla="*/ 43 h 8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3"/>
                  <a:gd name="T64" fmla="*/ 0 h 84"/>
                  <a:gd name="T65" fmla="*/ 83 w 83"/>
                  <a:gd name="T66" fmla="*/ 84 h 8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3" h="84">
                    <a:moveTo>
                      <a:pt x="83" y="43"/>
                    </a:moveTo>
                    <a:lnTo>
                      <a:pt x="81" y="29"/>
                    </a:lnTo>
                    <a:lnTo>
                      <a:pt x="75" y="18"/>
                    </a:lnTo>
                    <a:lnTo>
                      <a:pt x="66" y="8"/>
                    </a:lnTo>
                    <a:lnTo>
                      <a:pt x="55" y="3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7" y="8"/>
                    </a:lnTo>
                    <a:lnTo>
                      <a:pt x="8" y="18"/>
                    </a:lnTo>
                    <a:lnTo>
                      <a:pt x="2" y="29"/>
                    </a:lnTo>
                    <a:lnTo>
                      <a:pt x="0" y="43"/>
                    </a:lnTo>
                    <a:lnTo>
                      <a:pt x="2" y="56"/>
                    </a:lnTo>
                    <a:lnTo>
                      <a:pt x="8" y="67"/>
                    </a:lnTo>
                    <a:lnTo>
                      <a:pt x="17" y="77"/>
                    </a:lnTo>
                    <a:lnTo>
                      <a:pt x="28" y="82"/>
                    </a:lnTo>
                    <a:lnTo>
                      <a:pt x="41" y="84"/>
                    </a:lnTo>
                    <a:lnTo>
                      <a:pt x="55" y="82"/>
                    </a:lnTo>
                    <a:lnTo>
                      <a:pt x="66" y="77"/>
                    </a:lnTo>
                    <a:lnTo>
                      <a:pt x="75" y="67"/>
                    </a:lnTo>
                    <a:lnTo>
                      <a:pt x="81" y="56"/>
                    </a:lnTo>
                    <a:lnTo>
                      <a:pt x="83" y="4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7" name="Freeform 109"/>
              <p:cNvSpPr>
                <a:spLocks/>
              </p:cNvSpPr>
              <p:nvPr/>
            </p:nvSpPr>
            <p:spPr bwMode="auto">
              <a:xfrm>
                <a:off x="3800" y="2707"/>
                <a:ext cx="80" cy="80"/>
              </a:xfrm>
              <a:custGeom>
                <a:avLst/>
                <a:gdLst>
                  <a:gd name="T0" fmla="*/ 80 w 80"/>
                  <a:gd name="T1" fmla="*/ 40 h 80"/>
                  <a:gd name="T2" fmla="*/ 77 w 80"/>
                  <a:gd name="T3" fmla="*/ 28 h 80"/>
                  <a:gd name="T4" fmla="*/ 72 w 80"/>
                  <a:gd name="T5" fmla="*/ 17 h 80"/>
                  <a:gd name="T6" fmla="*/ 63 w 80"/>
                  <a:gd name="T7" fmla="*/ 8 h 80"/>
                  <a:gd name="T8" fmla="*/ 52 w 80"/>
                  <a:gd name="T9" fmla="*/ 2 h 80"/>
                  <a:gd name="T10" fmla="*/ 40 w 80"/>
                  <a:gd name="T11" fmla="*/ 0 h 80"/>
                  <a:gd name="T12" fmla="*/ 27 w 80"/>
                  <a:gd name="T13" fmla="*/ 2 h 80"/>
                  <a:gd name="T14" fmla="*/ 16 w 80"/>
                  <a:gd name="T15" fmla="*/ 8 h 80"/>
                  <a:gd name="T16" fmla="*/ 8 w 80"/>
                  <a:gd name="T17" fmla="*/ 17 h 80"/>
                  <a:gd name="T18" fmla="*/ 2 w 80"/>
                  <a:gd name="T19" fmla="*/ 28 h 80"/>
                  <a:gd name="T20" fmla="*/ 0 w 80"/>
                  <a:gd name="T21" fmla="*/ 40 h 80"/>
                  <a:gd name="T22" fmla="*/ 2 w 80"/>
                  <a:gd name="T23" fmla="*/ 53 h 80"/>
                  <a:gd name="T24" fmla="*/ 8 w 80"/>
                  <a:gd name="T25" fmla="*/ 64 h 80"/>
                  <a:gd name="T26" fmla="*/ 16 w 80"/>
                  <a:gd name="T27" fmla="*/ 72 h 80"/>
                  <a:gd name="T28" fmla="*/ 27 w 80"/>
                  <a:gd name="T29" fmla="*/ 78 h 80"/>
                  <a:gd name="T30" fmla="*/ 40 w 80"/>
                  <a:gd name="T31" fmla="*/ 80 h 80"/>
                  <a:gd name="T32" fmla="*/ 52 w 80"/>
                  <a:gd name="T33" fmla="*/ 78 h 80"/>
                  <a:gd name="T34" fmla="*/ 63 w 80"/>
                  <a:gd name="T35" fmla="*/ 72 h 80"/>
                  <a:gd name="T36" fmla="*/ 72 w 80"/>
                  <a:gd name="T37" fmla="*/ 64 h 80"/>
                  <a:gd name="T38" fmla="*/ 77 w 80"/>
                  <a:gd name="T39" fmla="*/ 53 h 80"/>
                  <a:gd name="T40" fmla="*/ 80 w 80"/>
                  <a:gd name="T41" fmla="*/ 40 h 8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0"/>
                  <a:gd name="T64" fmla="*/ 0 h 80"/>
                  <a:gd name="T65" fmla="*/ 80 w 80"/>
                  <a:gd name="T66" fmla="*/ 80 h 8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0" h="80">
                    <a:moveTo>
                      <a:pt x="80" y="40"/>
                    </a:moveTo>
                    <a:lnTo>
                      <a:pt x="77" y="28"/>
                    </a:lnTo>
                    <a:lnTo>
                      <a:pt x="72" y="17"/>
                    </a:lnTo>
                    <a:lnTo>
                      <a:pt x="63" y="8"/>
                    </a:lnTo>
                    <a:lnTo>
                      <a:pt x="52" y="2"/>
                    </a:lnTo>
                    <a:lnTo>
                      <a:pt x="40" y="0"/>
                    </a:lnTo>
                    <a:lnTo>
                      <a:pt x="27" y="2"/>
                    </a:lnTo>
                    <a:lnTo>
                      <a:pt x="16" y="8"/>
                    </a:lnTo>
                    <a:lnTo>
                      <a:pt x="8" y="17"/>
                    </a:lnTo>
                    <a:lnTo>
                      <a:pt x="2" y="28"/>
                    </a:lnTo>
                    <a:lnTo>
                      <a:pt x="0" y="40"/>
                    </a:lnTo>
                    <a:lnTo>
                      <a:pt x="2" y="53"/>
                    </a:lnTo>
                    <a:lnTo>
                      <a:pt x="8" y="64"/>
                    </a:lnTo>
                    <a:lnTo>
                      <a:pt x="16" y="72"/>
                    </a:lnTo>
                    <a:lnTo>
                      <a:pt x="27" y="78"/>
                    </a:lnTo>
                    <a:lnTo>
                      <a:pt x="40" y="80"/>
                    </a:lnTo>
                    <a:lnTo>
                      <a:pt x="52" y="78"/>
                    </a:lnTo>
                    <a:lnTo>
                      <a:pt x="63" y="72"/>
                    </a:lnTo>
                    <a:lnTo>
                      <a:pt x="72" y="64"/>
                    </a:lnTo>
                    <a:lnTo>
                      <a:pt x="77" y="53"/>
                    </a:lnTo>
                    <a:lnTo>
                      <a:pt x="80" y="4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8" name="Freeform 110"/>
              <p:cNvSpPr>
                <a:spLocks/>
              </p:cNvSpPr>
              <p:nvPr/>
            </p:nvSpPr>
            <p:spPr bwMode="auto">
              <a:xfrm>
                <a:off x="3800" y="2707"/>
                <a:ext cx="80" cy="80"/>
              </a:xfrm>
              <a:custGeom>
                <a:avLst/>
                <a:gdLst>
                  <a:gd name="T0" fmla="*/ 80 w 80"/>
                  <a:gd name="T1" fmla="*/ 40 h 80"/>
                  <a:gd name="T2" fmla="*/ 77 w 80"/>
                  <a:gd name="T3" fmla="*/ 28 h 80"/>
                  <a:gd name="T4" fmla="*/ 72 w 80"/>
                  <a:gd name="T5" fmla="*/ 17 h 80"/>
                  <a:gd name="T6" fmla="*/ 63 w 80"/>
                  <a:gd name="T7" fmla="*/ 8 h 80"/>
                  <a:gd name="T8" fmla="*/ 52 w 80"/>
                  <a:gd name="T9" fmla="*/ 2 h 80"/>
                  <a:gd name="T10" fmla="*/ 40 w 80"/>
                  <a:gd name="T11" fmla="*/ 0 h 80"/>
                  <a:gd name="T12" fmla="*/ 27 w 80"/>
                  <a:gd name="T13" fmla="*/ 2 h 80"/>
                  <a:gd name="T14" fmla="*/ 16 w 80"/>
                  <a:gd name="T15" fmla="*/ 8 h 80"/>
                  <a:gd name="T16" fmla="*/ 8 w 80"/>
                  <a:gd name="T17" fmla="*/ 17 h 80"/>
                  <a:gd name="T18" fmla="*/ 2 w 80"/>
                  <a:gd name="T19" fmla="*/ 28 h 80"/>
                  <a:gd name="T20" fmla="*/ 0 w 80"/>
                  <a:gd name="T21" fmla="*/ 40 h 80"/>
                  <a:gd name="T22" fmla="*/ 2 w 80"/>
                  <a:gd name="T23" fmla="*/ 53 h 80"/>
                  <a:gd name="T24" fmla="*/ 8 w 80"/>
                  <a:gd name="T25" fmla="*/ 64 h 80"/>
                  <a:gd name="T26" fmla="*/ 16 w 80"/>
                  <a:gd name="T27" fmla="*/ 72 h 80"/>
                  <a:gd name="T28" fmla="*/ 27 w 80"/>
                  <a:gd name="T29" fmla="*/ 78 h 80"/>
                  <a:gd name="T30" fmla="*/ 40 w 80"/>
                  <a:gd name="T31" fmla="*/ 80 h 80"/>
                  <a:gd name="T32" fmla="*/ 52 w 80"/>
                  <a:gd name="T33" fmla="*/ 78 h 80"/>
                  <a:gd name="T34" fmla="*/ 63 w 80"/>
                  <a:gd name="T35" fmla="*/ 72 h 80"/>
                  <a:gd name="T36" fmla="*/ 72 w 80"/>
                  <a:gd name="T37" fmla="*/ 64 h 80"/>
                  <a:gd name="T38" fmla="*/ 77 w 80"/>
                  <a:gd name="T39" fmla="*/ 53 h 80"/>
                  <a:gd name="T40" fmla="*/ 80 w 80"/>
                  <a:gd name="T41" fmla="*/ 40 h 8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0"/>
                  <a:gd name="T64" fmla="*/ 0 h 80"/>
                  <a:gd name="T65" fmla="*/ 80 w 80"/>
                  <a:gd name="T66" fmla="*/ 80 h 8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0" h="80">
                    <a:moveTo>
                      <a:pt x="80" y="40"/>
                    </a:moveTo>
                    <a:lnTo>
                      <a:pt x="77" y="28"/>
                    </a:lnTo>
                    <a:lnTo>
                      <a:pt x="72" y="17"/>
                    </a:lnTo>
                    <a:lnTo>
                      <a:pt x="63" y="8"/>
                    </a:lnTo>
                    <a:lnTo>
                      <a:pt x="52" y="2"/>
                    </a:lnTo>
                    <a:lnTo>
                      <a:pt x="40" y="0"/>
                    </a:lnTo>
                    <a:lnTo>
                      <a:pt x="27" y="2"/>
                    </a:lnTo>
                    <a:lnTo>
                      <a:pt x="16" y="8"/>
                    </a:lnTo>
                    <a:lnTo>
                      <a:pt x="8" y="17"/>
                    </a:lnTo>
                    <a:lnTo>
                      <a:pt x="2" y="28"/>
                    </a:lnTo>
                    <a:lnTo>
                      <a:pt x="0" y="40"/>
                    </a:lnTo>
                    <a:lnTo>
                      <a:pt x="2" y="53"/>
                    </a:lnTo>
                    <a:lnTo>
                      <a:pt x="8" y="64"/>
                    </a:lnTo>
                    <a:lnTo>
                      <a:pt x="16" y="72"/>
                    </a:lnTo>
                    <a:lnTo>
                      <a:pt x="27" y="78"/>
                    </a:lnTo>
                    <a:lnTo>
                      <a:pt x="40" y="80"/>
                    </a:lnTo>
                    <a:lnTo>
                      <a:pt x="52" y="78"/>
                    </a:lnTo>
                    <a:lnTo>
                      <a:pt x="63" y="72"/>
                    </a:lnTo>
                    <a:lnTo>
                      <a:pt x="72" y="64"/>
                    </a:lnTo>
                    <a:lnTo>
                      <a:pt x="77" y="53"/>
                    </a:lnTo>
                    <a:lnTo>
                      <a:pt x="80" y="4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59" name="Freeform 111"/>
              <p:cNvSpPr>
                <a:spLocks/>
              </p:cNvSpPr>
              <p:nvPr/>
            </p:nvSpPr>
            <p:spPr bwMode="auto">
              <a:xfrm>
                <a:off x="4368" y="2922"/>
                <a:ext cx="78" cy="78"/>
              </a:xfrm>
              <a:custGeom>
                <a:avLst/>
                <a:gdLst>
                  <a:gd name="T0" fmla="*/ 78 w 78"/>
                  <a:gd name="T1" fmla="*/ 39 h 78"/>
                  <a:gd name="T2" fmla="*/ 75 w 78"/>
                  <a:gd name="T3" fmla="*/ 26 h 78"/>
                  <a:gd name="T4" fmla="*/ 70 w 78"/>
                  <a:gd name="T5" fmla="*/ 16 h 78"/>
                  <a:gd name="T6" fmla="*/ 62 w 78"/>
                  <a:gd name="T7" fmla="*/ 7 h 78"/>
                  <a:gd name="T8" fmla="*/ 51 w 78"/>
                  <a:gd name="T9" fmla="*/ 2 h 78"/>
                  <a:gd name="T10" fmla="*/ 38 w 78"/>
                  <a:gd name="T11" fmla="*/ 0 h 78"/>
                  <a:gd name="T12" fmla="*/ 26 w 78"/>
                  <a:gd name="T13" fmla="*/ 2 h 78"/>
                  <a:gd name="T14" fmla="*/ 15 w 78"/>
                  <a:gd name="T15" fmla="*/ 7 h 78"/>
                  <a:gd name="T16" fmla="*/ 7 w 78"/>
                  <a:gd name="T17" fmla="*/ 16 h 78"/>
                  <a:gd name="T18" fmla="*/ 2 w 78"/>
                  <a:gd name="T19" fmla="*/ 26 h 78"/>
                  <a:gd name="T20" fmla="*/ 0 w 78"/>
                  <a:gd name="T21" fmla="*/ 39 h 78"/>
                  <a:gd name="T22" fmla="*/ 2 w 78"/>
                  <a:gd name="T23" fmla="*/ 51 h 78"/>
                  <a:gd name="T24" fmla="*/ 7 w 78"/>
                  <a:gd name="T25" fmla="*/ 62 h 78"/>
                  <a:gd name="T26" fmla="*/ 15 w 78"/>
                  <a:gd name="T27" fmla="*/ 70 h 78"/>
                  <a:gd name="T28" fmla="*/ 26 w 78"/>
                  <a:gd name="T29" fmla="*/ 76 h 78"/>
                  <a:gd name="T30" fmla="*/ 38 w 78"/>
                  <a:gd name="T31" fmla="*/ 78 h 78"/>
                  <a:gd name="T32" fmla="*/ 51 w 78"/>
                  <a:gd name="T33" fmla="*/ 76 h 78"/>
                  <a:gd name="T34" fmla="*/ 62 w 78"/>
                  <a:gd name="T35" fmla="*/ 70 h 78"/>
                  <a:gd name="T36" fmla="*/ 70 w 78"/>
                  <a:gd name="T37" fmla="*/ 62 h 78"/>
                  <a:gd name="T38" fmla="*/ 75 w 78"/>
                  <a:gd name="T39" fmla="*/ 51 h 78"/>
                  <a:gd name="T40" fmla="*/ 78 w 78"/>
                  <a:gd name="T41" fmla="*/ 39 h 7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8"/>
                  <a:gd name="T64" fmla="*/ 0 h 78"/>
                  <a:gd name="T65" fmla="*/ 78 w 78"/>
                  <a:gd name="T66" fmla="*/ 78 h 7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8" h="78">
                    <a:moveTo>
                      <a:pt x="78" y="39"/>
                    </a:moveTo>
                    <a:lnTo>
                      <a:pt x="75" y="26"/>
                    </a:lnTo>
                    <a:lnTo>
                      <a:pt x="70" y="16"/>
                    </a:lnTo>
                    <a:lnTo>
                      <a:pt x="62" y="7"/>
                    </a:lnTo>
                    <a:lnTo>
                      <a:pt x="51" y="2"/>
                    </a:lnTo>
                    <a:lnTo>
                      <a:pt x="38" y="0"/>
                    </a:lnTo>
                    <a:lnTo>
                      <a:pt x="26" y="2"/>
                    </a:lnTo>
                    <a:lnTo>
                      <a:pt x="15" y="7"/>
                    </a:lnTo>
                    <a:lnTo>
                      <a:pt x="7" y="16"/>
                    </a:lnTo>
                    <a:lnTo>
                      <a:pt x="2" y="26"/>
                    </a:lnTo>
                    <a:lnTo>
                      <a:pt x="0" y="39"/>
                    </a:lnTo>
                    <a:lnTo>
                      <a:pt x="2" y="51"/>
                    </a:lnTo>
                    <a:lnTo>
                      <a:pt x="7" y="62"/>
                    </a:lnTo>
                    <a:lnTo>
                      <a:pt x="15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5" y="51"/>
                    </a:lnTo>
                    <a:lnTo>
                      <a:pt x="78" y="39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0" name="Freeform 112"/>
              <p:cNvSpPr>
                <a:spLocks/>
              </p:cNvSpPr>
              <p:nvPr/>
            </p:nvSpPr>
            <p:spPr bwMode="auto">
              <a:xfrm>
                <a:off x="4368" y="2922"/>
                <a:ext cx="78" cy="78"/>
              </a:xfrm>
              <a:custGeom>
                <a:avLst/>
                <a:gdLst>
                  <a:gd name="T0" fmla="*/ 78 w 78"/>
                  <a:gd name="T1" fmla="*/ 39 h 78"/>
                  <a:gd name="T2" fmla="*/ 75 w 78"/>
                  <a:gd name="T3" fmla="*/ 26 h 78"/>
                  <a:gd name="T4" fmla="*/ 70 w 78"/>
                  <a:gd name="T5" fmla="*/ 16 h 78"/>
                  <a:gd name="T6" fmla="*/ 62 w 78"/>
                  <a:gd name="T7" fmla="*/ 7 h 78"/>
                  <a:gd name="T8" fmla="*/ 51 w 78"/>
                  <a:gd name="T9" fmla="*/ 2 h 78"/>
                  <a:gd name="T10" fmla="*/ 38 w 78"/>
                  <a:gd name="T11" fmla="*/ 0 h 78"/>
                  <a:gd name="T12" fmla="*/ 26 w 78"/>
                  <a:gd name="T13" fmla="*/ 2 h 78"/>
                  <a:gd name="T14" fmla="*/ 15 w 78"/>
                  <a:gd name="T15" fmla="*/ 7 h 78"/>
                  <a:gd name="T16" fmla="*/ 7 w 78"/>
                  <a:gd name="T17" fmla="*/ 16 h 78"/>
                  <a:gd name="T18" fmla="*/ 2 w 78"/>
                  <a:gd name="T19" fmla="*/ 26 h 78"/>
                  <a:gd name="T20" fmla="*/ 0 w 78"/>
                  <a:gd name="T21" fmla="*/ 39 h 78"/>
                  <a:gd name="T22" fmla="*/ 2 w 78"/>
                  <a:gd name="T23" fmla="*/ 51 h 78"/>
                  <a:gd name="T24" fmla="*/ 7 w 78"/>
                  <a:gd name="T25" fmla="*/ 62 h 78"/>
                  <a:gd name="T26" fmla="*/ 15 w 78"/>
                  <a:gd name="T27" fmla="*/ 70 h 78"/>
                  <a:gd name="T28" fmla="*/ 26 w 78"/>
                  <a:gd name="T29" fmla="*/ 76 h 78"/>
                  <a:gd name="T30" fmla="*/ 38 w 78"/>
                  <a:gd name="T31" fmla="*/ 78 h 78"/>
                  <a:gd name="T32" fmla="*/ 51 w 78"/>
                  <a:gd name="T33" fmla="*/ 76 h 78"/>
                  <a:gd name="T34" fmla="*/ 62 w 78"/>
                  <a:gd name="T35" fmla="*/ 70 h 78"/>
                  <a:gd name="T36" fmla="*/ 70 w 78"/>
                  <a:gd name="T37" fmla="*/ 62 h 78"/>
                  <a:gd name="T38" fmla="*/ 75 w 78"/>
                  <a:gd name="T39" fmla="*/ 51 h 78"/>
                  <a:gd name="T40" fmla="*/ 78 w 78"/>
                  <a:gd name="T41" fmla="*/ 39 h 7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8"/>
                  <a:gd name="T64" fmla="*/ 0 h 78"/>
                  <a:gd name="T65" fmla="*/ 78 w 78"/>
                  <a:gd name="T66" fmla="*/ 78 h 7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8" h="78">
                    <a:moveTo>
                      <a:pt x="78" y="39"/>
                    </a:moveTo>
                    <a:lnTo>
                      <a:pt x="75" y="26"/>
                    </a:lnTo>
                    <a:lnTo>
                      <a:pt x="70" y="16"/>
                    </a:lnTo>
                    <a:lnTo>
                      <a:pt x="62" y="7"/>
                    </a:lnTo>
                    <a:lnTo>
                      <a:pt x="51" y="2"/>
                    </a:lnTo>
                    <a:lnTo>
                      <a:pt x="38" y="0"/>
                    </a:lnTo>
                    <a:lnTo>
                      <a:pt x="26" y="2"/>
                    </a:lnTo>
                    <a:lnTo>
                      <a:pt x="15" y="7"/>
                    </a:lnTo>
                    <a:lnTo>
                      <a:pt x="7" y="16"/>
                    </a:lnTo>
                    <a:lnTo>
                      <a:pt x="2" y="26"/>
                    </a:lnTo>
                    <a:lnTo>
                      <a:pt x="0" y="39"/>
                    </a:lnTo>
                    <a:lnTo>
                      <a:pt x="2" y="51"/>
                    </a:lnTo>
                    <a:lnTo>
                      <a:pt x="7" y="62"/>
                    </a:lnTo>
                    <a:lnTo>
                      <a:pt x="15" y="70"/>
                    </a:lnTo>
                    <a:lnTo>
                      <a:pt x="26" y="76"/>
                    </a:lnTo>
                    <a:lnTo>
                      <a:pt x="38" y="78"/>
                    </a:lnTo>
                    <a:lnTo>
                      <a:pt x="51" y="76"/>
                    </a:lnTo>
                    <a:lnTo>
                      <a:pt x="62" y="70"/>
                    </a:lnTo>
                    <a:lnTo>
                      <a:pt x="70" y="62"/>
                    </a:lnTo>
                    <a:lnTo>
                      <a:pt x="75" y="51"/>
                    </a:lnTo>
                    <a:lnTo>
                      <a:pt x="78" y="39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1" name="Freeform 113"/>
              <p:cNvSpPr>
                <a:spLocks/>
              </p:cNvSpPr>
              <p:nvPr/>
            </p:nvSpPr>
            <p:spPr bwMode="auto">
              <a:xfrm>
                <a:off x="3747" y="2765"/>
                <a:ext cx="78" cy="77"/>
              </a:xfrm>
              <a:custGeom>
                <a:avLst/>
                <a:gdLst>
                  <a:gd name="T0" fmla="*/ 78 w 78"/>
                  <a:gd name="T1" fmla="*/ 39 h 77"/>
                  <a:gd name="T2" fmla="*/ 75 w 78"/>
                  <a:gd name="T3" fmla="*/ 27 h 77"/>
                  <a:gd name="T4" fmla="*/ 71 w 78"/>
                  <a:gd name="T5" fmla="*/ 16 h 77"/>
                  <a:gd name="T6" fmla="*/ 62 w 78"/>
                  <a:gd name="T7" fmla="*/ 7 h 77"/>
                  <a:gd name="T8" fmla="*/ 51 w 78"/>
                  <a:gd name="T9" fmla="*/ 3 h 77"/>
                  <a:gd name="T10" fmla="*/ 39 w 78"/>
                  <a:gd name="T11" fmla="*/ 0 h 77"/>
                  <a:gd name="T12" fmla="*/ 27 w 78"/>
                  <a:gd name="T13" fmla="*/ 3 h 77"/>
                  <a:gd name="T14" fmla="*/ 16 w 78"/>
                  <a:gd name="T15" fmla="*/ 7 h 77"/>
                  <a:gd name="T16" fmla="*/ 8 w 78"/>
                  <a:gd name="T17" fmla="*/ 16 h 77"/>
                  <a:gd name="T18" fmla="*/ 2 w 78"/>
                  <a:gd name="T19" fmla="*/ 27 h 77"/>
                  <a:gd name="T20" fmla="*/ 0 w 78"/>
                  <a:gd name="T21" fmla="*/ 39 h 77"/>
                  <a:gd name="T22" fmla="*/ 2 w 78"/>
                  <a:gd name="T23" fmla="*/ 51 h 77"/>
                  <a:gd name="T24" fmla="*/ 8 w 78"/>
                  <a:gd name="T25" fmla="*/ 62 h 77"/>
                  <a:gd name="T26" fmla="*/ 16 w 78"/>
                  <a:gd name="T27" fmla="*/ 70 h 77"/>
                  <a:gd name="T28" fmla="*/ 27 w 78"/>
                  <a:gd name="T29" fmla="*/ 75 h 77"/>
                  <a:gd name="T30" fmla="*/ 39 w 78"/>
                  <a:gd name="T31" fmla="*/ 77 h 77"/>
                  <a:gd name="T32" fmla="*/ 51 w 78"/>
                  <a:gd name="T33" fmla="*/ 75 h 77"/>
                  <a:gd name="T34" fmla="*/ 62 w 78"/>
                  <a:gd name="T35" fmla="*/ 70 h 77"/>
                  <a:gd name="T36" fmla="*/ 71 w 78"/>
                  <a:gd name="T37" fmla="*/ 62 h 77"/>
                  <a:gd name="T38" fmla="*/ 75 w 78"/>
                  <a:gd name="T39" fmla="*/ 51 h 77"/>
                  <a:gd name="T40" fmla="*/ 78 w 78"/>
                  <a:gd name="T41" fmla="*/ 39 h 7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8"/>
                  <a:gd name="T64" fmla="*/ 0 h 77"/>
                  <a:gd name="T65" fmla="*/ 78 w 78"/>
                  <a:gd name="T66" fmla="*/ 77 h 7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8" h="77">
                    <a:moveTo>
                      <a:pt x="78" y="39"/>
                    </a:moveTo>
                    <a:lnTo>
                      <a:pt x="75" y="27"/>
                    </a:lnTo>
                    <a:lnTo>
                      <a:pt x="71" y="16"/>
                    </a:lnTo>
                    <a:lnTo>
                      <a:pt x="62" y="7"/>
                    </a:lnTo>
                    <a:lnTo>
                      <a:pt x="51" y="3"/>
                    </a:lnTo>
                    <a:lnTo>
                      <a:pt x="39" y="0"/>
                    </a:lnTo>
                    <a:lnTo>
                      <a:pt x="27" y="3"/>
                    </a:lnTo>
                    <a:lnTo>
                      <a:pt x="16" y="7"/>
                    </a:lnTo>
                    <a:lnTo>
                      <a:pt x="8" y="16"/>
                    </a:lnTo>
                    <a:lnTo>
                      <a:pt x="2" y="27"/>
                    </a:lnTo>
                    <a:lnTo>
                      <a:pt x="0" y="39"/>
                    </a:lnTo>
                    <a:lnTo>
                      <a:pt x="2" y="51"/>
                    </a:lnTo>
                    <a:lnTo>
                      <a:pt x="8" y="62"/>
                    </a:lnTo>
                    <a:lnTo>
                      <a:pt x="16" y="70"/>
                    </a:lnTo>
                    <a:lnTo>
                      <a:pt x="27" y="75"/>
                    </a:lnTo>
                    <a:lnTo>
                      <a:pt x="39" y="77"/>
                    </a:lnTo>
                    <a:lnTo>
                      <a:pt x="51" y="75"/>
                    </a:lnTo>
                    <a:lnTo>
                      <a:pt x="62" y="70"/>
                    </a:lnTo>
                    <a:lnTo>
                      <a:pt x="71" y="62"/>
                    </a:lnTo>
                    <a:lnTo>
                      <a:pt x="75" y="51"/>
                    </a:lnTo>
                    <a:lnTo>
                      <a:pt x="78" y="39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2" name="Freeform 114"/>
              <p:cNvSpPr>
                <a:spLocks/>
              </p:cNvSpPr>
              <p:nvPr/>
            </p:nvSpPr>
            <p:spPr bwMode="auto">
              <a:xfrm>
                <a:off x="3747" y="2765"/>
                <a:ext cx="78" cy="77"/>
              </a:xfrm>
              <a:custGeom>
                <a:avLst/>
                <a:gdLst>
                  <a:gd name="T0" fmla="*/ 78 w 78"/>
                  <a:gd name="T1" fmla="*/ 39 h 77"/>
                  <a:gd name="T2" fmla="*/ 75 w 78"/>
                  <a:gd name="T3" fmla="*/ 27 h 77"/>
                  <a:gd name="T4" fmla="*/ 71 w 78"/>
                  <a:gd name="T5" fmla="*/ 16 h 77"/>
                  <a:gd name="T6" fmla="*/ 62 w 78"/>
                  <a:gd name="T7" fmla="*/ 7 h 77"/>
                  <a:gd name="T8" fmla="*/ 51 w 78"/>
                  <a:gd name="T9" fmla="*/ 3 h 77"/>
                  <a:gd name="T10" fmla="*/ 39 w 78"/>
                  <a:gd name="T11" fmla="*/ 0 h 77"/>
                  <a:gd name="T12" fmla="*/ 27 w 78"/>
                  <a:gd name="T13" fmla="*/ 3 h 77"/>
                  <a:gd name="T14" fmla="*/ 16 w 78"/>
                  <a:gd name="T15" fmla="*/ 7 h 77"/>
                  <a:gd name="T16" fmla="*/ 8 w 78"/>
                  <a:gd name="T17" fmla="*/ 16 h 77"/>
                  <a:gd name="T18" fmla="*/ 2 w 78"/>
                  <a:gd name="T19" fmla="*/ 27 h 77"/>
                  <a:gd name="T20" fmla="*/ 0 w 78"/>
                  <a:gd name="T21" fmla="*/ 39 h 77"/>
                  <a:gd name="T22" fmla="*/ 2 w 78"/>
                  <a:gd name="T23" fmla="*/ 51 h 77"/>
                  <a:gd name="T24" fmla="*/ 8 w 78"/>
                  <a:gd name="T25" fmla="*/ 62 h 77"/>
                  <a:gd name="T26" fmla="*/ 16 w 78"/>
                  <a:gd name="T27" fmla="*/ 70 h 77"/>
                  <a:gd name="T28" fmla="*/ 27 w 78"/>
                  <a:gd name="T29" fmla="*/ 75 h 77"/>
                  <a:gd name="T30" fmla="*/ 39 w 78"/>
                  <a:gd name="T31" fmla="*/ 77 h 77"/>
                  <a:gd name="T32" fmla="*/ 51 w 78"/>
                  <a:gd name="T33" fmla="*/ 75 h 77"/>
                  <a:gd name="T34" fmla="*/ 62 w 78"/>
                  <a:gd name="T35" fmla="*/ 70 h 77"/>
                  <a:gd name="T36" fmla="*/ 71 w 78"/>
                  <a:gd name="T37" fmla="*/ 62 h 77"/>
                  <a:gd name="T38" fmla="*/ 75 w 78"/>
                  <a:gd name="T39" fmla="*/ 51 h 77"/>
                  <a:gd name="T40" fmla="*/ 78 w 78"/>
                  <a:gd name="T41" fmla="*/ 39 h 7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8"/>
                  <a:gd name="T64" fmla="*/ 0 h 77"/>
                  <a:gd name="T65" fmla="*/ 78 w 78"/>
                  <a:gd name="T66" fmla="*/ 77 h 7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8" h="77">
                    <a:moveTo>
                      <a:pt x="78" y="39"/>
                    </a:moveTo>
                    <a:lnTo>
                      <a:pt x="75" y="27"/>
                    </a:lnTo>
                    <a:lnTo>
                      <a:pt x="71" y="16"/>
                    </a:lnTo>
                    <a:lnTo>
                      <a:pt x="62" y="7"/>
                    </a:lnTo>
                    <a:lnTo>
                      <a:pt x="51" y="3"/>
                    </a:lnTo>
                    <a:lnTo>
                      <a:pt x="39" y="0"/>
                    </a:lnTo>
                    <a:lnTo>
                      <a:pt x="27" y="3"/>
                    </a:lnTo>
                    <a:lnTo>
                      <a:pt x="16" y="7"/>
                    </a:lnTo>
                    <a:lnTo>
                      <a:pt x="8" y="16"/>
                    </a:lnTo>
                    <a:lnTo>
                      <a:pt x="2" y="27"/>
                    </a:lnTo>
                    <a:lnTo>
                      <a:pt x="0" y="39"/>
                    </a:lnTo>
                    <a:lnTo>
                      <a:pt x="2" y="51"/>
                    </a:lnTo>
                    <a:lnTo>
                      <a:pt x="8" y="62"/>
                    </a:lnTo>
                    <a:lnTo>
                      <a:pt x="16" y="70"/>
                    </a:lnTo>
                    <a:lnTo>
                      <a:pt x="27" y="75"/>
                    </a:lnTo>
                    <a:lnTo>
                      <a:pt x="39" y="77"/>
                    </a:lnTo>
                    <a:lnTo>
                      <a:pt x="51" y="75"/>
                    </a:lnTo>
                    <a:lnTo>
                      <a:pt x="62" y="70"/>
                    </a:lnTo>
                    <a:lnTo>
                      <a:pt x="71" y="62"/>
                    </a:lnTo>
                    <a:lnTo>
                      <a:pt x="75" y="51"/>
                    </a:lnTo>
                    <a:lnTo>
                      <a:pt x="78" y="39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3" name="Freeform 115"/>
              <p:cNvSpPr>
                <a:spLocks/>
              </p:cNvSpPr>
              <p:nvPr/>
            </p:nvSpPr>
            <p:spPr bwMode="auto">
              <a:xfrm>
                <a:off x="4010" y="2871"/>
                <a:ext cx="76" cy="77"/>
              </a:xfrm>
              <a:custGeom>
                <a:avLst/>
                <a:gdLst>
                  <a:gd name="T0" fmla="*/ 76 w 76"/>
                  <a:gd name="T1" fmla="*/ 38 h 77"/>
                  <a:gd name="T2" fmla="*/ 74 w 76"/>
                  <a:gd name="T3" fmla="*/ 26 h 77"/>
                  <a:gd name="T4" fmla="*/ 69 w 76"/>
                  <a:gd name="T5" fmla="*/ 15 h 77"/>
                  <a:gd name="T6" fmla="*/ 61 w 76"/>
                  <a:gd name="T7" fmla="*/ 7 h 77"/>
                  <a:gd name="T8" fmla="*/ 50 w 76"/>
                  <a:gd name="T9" fmla="*/ 2 h 77"/>
                  <a:gd name="T10" fmla="*/ 38 w 76"/>
                  <a:gd name="T11" fmla="*/ 0 h 77"/>
                  <a:gd name="T12" fmla="*/ 26 w 76"/>
                  <a:gd name="T13" fmla="*/ 2 h 77"/>
                  <a:gd name="T14" fmla="*/ 15 w 76"/>
                  <a:gd name="T15" fmla="*/ 7 h 77"/>
                  <a:gd name="T16" fmla="*/ 7 w 76"/>
                  <a:gd name="T17" fmla="*/ 15 h 77"/>
                  <a:gd name="T18" fmla="*/ 2 w 76"/>
                  <a:gd name="T19" fmla="*/ 26 h 77"/>
                  <a:gd name="T20" fmla="*/ 0 w 76"/>
                  <a:gd name="T21" fmla="*/ 38 h 77"/>
                  <a:gd name="T22" fmla="*/ 2 w 76"/>
                  <a:gd name="T23" fmla="*/ 50 h 77"/>
                  <a:gd name="T24" fmla="*/ 7 w 76"/>
                  <a:gd name="T25" fmla="*/ 61 h 77"/>
                  <a:gd name="T26" fmla="*/ 15 w 76"/>
                  <a:gd name="T27" fmla="*/ 69 h 77"/>
                  <a:gd name="T28" fmla="*/ 26 w 76"/>
                  <a:gd name="T29" fmla="*/ 74 h 77"/>
                  <a:gd name="T30" fmla="*/ 38 w 76"/>
                  <a:gd name="T31" fmla="*/ 77 h 77"/>
                  <a:gd name="T32" fmla="*/ 50 w 76"/>
                  <a:gd name="T33" fmla="*/ 74 h 77"/>
                  <a:gd name="T34" fmla="*/ 61 w 76"/>
                  <a:gd name="T35" fmla="*/ 69 h 77"/>
                  <a:gd name="T36" fmla="*/ 69 w 76"/>
                  <a:gd name="T37" fmla="*/ 61 h 77"/>
                  <a:gd name="T38" fmla="*/ 74 w 76"/>
                  <a:gd name="T39" fmla="*/ 50 h 77"/>
                  <a:gd name="T40" fmla="*/ 76 w 76"/>
                  <a:gd name="T41" fmla="*/ 38 h 7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6"/>
                  <a:gd name="T64" fmla="*/ 0 h 77"/>
                  <a:gd name="T65" fmla="*/ 76 w 76"/>
                  <a:gd name="T66" fmla="*/ 77 h 7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6" h="77">
                    <a:moveTo>
                      <a:pt x="76" y="38"/>
                    </a:moveTo>
                    <a:lnTo>
                      <a:pt x="74" y="26"/>
                    </a:lnTo>
                    <a:lnTo>
                      <a:pt x="69" y="15"/>
                    </a:lnTo>
                    <a:lnTo>
                      <a:pt x="61" y="7"/>
                    </a:lnTo>
                    <a:lnTo>
                      <a:pt x="50" y="2"/>
                    </a:lnTo>
                    <a:lnTo>
                      <a:pt x="38" y="0"/>
                    </a:lnTo>
                    <a:lnTo>
                      <a:pt x="26" y="2"/>
                    </a:lnTo>
                    <a:lnTo>
                      <a:pt x="15" y="7"/>
                    </a:lnTo>
                    <a:lnTo>
                      <a:pt x="7" y="15"/>
                    </a:lnTo>
                    <a:lnTo>
                      <a:pt x="2" y="26"/>
                    </a:lnTo>
                    <a:lnTo>
                      <a:pt x="0" y="38"/>
                    </a:lnTo>
                    <a:lnTo>
                      <a:pt x="2" y="50"/>
                    </a:lnTo>
                    <a:lnTo>
                      <a:pt x="7" y="61"/>
                    </a:lnTo>
                    <a:lnTo>
                      <a:pt x="15" y="69"/>
                    </a:lnTo>
                    <a:lnTo>
                      <a:pt x="26" y="74"/>
                    </a:lnTo>
                    <a:lnTo>
                      <a:pt x="38" y="77"/>
                    </a:lnTo>
                    <a:lnTo>
                      <a:pt x="50" y="74"/>
                    </a:lnTo>
                    <a:lnTo>
                      <a:pt x="61" y="69"/>
                    </a:lnTo>
                    <a:lnTo>
                      <a:pt x="69" y="61"/>
                    </a:lnTo>
                    <a:lnTo>
                      <a:pt x="74" y="50"/>
                    </a:lnTo>
                    <a:lnTo>
                      <a:pt x="76" y="3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4" name="Freeform 116"/>
              <p:cNvSpPr>
                <a:spLocks/>
              </p:cNvSpPr>
              <p:nvPr/>
            </p:nvSpPr>
            <p:spPr bwMode="auto">
              <a:xfrm>
                <a:off x="4010" y="2871"/>
                <a:ext cx="76" cy="77"/>
              </a:xfrm>
              <a:custGeom>
                <a:avLst/>
                <a:gdLst>
                  <a:gd name="T0" fmla="*/ 76 w 76"/>
                  <a:gd name="T1" fmla="*/ 38 h 77"/>
                  <a:gd name="T2" fmla="*/ 74 w 76"/>
                  <a:gd name="T3" fmla="*/ 26 h 77"/>
                  <a:gd name="T4" fmla="*/ 69 w 76"/>
                  <a:gd name="T5" fmla="*/ 15 h 77"/>
                  <a:gd name="T6" fmla="*/ 61 w 76"/>
                  <a:gd name="T7" fmla="*/ 7 h 77"/>
                  <a:gd name="T8" fmla="*/ 50 w 76"/>
                  <a:gd name="T9" fmla="*/ 2 h 77"/>
                  <a:gd name="T10" fmla="*/ 38 w 76"/>
                  <a:gd name="T11" fmla="*/ 0 h 77"/>
                  <a:gd name="T12" fmla="*/ 26 w 76"/>
                  <a:gd name="T13" fmla="*/ 2 h 77"/>
                  <a:gd name="T14" fmla="*/ 15 w 76"/>
                  <a:gd name="T15" fmla="*/ 7 h 77"/>
                  <a:gd name="T16" fmla="*/ 7 w 76"/>
                  <a:gd name="T17" fmla="*/ 15 h 77"/>
                  <a:gd name="T18" fmla="*/ 2 w 76"/>
                  <a:gd name="T19" fmla="*/ 26 h 77"/>
                  <a:gd name="T20" fmla="*/ 0 w 76"/>
                  <a:gd name="T21" fmla="*/ 38 h 77"/>
                  <a:gd name="T22" fmla="*/ 2 w 76"/>
                  <a:gd name="T23" fmla="*/ 50 h 77"/>
                  <a:gd name="T24" fmla="*/ 7 w 76"/>
                  <a:gd name="T25" fmla="*/ 61 h 77"/>
                  <a:gd name="T26" fmla="*/ 15 w 76"/>
                  <a:gd name="T27" fmla="*/ 69 h 77"/>
                  <a:gd name="T28" fmla="*/ 26 w 76"/>
                  <a:gd name="T29" fmla="*/ 74 h 77"/>
                  <a:gd name="T30" fmla="*/ 38 w 76"/>
                  <a:gd name="T31" fmla="*/ 77 h 77"/>
                  <a:gd name="T32" fmla="*/ 50 w 76"/>
                  <a:gd name="T33" fmla="*/ 74 h 77"/>
                  <a:gd name="T34" fmla="*/ 61 w 76"/>
                  <a:gd name="T35" fmla="*/ 69 h 77"/>
                  <a:gd name="T36" fmla="*/ 69 w 76"/>
                  <a:gd name="T37" fmla="*/ 61 h 77"/>
                  <a:gd name="T38" fmla="*/ 74 w 76"/>
                  <a:gd name="T39" fmla="*/ 50 h 77"/>
                  <a:gd name="T40" fmla="*/ 76 w 76"/>
                  <a:gd name="T41" fmla="*/ 38 h 7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6"/>
                  <a:gd name="T64" fmla="*/ 0 h 77"/>
                  <a:gd name="T65" fmla="*/ 76 w 76"/>
                  <a:gd name="T66" fmla="*/ 77 h 7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6" h="77">
                    <a:moveTo>
                      <a:pt x="76" y="38"/>
                    </a:moveTo>
                    <a:lnTo>
                      <a:pt x="74" y="26"/>
                    </a:lnTo>
                    <a:lnTo>
                      <a:pt x="69" y="15"/>
                    </a:lnTo>
                    <a:lnTo>
                      <a:pt x="61" y="7"/>
                    </a:lnTo>
                    <a:lnTo>
                      <a:pt x="50" y="2"/>
                    </a:lnTo>
                    <a:lnTo>
                      <a:pt x="38" y="0"/>
                    </a:lnTo>
                    <a:lnTo>
                      <a:pt x="26" y="2"/>
                    </a:lnTo>
                    <a:lnTo>
                      <a:pt x="15" y="7"/>
                    </a:lnTo>
                    <a:lnTo>
                      <a:pt x="7" y="15"/>
                    </a:lnTo>
                    <a:lnTo>
                      <a:pt x="2" y="26"/>
                    </a:lnTo>
                    <a:lnTo>
                      <a:pt x="0" y="38"/>
                    </a:lnTo>
                    <a:lnTo>
                      <a:pt x="2" y="50"/>
                    </a:lnTo>
                    <a:lnTo>
                      <a:pt x="7" y="61"/>
                    </a:lnTo>
                    <a:lnTo>
                      <a:pt x="15" y="69"/>
                    </a:lnTo>
                    <a:lnTo>
                      <a:pt x="26" y="74"/>
                    </a:lnTo>
                    <a:lnTo>
                      <a:pt x="38" y="77"/>
                    </a:lnTo>
                    <a:lnTo>
                      <a:pt x="50" y="74"/>
                    </a:lnTo>
                    <a:lnTo>
                      <a:pt x="61" y="69"/>
                    </a:lnTo>
                    <a:lnTo>
                      <a:pt x="69" y="61"/>
                    </a:lnTo>
                    <a:lnTo>
                      <a:pt x="74" y="50"/>
                    </a:lnTo>
                    <a:lnTo>
                      <a:pt x="76" y="3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5" name="Freeform 117"/>
              <p:cNvSpPr>
                <a:spLocks/>
              </p:cNvSpPr>
              <p:nvPr/>
            </p:nvSpPr>
            <p:spPr bwMode="auto">
              <a:xfrm>
                <a:off x="4602" y="1058"/>
                <a:ext cx="75" cy="75"/>
              </a:xfrm>
              <a:custGeom>
                <a:avLst/>
                <a:gdLst>
                  <a:gd name="T0" fmla="*/ 75 w 75"/>
                  <a:gd name="T1" fmla="*/ 38 h 75"/>
                  <a:gd name="T2" fmla="*/ 74 w 75"/>
                  <a:gd name="T3" fmla="*/ 26 h 75"/>
                  <a:gd name="T4" fmla="*/ 68 w 75"/>
                  <a:gd name="T5" fmla="*/ 16 h 75"/>
                  <a:gd name="T6" fmla="*/ 60 w 75"/>
                  <a:gd name="T7" fmla="*/ 7 h 75"/>
                  <a:gd name="T8" fmla="*/ 49 w 75"/>
                  <a:gd name="T9" fmla="*/ 1 h 75"/>
                  <a:gd name="T10" fmla="*/ 38 w 75"/>
                  <a:gd name="T11" fmla="*/ 0 h 75"/>
                  <a:gd name="T12" fmla="*/ 26 w 75"/>
                  <a:gd name="T13" fmla="*/ 1 h 75"/>
                  <a:gd name="T14" fmla="*/ 16 w 75"/>
                  <a:gd name="T15" fmla="*/ 7 h 75"/>
                  <a:gd name="T16" fmla="*/ 7 w 75"/>
                  <a:gd name="T17" fmla="*/ 16 h 75"/>
                  <a:gd name="T18" fmla="*/ 1 w 75"/>
                  <a:gd name="T19" fmla="*/ 26 h 75"/>
                  <a:gd name="T20" fmla="*/ 0 w 75"/>
                  <a:gd name="T21" fmla="*/ 38 h 75"/>
                  <a:gd name="T22" fmla="*/ 1 w 75"/>
                  <a:gd name="T23" fmla="*/ 49 h 75"/>
                  <a:gd name="T24" fmla="*/ 7 w 75"/>
                  <a:gd name="T25" fmla="*/ 60 h 75"/>
                  <a:gd name="T26" fmla="*/ 16 w 75"/>
                  <a:gd name="T27" fmla="*/ 68 h 75"/>
                  <a:gd name="T28" fmla="*/ 26 w 75"/>
                  <a:gd name="T29" fmla="*/ 74 h 75"/>
                  <a:gd name="T30" fmla="*/ 38 w 75"/>
                  <a:gd name="T31" fmla="*/ 75 h 75"/>
                  <a:gd name="T32" fmla="*/ 49 w 75"/>
                  <a:gd name="T33" fmla="*/ 74 h 75"/>
                  <a:gd name="T34" fmla="*/ 60 w 75"/>
                  <a:gd name="T35" fmla="*/ 68 h 75"/>
                  <a:gd name="T36" fmla="*/ 68 w 75"/>
                  <a:gd name="T37" fmla="*/ 60 h 75"/>
                  <a:gd name="T38" fmla="*/ 74 w 75"/>
                  <a:gd name="T39" fmla="*/ 49 h 75"/>
                  <a:gd name="T40" fmla="*/ 75 w 75"/>
                  <a:gd name="T41" fmla="*/ 38 h 7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"/>
                  <a:gd name="T64" fmla="*/ 0 h 75"/>
                  <a:gd name="T65" fmla="*/ 75 w 75"/>
                  <a:gd name="T66" fmla="*/ 75 h 7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" h="75">
                    <a:moveTo>
                      <a:pt x="75" y="38"/>
                    </a:moveTo>
                    <a:lnTo>
                      <a:pt x="74" y="26"/>
                    </a:lnTo>
                    <a:lnTo>
                      <a:pt x="68" y="16"/>
                    </a:lnTo>
                    <a:lnTo>
                      <a:pt x="60" y="7"/>
                    </a:lnTo>
                    <a:lnTo>
                      <a:pt x="49" y="1"/>
                    </a:lnTo>
                    <a:lnTo>
                      <a:pt x="38" y="0"/>
                    </a:lnTo>
                    <a:lnTo>
                      <a:pt x="26" y="1"/>
                    </a:lnTo>
                    <a:lnTo>
                      <a:pt x="16" y="7"/>
                    </a:lnTo>
                    <a:lnTo>
                      <a:pt x="7" y="16"/>
                    </a:lnTo>
                    <a:lnTo>
                      <a:pt x="1" y="26"/>
                    </a:lnTo>
                    <a:lnTo>
                      <a:pt x="0" y="38"/>
                    </a:lnTo>
                    <a:lnTo>
                      <a:pt x="1" y="49"/>
                    </a:lnTo>
                    <a:lnTo>
                      <a:pt x="7" y="60"/>
                    </a:lnTo>
                    <a:lnTo>
                      <a:pt x="16" y="68"/>
                    </a:lnTo>
                    <a:lnTo>
                      <a:pt x="26" y="74"/>
                    </a:lnTo>
                    <a:lnTo>
                      <a:pt x="38" y="75"/>
                    </a:lnTo>
                    <a:lnTo>
                      <a:pt x="49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9"/>
                    </a:lnTo>
                    <a:lnTo>
                      <a:pt x="75" y="3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6" name="Freeform 118"/>
              <p:cNvSpPr>
                <a:spLocks/>
              </p:cNvSpPr>
              <p:nvPr/>
            </p:nvSpPr>
            <p:spPr bwMode="auto">
              <a:xfrm>
                <a:off x="4602" y="1058"/>
                <a:ext cx="75" cy="75"/>
              </a:xfrm>
              <a:custGeom>
                <a:avLst/>
                <a:gdLst>
                  <a:gd name="T0" fmla="*/ 75 w 75"/>
                  <a:gd name="T1" fmla="*/ 38 h 75"/>
                  <a:gd name="T2" fmla="*/ 74 w 75"/>
                  <a:gd name="T3" fmla="*/ 26 h 75"/>
                  <a:gd name="T4" fmla="*/ 68 w 75"/>
                  <a:gd name="T5" fmla="*/ 16 h 75"/>
                  <a:gd name="T6" fmla="*/ 60 w 75"/>
                  <a:gd name="T7" fmla="*/ 7 h 75"/>
                  <a:gd name="T8" fmla="*/ 49 w 75"/>
                  <a:gd name="T9" fmla="*/ 1 h 75"/>
                  <a:gd name="T10" fmla="*/ 38 w 75"/>
                  <a:gd name="T11" fmla="*/ 0 h 75"/>
                  <a:gd name="T12" fmla="*/ 26 w 75"/>
                  <a:gd name="T13" fmla="*/ 1 h 75"/>
                  <a:gd name="T14" fmla="*/ 16 w 75"/>
                  <a:gd name="T15" fmla="*/ 7 h 75"/>
                  <a:gd name="T16" fmla="*/ 7 w 75"/>
                  <a:gd name="T17" fmla="*/ 16 h 75"/>
                  <a:gd name="T18" fmla="*/ 1 w 75"/>
                  <a:gd name="T19" fmla="*/ 26 h 75"/>
                  <a:gd name="T20" fmla="*/ 0 w 75"/>
                  <a:gd name="T21" fmla="*/ 38 h 75"/>
                  <a:gd name="T22" fmla="*/ 1 w 75"/>
                  <a:gd name="T23" fmla="*/ 49 h 75"/>
                  <a:gd name="T24" fmla="*/ 7 w 75"/>
                  <a:gd name="T25" fmla="*/ 60 h 75"/>
                  <a:gd name="T26" fmla="*/ 16 w 75"/>
                  <a:gd name="T27" fmla="*/ 68 h 75"/>
                  <a:gd name="T28" fmla="*/ 26 w 75"/>
                  <a:gd name="T29" fmla="*/ 74 h 75"/>
                  <a:gd name="T30" fmla="*/ 38 w 75"/>
                  <a:gd name="T31" fmla="*/ 75 h 75"/>
                  <a:gd name="T32" fmla="*/ 49 w 75"/>
                  <a:gd name="T33" fmla="*/ 74 h 75"/>
                  <a:gd name="T34" fmla="*/ 60 w 75"/>
                  <a:gd name="T35" fmla="*/ 68 h 75"/>
                  <a:gd name="T36" fmla="*/ 68 w 75"/>
                  <a:gd name="T37" fmla="*/ 60 h 75"/>
                  <a:gd name="T38" fmla="*/ 74 w 75"/>
                  <a:gd name="T39" fmla="*/ 49 h 75"/>
                  <a:gd name="T40" fmla="*/ 75 w 75"/>
                  <a:gd name="T41" fmla="*/ 38 h 7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5"/>
                  <a:gd name="T64" fmla="*/ 0 h 75"/>
                  <a:gd name="T65" fmla="*/ 75 w 75"/>
                  <a:gd name="T66" fmla="*/ 75 h 7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5" h="75">
                    <a:moveTo>
                      <a:pt x="75" y="38"/>
                    </a:moveTo>
                    <a:lnTo>
                      <a:pt x="74" y="26"/>
                    </a:lnTo>
                    <a:lnTo>
                      <a:pt x="68" y="16"/>
                    </a:lnTo>
                    <a:lnTo>
                      <a:pt x="60" y="7"/>
                    </a:lnTo>
                    <a:lnTo>
                      <a:pt x="49" y="1"/>
                    </a:lnTo>
                    <a:lnTo>
                      <a:pt x="38" y="0"/>
                    </a:lnTo>
                    <a:lnTo>
                      <a:pt x="26" y="1"/>
                    </a:lnTo>
                    <a:lnTo>
                      <a:pt x="16" y="7"/>
                    </a:lnTo>
                    <a:lnTo>
                      <a:pt x="7" y="16"/>
                    </a:lnTo>
                    <a:lnTo>
                      <a:pt x="1" y="26"/>
                    </a:lnTo>
                    <a:lnTo>
                      <a:pt x="0" y="38"/>
                    </a:lnTo>
                    <a:lnTo>
                      <a:pt x="1" y="49"/>
                    </a:lnTo>
                    <a:lnTo>
                      <a:pt x="7" y="60"/>
                    </a:lnTo>
                    <a:lnTo>
                      <a:pt x="16" y="68"/>
                    </a:lnTo>
                    <a:lnTo>
                      <a:pt x="26" y="74"/>
                    </a:lnTo>
                    <a:lnTo>
                      <a:pt x="38" y="75"/>
                    </a:lnTo>
                    <a:lnTo>
                      <a:pt x="49" y="74"/>
                    </a:lnTo>
                    <a:lnTo>
                      <a:pt x="60" y="68"/>
                    </a:lnTo>
                    <a:lnTo>
                      <a:pt x="68" y="60"/>
                    </a:lnTo>
                    <a:lnTo>
                      <a:pt x="74" y="49"/>
                    </a:lnTo>
                    <a:lnTo>
                      <a:pt x="75" y="3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7" name="Freeform 119"/>
              <p:cNvSpPr>
                <a:spLocks/>
              </p:cNvSpPr>
              <p:nvPr/>
            </p:nvSpPr>
            <p:spPr bwMode="auto">
              <a:xfrm>
                <a:off x="4732" y="2867"/>
                <a:ext cx="73" cy="72"/>
              </a:xfrm>
              <a:custGeom>
                <a:avLst/>
                <a:gdLst>
                  <a:gd name="T0" fmla="*/ 73 w 73"/>
                  <a:gd name="T1" fmla="*/ 36 h 72"/>
                  <a:gd name="T2" fmla="*/ 71 w 73"/>
                  <a:gd name="T3" fmla="*/ 24 h 72"/>
                  <a:gd name="T4" fmla="*/ 66 w 73"/>
                  <a:gd name="T5" fmla="*/ 15 h 72"/>
                  <a:gd name="T6" fmla="*/ 58 w 73"/>
                  <a:gd name="T7" fmla="*/ 7 h 72"/>
                  <a:gd name="T8" fmla="*/ 47 w 73"/>
                  <a:gd name="T9" fmla="*/ 1 h 72"/>
                  <a:gd name="T10" fmla="*/ 36 w 73"/>
                  <a:gd name="T11" fmla="*/ 0 h 72"/>
                  <a:gd name="T12" fmla="*/ 25 w 73"/>
                  <a:gd name="T13" fmla="*/ 1 h 72"/>
                  <a:gd name="T14" fmla="*/ 14 w 73"/>
                  <a:gd name="T15" fmla="*/ 7 h 72"/>
                  <a:gd name="T16" fmla="*/ 7 w 73"/>
                  <a:gd name="T17" fmla="*/ 15 h 72"/>
                  <a:gd name="T18" fmla="*/ 1 w 73"/>
                  <a:gd name="T19" fmla="*/ 24 h 72"/>
                  <a:gd name="T20" fmla="*/ 0 w 73"/>
                  <a:gd name="T21" fmla="*/ 36 h 72"/>
                  <a:gd name="T22" fmla="*/ 1 w 73"/>
                  <a:gd name="T23" fmla="*/ 48 h 72"/>
                  <a:gd name="T24" fmla="*/ 7 w 73"/>
                  <a:gd name="T25" fmla="*/ 57 h 72"/>
                  <a:gd name="T26" fmla="*/ 14 w 73"/>
                  <a:gd name="T27" fmla="*/ 65 h 72"/>
                  <a:gd name="T28" fmla="*/ 25 w 73"/>
                  <a:gd name="T29" fmla="*/ 70 h 72"/>
                  <a:gd name="T30" fmla="*/ 36 w 73"/>
                  <a:gd name="T31" fmla="*/ 72 h 72"/>
                  <a:gd name="T32" fmla="*/ 47 w 73"/>
                  <a:gd name="T33" fmla="*/ 70 h 72"/>
                  <a:gd name="T34" fmla="*/ 58 w 73"/>
                  <a:gd name="T35" fmla="*/ 65 h 72"/>
                  <a:gd name="T36" fmla="*/ 66 w 73"/>
                  <a:gd name="T37" fmla="*/ 57 h 72"/>
                  <a:gd name="T38" fmla="*/ 71 w 73"/>
                  <a:gd name="T39" fmla="*/ 48 h 72"/>
                  <a:gd name="T40" fmla="*/ 73 w 73"/>
                  <a:gd name="T41" fmla="*/ 36 h 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3"/>
                  <a:gd name="T64" fmla="*/ 0 h 72"/>
                  <a:gd name="T65" fmla="*/ 73 w 73"/>
                  <a:gd name="T66" fmla="*/ 72 h 7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3" h="72">
                    <a:moveTo>
                      <a:pt x="73" y="36"/>
                    </a:moveTo>
                    <a:lnTo>
                      <a:pt x="71" y="24"/>
                    </a:lnTo>
                    <a:lnTo>
                      <a:pt x="66" y="15"/>
                    </a:lnTo>
                    <a:lnTo>
                      <a:pt x="58" y="7"/>
                    </a:lnTo>
                    <a:lnTo>
                      <a:pt x="47" y="1"/>
                    </a:lnTo>
                    <a:lnTo>
                      <a:pt x="36" y="0"/>
                    </a:lnTo>
                    <a:lnTo>
                      <a:pt x="25" y="1"/>
                    </a:lnTo>
                    <a:lnTo>
                      <a:pt x="14" y="7"/>
                    </a:lnTo>
                    <a:lnTo>
                      <a:pt x="7" y="15"/>
                    </a:lnTo>
                    <a:lnTo>
                      <a:pt x="1" y="24"/>
                    </a:lnTo>
                    <a:lnTo>
                      <a:pt x="0" y="36"/>
                    </a:lnTo>
                    <a:lnTo>
                      <a:pt x="1" y="48"/>
                    </a:lnTo>
                    <a:lnTo>
                      <a:pt x="7" y="57"/>
                    </a:lnTo>
                    <a:lnTo>
                      <a:pt x="14" y="65"/>
                    </a:lnTo>
                    <a:lnTo>
                      <a:pt x="25" y="70"/>
                    </a:lnTo>
                    <a:lnTo>
                      <a:pt x="36" y="72"/>
                    </a:lnTo>
                    <a:lnTo>
                      <a:pt x="47" y="70"/>
                    </a:lnTo>
                    <a:lnTo>
                      <a:pt x="58" y="65"/>
                    </a:lnTo>
                    <a:lnTo>
                      <a:pt x="66" y="57"/>
                    </a:lnTo>
                    <a:lnTo>
                      <a:pt x="71" y="48"/>
                    </a:lnTo>
                    <a:lnTo>
                      <a:pt x="73" y="3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8" name="Freeform 120"/>
              <p:cNvSpPr>
                <a:spLocks/>
              </p:cNvSpPr>
              <p:nvPr/>
            </p:nvSpPr>
            <p:spPr bwMode="auto">
              <a:xfrm>
                <a:off x="4732" y="2867"/>
                <a:ext cx="73" cy="72"/>
              </a:xfrm>
              <a:custGeom>
                <a:avLst/>
                <a:gdLst>
                  <a:gd name="T0" fmla="*/ 73 w 73"/>
                  <a:gd name="T1" fmla="*/ 36 h 72"/>
                  <a:gd name="T2" fmla="*/ 71 w 73"/>
                  <a:gd name="T3" fmla="*/ 24 h 72"/>
                  <a:gd name="T4" fmla="*/ 66 w 73"/>
                  <a:gd name="T5" fmla="*/ 15 h 72"/>
                  <a:gd name="T6" fmla="*/ 58 w 73"/>
                  <a:gd name="T7" fmla="*/ 7 h 72"/>
                  <a:gd name="T8" fmla="*/ 47 w 73"/>
                  <a:gd name="T9" fmla="*/ 1 h 72"/>
                  <a:gd name="T10" fmla="*/ 36 w 73"/>
                  <a:gd name="T11" fmla="*/ 0 h 72"/>
                  <a:gd name="T12" fmla="*/ 25 w 73"/>
                  <a:gd name="T13" fmla="*/ 1 h 72"/>
                  <a:gd name="T14" fmla="*/ 14 w 73"/>
                  <a:gd name="T15" fmla="*/ 7 h 72"/>
                  <a:gd name="T16" fmla="*/ 7 w 73"/>
                  <a:gd name="T17" fmla="*/ 15 h 72"/>
                  <a:gd name="T18" fmla="*/ 1 w 73"/>
                  <a:gd name="T19" fmla="*/ 24 h 72"/>
                  <a:gd name="T20" fmla="*/ 0 w 73"/>
                  <a:gd name="T21" fmla="*/ 36 h 72"/>
                  <a:gd name="T22" fmla="*/ 1 w 73"/>
                  <a:gd name="T23" fmla="*/ 48 h 72"/>
                  <a:gd name="T24" fmla="*/ 7 w 73"/>
                  <a:gd name="T25" fmla="*/ 57 h 72"/>
                  <a:gd name="T26" fmla="*/ 14 w 73"/>
                  <a:gd name="T27" fmla="*/ 65 h 72"/>
                  <a:gd name="T28" fmla="*/ 25 w 73"/>
                  <a:gd name="T29" fmla="*/ 70 h 72"/>
                  <a:gd name="T30" fmla="*/ 36 w 73"/>
                  <a:gd name="T31" fmla="*/ 72 h 72"/>
                  <a:gd name="T32" fmla="*/ 47 w 73"/>
                  <a:gd name="T33" fmla="*/ 70 h 72"/>
                  <a:gd name="T34" fmla="*/ 58 w 73"/>
                  <a:gd name="T35" fmla="*/ 65 h 72"/>
                  <a:gd name="T36" fmla="*/ 66 w 73"/>
                  <a:gd name="T37" fmla="*/ 57 h 72"/>
                  <a:gd name="T38" fmla="*/ 71 w 73"/>
                  <a:gd name="T39" fmla="*/ 48 h 72"/>
                  <a:gd name="T40" fmla="*/ 73 w 73"/>
                  <a:gd name="T41" fmla="*/ 36 h 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3"/>
                  <a:gd name="T64" fmla="*/ 0 h 72"/>
                  <a:gd name="T65" fmla="*/ 73 w 73"/>
                  <a:gd name="T66" fmla="*/ 72 h 7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3" h="72">
                    <a:moveTo>
                      <a:pt x="73" y="36"/>
                    </a:moveTo>
                    <a:lnTo>
                      <a:pt x="71" y="24"/>
                    </a:lnTo>
                    <a:lnTo>
                      <a:pt x="66" y="15"/>
                    </a:lnTo>
                    <a:lnTo>
                      <a:pt x="58" y="7"/>
                    </a:lnTo>
                    <a:lnTo>
                      <a:pt x="47" y="1"/>
                    </a:lnTo>
                    <a:lnTo>
                      <a:pt x="36" y="0"/>
                    </a:lnTo>
                    <a:lnTo>
                      <a:pt x="25" y="1"/>
                    </a:lnTo>
                    <a:lnTo>
                      <a:pt x="14" y="7"/>
                    </a:lnTo>
                    <a:lnTo>
                      <a:pt x="7" y="15"/>
                    </a:lnTo>
                    <a:lnTo>
                      <a:pt x="1" y="24"/>
                    </a:lnTo>
                    <a:lnTo>
                      <a:pt x="0" y="36"/>
                    </a:lnTo>
                    <a:lnTo>
                      <a:pt x="1" y="48"/>
                    </a:lnTo>
                    <a:lnTo>
                      <a:pt x="7" y="57"/>
                    </a:lnTo>
                    <a:lnTo>
                      <a:pt x="14" y="65"/>
                    </a:lnTo>
                    <a:lnTo>
                      <a:pt x="25" y="70"/>
                    </a:lnTo>
                    <a:lnTo>
                      <a:pt x="36" y="72"/>
                    </a:lnTo>
                    <a:lnTo>
                      <a:pt x="47" y="70"/>
                    </a:lnTo>
                    <a:lnTo>
                      <a:pt x="58" y="65"/>
                    </a:lnTo>
                    <a:lnTo>
                      <a:pt x="66" y="57"/>
                    </a:lnTo>
                    <a:lnTo>
                      <a:pt x="71" y="48"/>
                    </a:lnTo>
                    <a:lnTo>
                      <a:pt x="73" y="3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69" name="Freeform 121"/>
              <p:cNvSpPr>
                <a:spLocks/>
              </p:cNvSpPr>
              <p:nvPr/>
            </p:nvSpPr>
            <p:spPr bwMode="auto">
              <a:xfrm>
                <a:off x="4760" y="2808"/>
                <a:ext cx="73" cy="73"/>
              </a:xfrm>
              <a:custGeom>
                <a:avLst/>
                <a:gdLst>
                  <a:gd name="T0" fmla="*/ 73 w 73"/>
                  <a:gd name="T1" fmla="*/ 37 h 73"/>
                  <a:gd name="T2" fmla="*/ 71 w 73"/>
                  <a:gd name="T3" fmla="*/ 25 h 73"/>
                  <a:gd name="T4" fmla="*/ 66 w 73"/>
                  <a:gd name="T5" fmla="*/ 15 h 73"/>
                  <a:gd name="T6" fmla="*/ 58 w 73"/>
                  <a:gd name="T7" fmla="*/ 7 h 73"/>
                  <a:gd name="T8" fmla="*/ 48 w 73"/>
                  <a:gd name="T9" fmla="*/ 1 h 73"/>
                  <a:gd name="T10" fmla="*/ 37 w 73"/>
                  <a:gd name="T11" fmla="*/ 0 h 73"/>
                  <a:gd name="T12" fmla="*/ 25 w 73"/>
                  <a:gd name="T13" fmla="*/ 1 h 73"/>
                  <a:gd name="T14" fmla="*/ 15 w 73"/>
                  <a:gd name="T15" fmla="*/ 7 h 73"/>
                  <a:gd name="T16" fmla="*/ 7 w 73"/>
                  <a:gd name="T17" fmla="*/ 15 h 73"/>
                  <a:gd name="T18" fmla="*/ 1 w 73"/>
                  <a:gd name="T19" fmla="*/ 25 h 73"/>
                  <a:gd name="T20" fmla="*/ 0 w 73"/>
                  <a:gd name="T21" fmla="*/ 37 h 73"/>
                  <a:gd name="T22" fmla="*/ 1 w 73"/>
                  <a:gd name="T23" fmla="*/ 48 h 73"/>
                  <a:gd name="T24" fmla="*/ 7 w 73"/>
                  <a:gd name="T25" fmla="*/ 58 h 73"/>
                  <a:gd name="T26" fmla="*/ 15 w 73"/>
                  <a:gd name="T27" fmla="*/ 66 h 73"/>
                  <a:gd name="T28" fmla="*/ 25 w 73"/>
                  <a:gd name="T29" fmla="*/ 71 h 73"/>
                  <a:gd name="T30" fmla="*/ 37 w 73"/>
                  <a:gd name="T31" fmla="*/ 73 h 73"/>
                  <a:gd name="T32" fmla="*/ 48 w 73"/>
                  <a:gd name="T33" fmla="*/ 71 h 73"/>
                  <a:gd name="T34" fmla="*/ 58 w 73"/>
                  <a:gd name="T35" fmla="*/ 66 h 73"/>
                  <a:gd name="T36" fmla="*/ 66 w 73"/>
                  <a:gd name="T37" fmla="*/ 58 h 73"/>
                  <a:gd name="T38" fmla="*/ 71 w 73"/>
                  <a:gd name="T39" fmla="*/ 48 h 73"/>
                  <a:gd name="T40" fmla="*/ 73 w 73"/>
                  <a:gd name="T41" fmla="*/ 37 h 7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3"/>
                  <a:gd name="T64" fmla="*/ 0 h 73"/>
                  <a:gd name="T65" fmla="*/ 73 w 73"/>
                  <a:gd name="T66" fmla="*/ 73 h 7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3" h="73">
                    <a:moveTo>
                      <a:pt x="73" y="37"/>
                    </a:moveTo>
                    <a:lnTo>
                      <a:pt x="71" y="25"/>
                    </a:lnTo>
                    <a:lnTo>
                      <a:pt x="66" y="15"/>
                    </a:lnTo>
                    <a:lnTo>
                      <a:pt x="58" y="7"/>
                    </a:lnTo>
                    <a:lnTo>
                      <a:pt x="48" y="1"/>
                    </a:lnTo>
                    <a:lnTo>
                      <a:pt x="37" y="0"/>
                    </a:lnTo>
                    <a:lnTo>
                      <a:pt x="25" y="1"/>
                    </a:lnTo>
                    <a:lnTo>
                      <a:pt x="15" y="7"/>
                    </a:lnTo>
                    <a:lnTo>
                      <a:pt x="7" y="15"/>
                    </a:lnTo>
                    <a:lnTo>
                      <a:pt x="1" y="25"/>
                    </a:lnTo>
                    <a:lnTo>
                      <a:pt x="0" y="37"/>
                    </a:lnTo>
                    <a:lnTo>
                      <a:pt x="1" y="48"/>
                    </a:lnTo>
                    <a:lnTo>
                      <a:pt x="7" y="58"/>
                    </a:lnTo>
                    <a:lnTo>
                      <a:pt x="15" y="66"/>
                    </a:lnTo>
                    <a:lnTo>
                      <a:pt x="25" y="71"/>
                    </a:lnTo>
                    <a:lnTo>
                      <a:pt x="37" y="73"/>
                    </a:lnTo>
                    <a:lnTo>
                      <a:pt x="48" y="71"/>
                    </a:lnTo>
                    <a:lnTo>
                      <a:pt x="58" y="66"/>
                    </a:lnTo>
                    <a:lnTo>
                      <a:pt x="66" y="58"/>
                    </a:lnTo>
                    <a:lnTo>
                      <a:pt x="71" y="48"/>
                    </a:lnTo>
                    <a:lnTo>
                      <a:pt x="73" y="3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0" name="Freeform 122"/>
              <p:cNvSpPr>
                <a:spLocks/>
              </p:cNvSpPr>
              <p:nvPr/>
            </p:nvSpPr>
            <p:spPr bwMode="auto">
              <a:xfrm>
                <a:off x="4760" y="2808"/>
                <a:ext cx="73" cy="73"/>
              </a:xfrm>
              <a:custGeom>
                <a:avLst/>
                <a:gdLst>
                  <a:gd name="T0" fmla="*/ 73 w 73"/>
                  <a:gd name="T1" fmla="*/ 37 h 73"/>
                  <a:gd name="T2" fmla="*/ 71 w 73"/>
                  <a:gd name="T3" fmla="*/ 25 h 73"/>
                  <a:gd name="T4" fmla="*/ 66 w 73"/>
                  <a:gd name="T5" fmla="*/ 15 h 73"/>
                  <a:gd name="T6" fmla="*/ 58 w 73"/>
                  <a:gd name="T7" fmla="*/ 7 h 73"/>
                  <a:gd name="T8" fmla="*/ 48 w 73"/>
                  <a:gd name="T9" fmla="*/ 1 h 73"/>
                  <a:gd name="T10" fmla="*/ 37 w 73"/>
                  <a:gd name="T11" fmla="*/ 0 h 73"/>
                  <a:gd name="T12" fmla="*/ 25 w 73"/>
                  <a:gd name="T13" fmla="*/ 1 h 73"/>
                  <a:gd name="T14" fmla="*/ 15 w 73"/>
                  <a:gd name="T15" fmla="*/ 7 h 73"/>
                  <a:gd name="T16" fmla="*/ 7 w 73"/>
                  <a:gd name="T17" fmla="*/ 15 h 73"/>
                  <a:gd name="T18" fmla="*/ 1 w 73"/>
                  <a:gd name="T19" fmla="*/ 25 h 73"/>
                  <a:gd name="T20" fmla="*/ 0 w 73"/>
                  <a:gd name="T21" fmla="*/ 37 h 73"/>
                  <a:gd name="T22" fmla="*/ 1 w 73"/>
                  <a:gd name="T23" fmla="*/ 48 h 73"/>
                  <a:gd name="T24" fmla="*/ 7 w 73"/>
                  <a:gd name="T25" fmla="*/ 58 h 73"/>
                  <a:gd name="T26" fmla="*/ 15 w 73"/>
                  <a:gd name="T27" fmla="*/ 66 h 73"/>
                  <a:gd name="T28" fmla="*/ 25 w 73"/>
                  <a:gd name="T29" fmla="*/ 71 h 73"/>
                  <a:gd name="T30" fmla="*/ 37 w 73"/>
                  <a:gd name="T31" fmla="*/ 73 h 73"/>
                  <a:gd name="T32" fmla="*/ 48 w 73"/>
                  <a:gd name="T33" fmla="*/ 71 h 73"/>
                  <a:gd name="T34" fmla="*/ 58 w 73"/>
                  <a:gd name="T35" fmla="*/ 66 h 73"/>
                  <a:gd name="T36" fmla="*/ 66 w 73"/>
                  <a:gd name="T37" fmla="*/ 58 h 73"/>
                  <a:gd name="T38" fmla="*/ 71 w 73"/>
                  <a:gd name="T39" fmla="*/ 48 h 73"/>
                  <a:gd name="T40" fmla="*/ 73 w 73"/>
                  <a:gd name="T41" fmla="*/ 37 h 7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3"/>
                  <a:gd name="T64" fmla="*/ 0 h 73"/>
                  <a:gd name="T65" fmla="*/ 73 w 73"/>
                  <a:gd name="T66" fmla="*/ 73 h 7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3" h="73">
                    <a:moveTo>
                      <a:pt x="73" y="37"/>
                    </a:moveTo>
                    <a:lnTo>
                      <a:pt x="71" y="25"/>
                    </a:lnTo>
                    <a:lnTo>
                      <a:pt x="66" y="15"/>
                    </a:lnTo>
                    <a:lnTo>
                      <a:pt x="58" y="7"/>
                    </a:lnTo>
                    <a:lnTo>
                      <a:pt x="48" y="1"/>
                    </a:lnTo>
                    <a:lnTo>
                      <a:pt x="37" y="0"/>
                    </a:lnTo>
                    <a:lnTo>
                      <a:pt x="25" y="1"/>
                    </a:lnTo>
                    <a:lnTo>
                      <a:pt x="15" y="7"/>
                    </a:lnTo>
                    <a:lnTo>
                      <a:pt x="7" y="15"/>
                    </a:lnTo>
                    <a:lnTo>
                      <a:pt x="1" y="25"/>
                    </a:lnTo>
                    <a:lnTo>
                      <a:pt x="0" y="37"/>
                    </a:lnTo>
                    <a:lnTo>
                      <a:pt x="1" y="48"/>
                    </a:lnTo>
                    <a:lnTo>
                      <a:pt x="7" y="58"/>
                    </a:lnTo>
                    <a:lnTo>
                      <a:pt x="15" y="66"/>
                    </a:lnTo>
                    <a:lnTo>
                      <a:pt x="25" y="71"/>
                    </a:lnTo>
                    <a:lnTo>
                      <a:pt x="37" y="73"/>
                    </a:lnTo>
                    <a:lnTo>
                      <a:pt x="48" y="71"/>
                    </a:lnTo>
                    <a:lnTo>
                      <a:pt x="58" y="66"/>
                    </a:lnTo>
                    <a:lnTo>
                      <a:pt x="66" y="58"/>
                    </a:lnTo>
                    <a:lnTo>
                      <a:pt x="71" y="48"/>
                    </a:lnTo>
                    <a:lnTo>
                      <a:pt x="73" y="3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1" name="Freeform 123"/>
              <p:cNvSpPr>
                <a:spLocks/>
              </p:cNvSpPr>
              <p:nvPr/>
            </p:nvSpPr>
            <p:spPr bwMode="auto">
              <a:xfrm>
                <a:off x="4202" y="2889"/>
                <a:ext cx="71" cy="72"/>
              </a:xfrm>
              <a:custGeom>
                <a:avLst/>
                <a:gdLst>
                  <a:gd name="T0" fmla="*/ 71 w 71"/>
                  <a:gd name="T1" fmla="*/ 36 h 72"/>
                  <a:gd name="T2" fmla="*/ 70 w 71"/>
                  <a:gd name="T3" fmla="*/ 25 h 72"/>
                  <a:gd name="T4" fmla="*/ 64 w 71"/>
                  <a:gd name="T5" fmla="*/ 15 h 72"/>
                  <a:gd name="T6" fmla="*/ 57 w 71"/>
                  <a:gd name="T7" fmla="*/ 7 h 72"/>
                  <a:gd name="T8" fmla="*/ 47 w 71"/>
                  <a:gd name="T9" fmla="*/ 2 h 72"/>
                  <a:gd name="T10" fmla="*/ 36 w 71"/>
                  <a:gd name="T11" fmla="*/ 0 h 72"/>
                  <a:gd name="T12" fmla="*/ 25 w 71"/>
                  <a:gd name="T13" fmla="*/ 2 h 72"/>
                  <a:gd name="T14" fmla="*/ 15 w 71"/>
                  <a:gd name="T15" fmla="*/ 7 h 72"/>
                  <a:gd name="T16" fmla="*/ 7 w 71"/>
                  <a:gd name="T17" fmla="*/ 15 h 72"/>
                  <a:gd name="T18" fmla="*/ 2 w 71"/>
                  <a:gd name="T19" fmla="*/ 25 h 72"/>
                  <a:gd name="T20" fmla="*/ 0 w 71"/>
                  <a:gd name="T21" fmla="*/ 36 h 72"/>
                  <a:gd name="T22" fmla="*/ 2 w 71"/>
                  <a:gd name="T23" fmla="*/ 48 h 72"/>
                  <a:gd name="T24" fmla="*/ 7 w 71"/>
                  <a:gd name="T25" fmla="*/ 57 h 72"/>
                  <a:gd name="T26" fmla="*/ 15 w 71"/>
                  <a:gd name="T27" fmla="*/ 65 h 72"/>
                  <a:gd name="T28" fmla="*/ 25 w 71"/>
                  <a:gd name="T29" fmla="*/ 70 h 72"/>
                  <a:gd name="T30" fmla="*/ 36 w 71"/>
                  <a:gd name="T31" fmla="*/ 72 h 72"/>
                  <a:gd name="T32" fmla="*/ 47 w 71"/>
                  <a:gd name="T33" fmla="*/ 70 h 72"/>
                  <a:gd name="T34" fmla="*/ 57 w 71"/>
                  <a:gd name="T35" fmla="*/ 65 h 72"/>
                  <a:gd name="T36" fmla="*/ 64 w 71"/>
                  <a:gd name="T37" fmla="*/ 57 h 72"/>
                  <a:gd name="T38" fmla="*/ 70 w 71"/>
                  <a:gd name="T39" fmla="*/ 48 h 72"/>
                  <a:gd name="T40" fmla="*/ 71 w 71"/>
                  <a:gd name="T41" fmla="*/ 36 h 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1"/>
                  <a:gd name="T64" fmla="*/ 0 h 72"/>
                  <a:gd name="T65" fmla="*/ 71 w 71"/>
                  <a:gd name="T66" fmla="*/ 72 h 7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1" h="72">
                    <a:moveTo>
                      <a:pt x="71" y="36"/>
                    </a:moveTo>
                    <a:lnTo>
                      <a:pt x="70" y="25"/>
                    </a:lnTo>
                    <a:lnTo>
                      <a:pt x="64" y="15"/>
                    </a:lnTo>
                    <a:lnTo>
                      <a:pt x="57" y="7"/>
                    </a:lnTo>
                    <a:lnTo>
                      <a:pt x="47" y="2"/>
                    </a:lnTo>
                    <a:lnTo>
                      <a:pt x="36" y="0"/>
                    </a:lnTo>
                    <a:lnTo>
                      <a:pt x="25" y="2"/>
                    </a:lnTo>
                    <a:lnTo>
                      <a:pt x="15" y="7"/>
                    </a:lnTo>
                    <a:lnTo>
                      <a:pt x="7" y="15"/>
                    </a:lnTo>
                    <a:lnTo>
                      <a:pt x="2" y="25"/>
                    </a:lnTo>
                    <a:lnTo>
                      <a:pt x="0" y="36"/>
                    </a:lnTo>
                    <a:lnTo>
                      <a:pt x="2" y="48"/>
                    </a:lnTo>
                    <a:lnTo>
                      <a:pt x="7" y="57"/>
                    </a:lnTo>
                    <a:lnTo>
                      <a:pt x="15" y="65"/>
                    </a:lnTo>
                    <a:lnTo>
                      <a:pt x="25" y="70"/>
                    </a:lnTo>
                    <a:lnTo>
                      <a:pt x="36" y="72"/>
                    </a:lnTo>
                    <a:lnTo>
                      <a:pt x="47" y="70"/>
                    </a:lnTo>
                    <a:lnTo>
                      <a:pt x="57" y="65"/>
                    </a:lnTo>
                    <a:lnTo>
                      <a:pt x="64" y="57"/>
                    </a:lnTo>
                    <a:lnTo>
                      <a:pt x="70" y="48"/>
                    </a:lnTo>
                    <a:lnTo>
                      <a:pt x="71" y="3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2" name="Freeform 124"/>
              <p:cNvSpPr>
                <a:spLocks/>
              </p:cNvSpPr>
              <p:nvPr/>
            </p:nvSpPr>
            <p:spPr bwMode="auto">
              <a:xfrm>
                <a:off x="4202" y="2889"/>
                <a:ext cx="71" cy="72"/>
              </a:xfrm>
              <a:custGeom>
                <a:avLst/>
                <a:gdLst>
                  <a:gd name="T0" fmla="*/ 71 w 71"/>
                  <a:gd name="T1" fmla="*/ 36 h 72"/>
                  <a:gd name="T2" fmla="*/ 70 w 71"/>
                  <a:gd name="T3" fmla="*/ 25 h 72"/>
                  <a:gd name="T4" fmla="*/ 64 w 71"/>
                  <a:gd name="T5" fmla="*/ 15 h 72"/>
                  <a:gd name="T6" fmla="*/ 57 w 71"/>
                  <a:gd name="T7" fmla="*/ 7 h 72"/>
                  <a:gd name="T8" fmla="*/ 47 w 71"/>
                  <a:gd name="T9" fmla="*/ 2 h 72"/>
                  <a:gd name="T10" fmla="*/ 36 w 71"/>
                  <a:gd name="T11" fmla="*/ 0 h 72"/>
                  <a:gd name="T12" fmla="*/ 25 w 71"/>
                  <a:gd name="T13" fmla="*/ 2 h 72"/>
                  <a:gd name="T14" fmla="*/ 15 w 71"/>
                  <a:gd name="T15" fmla="*/ 7 h 72"/>
                  <a:gd name="T16" fmla="*/ 7 w 71"/>
                  <a:gd name="T17" fmla="*/ 15 h 72"/>
                  <a:gd name="T18" fmla="*/ 2 w 71"/>
                  <a:gd name="T19" fmla="*/ 25 h 72"/>
                  <a:gd name="T20" fmla="*/ 0 w 71"/>
                  <a:gd name="T21" fmla="*/ 36 h 72"/>
                  <a:gd name="T22" fmla="*/ 2 w 71"/>
                  <a:gd name="T23" fmla="*/ 48 h 72"/>
                  <a:gd name="T24" fmla="*/ 7 w 71"/>
                  <a:gd name="T25" fmla="*/ 57 h 72"/>
                  <a:gd name="T26" fmla="*/ 15 w 71"/>
                  <a:gd name="T27" fmla="*/ 65 h 72"/>
                  <a:gd name="T28" fmla="*/ 25 w 71"/>
                  <a:gd name="T29" fmla="*/ 70 h 72"/>
                  <a:gd name="T30" fmla="*/ 36 w 71"/>
                  <a:gd name="T31" fmla="*/ 72 h 72"/>
                  <a:gd name="T32" fmla="*/ 47 w 71"/>
                  <a:gd name="T33" fmla="*/ 70 h 72"/>
                  <a:gd name="T34" fmla="*/ 57 w 71"/>
                  <a:gd name="T35" fmla="*/ 65 h 72"/>
                  <a:gd name="T36" fmla="*/ 64 w 71"/>
                  <a:gd name="T37" fmla="*/ 57 h 72"/>
                  <a:gd name="T38" fmla="*/ 70 w 71"/>
                  <a:gd name="T39" fmla="*/ 48 h 72"/>
                  <a:gd name="T40" fmla="*/ 71 w 71"/>
                  <a:gd name="T41" fmla="*/ 36 h 7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1"/>
                  <a:gd name="T64" fmla="*/ 0 h 72"/>
                  <a:gd name="T65" fmla="*/ 71 w 71"/>
                  <a:gd name="T66" fmla="*/ 72 h 7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1" h="72">
                    <a:moveTo>
                      <a:pt x="71" y="36"/>
                    </a:moveTo>
                    <a:lnTo>
                      <a:pt x="70" y="25"/>
                    </a:lnTo>
                    <a:lnTo>
                      <a:pt x="64" y="15"/>
                    </a:lnTo>
                    <a:lnTo>
                      <a:pt x="57" y="7"/>
                    </a:lnTo>
                    <a:lnTo>
                      <a:pt x="47" y="2"/>
                    </a:lnTo>
                    <a:lnTo>
                      <a:pt x="36" y="0"/>
                    </a:lnTo>
                    <a:lnTo>
                      <a:pt x="25" y="2"/>
                    </a:lnTo>
                    <a:lnTo>
                      <a:pt x="15" y="7"/>
                    </a:lnTo>
                    <a:lnTo>
                      <a:pt x="7" y="15"/>
                    </a:lnTo>
                    <a:lnTo>
                      <a:pt x="2" y="25"/>
                    </a:lnTo>
                    <a:lnTo>
                      <a:pt x="0" y="36"/>
                    </a:lnTo>
                    <a:lnTo>
                      <a:pt x="2" y="48"/>
                    </a:lnTo>
                    <a:lnTo>
                      <a:pt x="7" y="57"/>
                    </a:lnTo>
                    <a:lnTo>
                      <a:pt x="15" y="65"/>
                    </a:lnTo>
                    <a:lnTo>
                      <a:pt x="25" y="70"/>
                    </a:lnTo>
                    <a:lnTo>
                      <a:pt x="36" y="72"/>
                    </a:lnTo>
                    <a:lnTo>
                      <a:pt x="47" y="70"/>
                    </a:lnTo>
                    <a:lnTo>
                      <a:pt x="57" y="65"/>
                    </a:lnTo>
                    <a:lnTo>
                      <a:pt x="64" y="57"/>
                    </a:lnTo>
                    <a:lnTo>
                      <a:pt x="70" y="48"/>
                    </a:lnTo>
                    <a:lnTo>
                      <a:pt x="71" y="3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3" name="Freeform 125"/>
              <p:cNvSpPr>
                <a:spLocks/>
              </p:cNvSpPr>
              <p:nvPr/>
            </p:nvSpPr>
            <p:spPr bwMode="auto">
              <a:xfrm>
                <a:off x="4730" y="1114"/>
                <a:ext cx="71" cy="71"/>
              </a:xfrm>
              <a:custGeom>
                <a:avLst/>
                <a:gdLst>
                  <a:gd name="T0" fmla="*/ 71 w 71"/>
                  <a:gd name="T1" fmla="*/ 35 h 71"/>
                  <a:gd name="T2" fmla="*/ 70 w 71"/>
                  <a:gd name="T3" fmla="*/ 24 h 71"/>
                  <a:gd name="T4" fmla="*/ 64 w 71"/>
                  <a:gd name="T5" fmla="*/ 14 h 71"/>
                  <a:gd name="T6" fmla="*/ 57 w 71"/>
                  <a:gd name="T7" fmla="*/ 7 h 71"/>
                  <a:gd name="T8" fmla="*/ 47 w 71"/>
                  <a:gd name="T9" fmla="*/ 1 h 71"/>
                  <a:gd name="T10" fmla="*/ 36 w 71"/>
                  <a:gd name="T11" fmla="*/ 0 h 71"/>
                  <a:gd name="T12" fmla="*/ 24 w 71"/>
                  <a:gd name="T13" fmla="*/ 1 h 71"/>
                  <a:gd name="T14" fmla="*/ 15 w 71"/>
                  <a:gd name="T15" fmla="*/ 7 h 71"/>
                  <a:gd name="T16" fmla="*/ 7 w 71"/>
                  <a:gd name="T17" fmla="*/ 14 h 71"/>
                  <a:gd name="T18" fmla="*/ 2 w 71"/>
                  <a:gd name="T19" fmla="*/ 24 h 71"/>
                  <a:gd name="T20" fmla="*/ 0 w 71"/>
                  <a:gd name="T21" fmla="*/ 35 h 71"/>
                  <a:gd name="T22" fmla="*/ 2 w 71"/>
                  <a:gd name="T23" fmla="*/ 46 h 71"/>
                  <a:gd name="T24" fmla="*/ 7 w 71"/>
                  <a:gd name="T25" fmla="*/ 56 h 71"/>
                  <a:gd name="T26" fmla="*/ 15 w 71"/>
                  <a:gd name="T27" fmla="*/ 64 h 71"/>
                  <a:gd name="T28" fmla="*/ 24 w 71"/>
                  <a:gd name="T29" fmla="*/ 70 h 71"/>
                  <a:gd name="T30" fmla="*/ 36 w 71"/>
                  <a:gd name="T31" fmla="*/ 71 h 71"/>
                  <a:gd name="T32" fmla="*/ 47 w 71"/>
                  <a:gd name="T33" fmla="*/ 70 h 71"/>
                  <a:gd name="T34" fmla="*/ 57 w 71"/>
                  <a:gd name="T35" fmla="*/ 64 h 71"/>
                  <a:gd name="T36" fmla="*/ 64 w 71"/>
                  <a:gd name="T37" fmla="*/ 56 h 71"/>
                  <a:gd name="T38" fmla="*/ 70 w 71"/>
                  <a:gd name="T39" fmla="*/ 46 h 71"/>
                  <a:gd name="T40" fmla="*/ 71 w 71"/>
                  <a:gd name="T41" fmla="*/ 35 h 7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1"/>
                  <a:gd name="T64" fmla="*/ 0 h 71"/>
                  <a:gd name="T65" fmla="*/ 71 w 71"/>
                  <a:gd name="T66" fmla="*/ 71 h 7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1" h="71">
                    <a:moveTo>
                      <a:pt x="71" y="35"/>
                    </a:moveTo>
                    <a:lnTo>
                      <a:pt x="70" y="24"/>
                    </a:lnTo>
                    <a:lnTo>
                      <a:pt x="64" y="14"/>
                    </a:lnTo>
                    <a:lnTo>
                      <a:pt x="57" y="7"/>
                    </a:lnTo>
                    <a:lnTo>
                      <a:pt x="47" y="1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5" y="7"/>
                    </a:lnTo>
                    <a:lnTo>
                      <a:pt x="7" y="14"/>
                    </a:lnTo>
                    <a:lnTo>
                      <a:pt x="2" y="24"/>
                    </a:lnTo>
                    <a:lnTo>
                      <a:pt x="0" y="35"/>
                    </a:lnTo>
                    <a:lnTo>
                      <a:pt x="2" y="46"/>
                    </a:lnTo>
                    <a:lnTo>
                      <a:pt x="7" y="56"/>
                    </a:lnTo>
                    <a:lnTo>
                      <a:pt x="15" y="64"/>
                    </a:lnTo>
                    <a:lnTo>
                      <a:pt x="24" y="70"/>
                    </a:lnTo>
                    <a:lnTo>
                      <a:pt x="36" y="71"/>
                    </a:lnTo>
                    <a:lnTo>
                      <a:pt x="47" y="70"/>
                    </a:lnTo>
                    <a:lnTo>
                      <a:pt x="57" y="64"/>
                    </a:lnTo>
                    <a:lnTo>
                      <a:pt x="64" y="56"/>
                    </a:lnTo>
                    <a:lnTo>
                      <a:pt x="70" y="46"/>
                    </a:lnTo>
                    <a:lnTo>
                      <a:pt x="71" y="3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4" name="Freeform 126"/>
              <p:cNvSpPr>
                <a:spLocks/>
              </p:cNvSpPr>
              <p:nvPr/>
            </p:nvSpPr>
            <p:spPr bwMode="auto">
              <a:xfrm>
                <a:off x="4730" y="1114"/>
                <a:ext cx="71" cy="71"/>
              </a:xfrm>
              <a:custGeom>
                <a:avLst/>
                <a:gdLst>
                  <a:gd name="T0" fmla="*/ 71 w 71"/>
                  <a:gd name="T1" fmla="*/ 35 h 71"/>
                  <a:gd name="T2" fmla="*/ 70 w 71"/>
                  <a:gd name="T3" fmla="*/ 24 h 71"/>
                  <a:gd name="T4" fmla="*/ 64 w 71"/>
                  <a:gd name="T5" fmla="*/ 14 h 71"/>
                  <a:gd name="T6" fmla="*/ 57 w 71"/>
                  <a:gd name="T7" fmla="*/ 7 h 71"/>
                  <a:gd name="T8" fmla="*/ 47 w 71"/>
                  <a:gd name="T9" fmla="*/ 1 h 71"/>
                  <a:gd name="T10" fmla="*/ 36 w 71"/>
                  <a:gd name="T11" fmla="*/ 0 h 71"/>
                  <a:gd name="T12" fmla="*/ 24 w 71"/>
                  <a:gd name="T13" fmla="*/ 1 h 71"/>
                  <a:gd name="T14" fmla="*/ 15 w 71"/>
                  <a:gd name="T15" fmla="*/ 7 h 71"/>
                  <a:gd name="T16" fmla="*/ 7 w 71"/>
                  <a:gd name="T17" fmla="*/ 14 h 71"/>
                  <a:gd name="T18" fmla="*/ 2 w 71"/>
                  <a:gd name="T19" fmla="*/ 24 h 71"/>
                  <a:gd name="T20" fmla="*/ 0 w 71"/>
                  <a:gd name="T21" fmla="*/ 35 h 71"/>
                  <a:gd name="T22" fmla="*/ 2 w 71"/>
                  <a:gd name="T23" fmla="*/ 46 h 71"/>
                  <a:gd name="T24" fmla="*/ 7 w 71"/>
                  <a:gd name="T25" fmla="*/ 56 h 71"/>
                  <a:gd name="T26" fmla="*/ 15 w 71"/>
                  <a:gd name="T27" fmla="*/ 64 h 71"/>
                  <a:gd name="T28" fmla="*/ 24 w 71"/>
                  <a:gd name="T29" fmla="*/ 70 h 71"/>
                  <a:gd name="T30" fmla="*/ 36 w 71"/>
                  <a:gd name="T31" fmla="*/ 71 h 71"/>
                  <a:gd name="T32" fmla="*/ 47 w 71"/>
                  <a:gd name="T33" fmla="*/ 70 h 71"/>
                  <a:gd name="T34" fmla="*/ 57 w 71"/>
                  <a:gd name="T35" fmla="*/ 64 h 71"/>
                  <a:gd name="T36" fmla="*/ 64 w 71"/>
                  <a:gd name="T37" fmla="*/ 56 h 71"/>
                  <a:gd name="T38" fmla="*/ 70 w 71"/>
                  <a:gd name="T39" fmla="*/ 46 h 71"/>
                  <a:gd name="T40" fmla="*/ 71 w 71"/>
                  <a:gd name="T41" fmla="*/ 35 h 7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1"/>
                  <a:gd name="T64" fmla="*/ 0 h 71"/>
                  <a:gd name="T65" fmla="*/ 71 w 71"/>
                  <a:gd name="T66" fmla="*/ 71 h 7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1" h="71">
                    <a:moveTo>
                      <a:pt x="71" y="35"/>
                    </a:moveTo>
                    <a:lnTo>
                      <a:pt x="70" y="24"/>
                    </a:lnTo>
                    <a:lnTo>
                      <a:pt x="64" y="14"/>
                    </a:lnTo>
                    <a:lnTo>
                      <a:pt x="57" y="7"/>
                    </a:lnTo>
                    <a:lnTo>
                      <a:pt x="47" y="1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5" y="7"/>
                    </a:lnTo>
                    <a:lnTo>
                      <a:pt x="7" y="14"/>
                    </a:lnTo>
                    <a:lnTo>
                      <a:pt x="2" y="24"/>
                    </a:lnTo>
                    <a:lnTo>
                      <a:pt x="0" y="35"/>
                    </a:lnTo>
                    <a:lnTo>
                      <a:pt x="2" y="46"/>
                    </a:lnTo>
                    <a:lnTo>
                      <a:pt x="7" y="56"/>
                    </a:lnTo>
                    <a:lnTo>
                      <a:pt x="15" y="64"/>
                    </a:lnTo>
                    <a:lnTo>
                      <a:pt x="24" y="70"/>
                    </a:lnTo>
                    <a:lnTo>
                      <a:pt x="36" y="71"/>
                    </a:lnTo>
                    <a:lnTo>
                      <a:pt x="47" y="70"/>
                    </a:lnTo>
                    <a:lnTo>
                      <a:pt x="57" y="64"/>
                    </a:lnTo>
                    <a:lnTo>
                      <a:pt x="64" y="56"/>
                    </a:lnTo>
                    <a:lnTo>
                      <a:pt x="70" y="46"/>
                    </a:lnTo>
                    <a:lnTo>
                      <a:pt x="71" y="3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5" name="Freeform 127"/>
              <p:cNvSpPr>
                <a:spLocks/>
              </p:cNvSpPr>
              <p:nvPr/>
            </p:nvSpPr>
            <p:spPr bwMode="auto">
              <a:xfrm>
                <a:off x="4875" y="1199"/>
                <a:ext cx="71" cy="71"/>
              </a:xfrm>
              <a:custGeom>
                <a:avLst/>
                <a:gdLst>
                  <a:gd name="T0" fmla="*/ 71 w 71"/>
                  <a:gd name="T1" fmla="*/ 36 h 71"/>
                  <a:gd name="T2" fmla="*/ 69 w 71"/>
                  <a:gd name="T3" fmla="*/ 25 h 71"/>
                  <a:gd name="T4" fmla="*/ 64 w 71"/>
                  <a:gd name="T5" fmla="*/ 14 h 71"/>
                  <a:gd name="T6" fmla="*/ 57 w 71"/>
                  <a:gd name="T7" fmla="*/ 7 h 71"/>
                  <a:gd name="T8" fmla="*/ 47 w 71"/>
                  <a:gd name="T9" fmla="*/ 1 h 71"/>
                  <a:gd name="T10" fmla="*/ 36 w 71"/>
                  <a:gd name="T11" fmla="*/ 0 h 71"/>
                  <a:gd name="T12" fmla="*/ 25 w 71"/>
                  <a:gd name="T13" fmla="*/ 1 h 71"/>
                  <a:gd name="T14" fmla="*/ 14 w 71"/>
                  <a:gd name="T15" fmla="*/ 7 h 71"/>
                  <a:gd name="T16" fmla="*/ 7 w 71"/>
                  <a:gd name="T17" fmla="*/ 14 h 71"/>
                  <a:gd name="T18" fmla="*/ 1 w 71"/>
                  <a:gd name="T19" fmla="*/ 25 h 71"/>
                  <a:gd name="T20" fmla="*/ 0 w 71"/>
                  <a:gd name="T21" fmla="*/ 36 h 71"/>
                  <a:gd name="T22" fmla="*/ 1 w 71"/>
                  <a:gd name="T23" fmla="*/ 47 h 71"/>
                  <a:gd name="T24" fmla="*/ 7 w 71"/>
                  <a:gd name="T25" fmla="*/ 57 h 71"/>
                  <a:gd name="T26" fmla="*/ 14 w 71"/>
                  <a:gd name="T27" fmla="*/ 64 h 71"/>
                  <a:gd name="T28" fmla="*/ 25 w 71"/>
                  <a:gd name="T29" fmla="*/ 69 h 71"/>
                  <a:gd name="T30" fmla="*/ 36 w 71"/>
                  <a:gd name="T31" fmla="*/ 71 h 71"/>
                  <a:gd name="T32" fmla="*/ 47 w 71"/>
                  <a:gd name="T33" fmla="*/ 69 h 71"/>
                  <a:gd name="T34" fmla="*/ 57 w 71"/>
                  <a:gd name="T35" fmla="*/ 64 h 71"/>
                  <a:gd name="T36" fmla="*/ 64 w 71"/>
                  <a:gd name="T37" fmla="*/ 57 h 71"/>
                  <a:gd name="T38" fmla="*/ 69 w 71"/>
                  <a:gd name="T39" fmla="*/ 47 h 71"/>
                  <a:gd name="T40" fmla="*/ 71 w 71"/>
                  <a:gd name="T41" fmla="*/ 36 h 7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1"/>
                  <a:gd name="T64" fmla="*/ 0 h 71"/>
                  <a:gd name="T65" fmla="*/ 71 w 71"/>
                  <a:gd name="T66" fmla="*/ 71 h 7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1" h="71">
                    <a:moveTo>
                      <a:pt x="71" y="36"/>
                    </a:moveTo>
                    <a:lnTo>
                      <a:pt x="69" y="25"/>
                    </a:lnTo>
                    <a:lnTo>
                      <a:pt x="64" y="14"/>
                    </a:lnTo>
                    <a:lnTo>
                      <a:pt x="57" y="7"/>
                    </a:lnTo>
                    <a:lnTo>
                      <a:pt x="47" y="1"/>
                    </a:lnTo>
                    <a:lnTo>
                      <a:pt x="36" y="0"/>
                    </a:lnTo>
                    <a:lnTo>
                      <a:pt x="25" y="1"/>
                    </a:lnTo>
                    <a:lnTo>
                      <a:pt x="14" y="7"/>
                    </a:lnTo>
                    <a:lnTo>
                      <a:pt x="7" y="14"/>
                    </a:lnTo>
                    <a:lnTo>
                      <a:pt x="1" y="25"/>
                    </a:lnTo>
                    <a:lnTo>
                      <a:pt x="0" y="36"/>
                    </a:lnTo>
                    <a:lnTo>
                      <a:pt x="1" y="47"/>
                    </a:lnTo>
                    <a:lnTo>
                      <a:pt x="7" y="57"/>
                    </a:lnTo>
                    <a:lnTo>
                      <a:pt x="14" y="64"/>
                    </a:lnTo>
                    <a:lnTo>
                      <a:pt x="25" y="69"/>
                    </a:lnTo>
                    <a:lnTo>
                      <a:pt x="36" y="71"/>
                    </a:lnTo>
                    <a:lnTo>
                      <a:pt x="47" y="69"/>
                    </a:lnTo>
                    <a:lnTo>
                      <a:pt x="57" y="64"/>
                    </a:lnTo>
                    <a:lnTo>
                      <a:pt x="64" y="57"/>
                    </a:lnTo>
                    <a:lnTo>
                      <a:pt x="69" y="47"/>
                    </a:lnTo>
                    <a:lnTo>
                      <a:pt x="71" y="3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6" name="Freeform 128"/>
              <p:cNvSpPr>
                <a:spLocks/>
              </p:cNvSpPr>
              <p:nvPr/>
            </p:nvSpPr>
            <p:spPr bwMode="auto">
              <a:xfrm>
                <a:off x="4875" y="1199"/>
                <a:ext cx="71" cy="71"/>
              </a:xfrm>
              <a:custGeom>
                <a:avLst/>
                <a:gdLst>
                  <a:gd name="T0" fmla="*/ 71 w 71"/>
                  <a:gd name="T1" fmla="*/ 36 h 71"/>
                  <a:gd name="T2" fmla="*/ 69 w 71"/>
                  <a:gd name="T3" fmla="*/ 25 h 71"/>
                  <a:gd name="T4" fmla="*/ 64 w 71"/>
                  <a:gd name="T5" fmla="*/ 14 h 71"/>
                  <a:gd name="T6" fmla="*/ 57 w 71"/>
                  <a:gd name="T7" fmla="*/ 7 h 71"/>
                  <a:gd name="T8" fmla="*/ 47 w 71"/>
                  <a:gd name="T9" fmla="*/ 1 h 71"/>
                  <a:gd name="T10" fmla="*/ 36 w 71"/>
                  <a:gd name="T11" fmla="*/ 0 h 71"/>
                  <a:gd name="T12" fmla="*/ 25 w 71"/>
                  <a:gd name="T13" fmla="*/ 1 h 71"/>
                  <a:gd name="T14" fmla="*/ 14 w 71"/>
                  <a:gd name="T15" fmla="*/ 7 h 71"/>
                  <a:gd name="T16" fmla="*/ 7 w 71"/>
                  <a:gd name="T17" fmla="*/ 14 h 71"/>
                  <a:gd name="T18" fmla="*/ 1 w 71"/>
                  <a:gd name="T19" fmla="*/ 25 h 71"/>
                  <a:gd name="T20" fmla="*/ 0 w 71"/>
                  <a:gd name="T21" fmla="*/ 36 h 71"/>
                  <a:gd name="T22" fmla="*/ 1 w 71"/>
                  <a:gd name="T23" fmla="*/ 47 h 71"/>
                  <a:gd name="T24" fmla="*/ 7 w 71"/>
                  <a:gd name="T25" fmla="*/ 57 h 71"/>
                  <a:gd name="T26" fmla="*/ 14 w 71"/>
                  <a:gd name="T27" fmla="*/ 64 h 71"/>
                  <a:gd name="T28" fmla="*/ 25 w 71"/>
                  <a:gd name="T29" fmla="*/ 69 h 71"/>
                  <a:gd name="T30" fmla="*/ 36 w 71"/>
                  <a:gd name="T31" fmla="*/ 71 h 71"/>
                  <a:gd name="T32" fmla="*/ 47 w 71"/>
                  <a:gd name="T33" fmla="*/ 69 h 71"/>
                  <a:gd name="T34" fmla="*/ 57 w 71"/>
                  <a:gd name="T35" fmla="*/ 64 h 71"/>
                  <a:gd name="T36" fmla="*/ 64 w 71"/>
                  <a:gd name="T37" fmla="*/ 57 h 71"/>
                  <a:gd name="T38" fmla="*/ 69 w 71"/>
                  <a:gd name="T39" fmla="*/ 47 h 71"/>
                  <a:gd name="T40" fmla="*/ 71 w 71"/>
                  <a:gd name="T41" fmla="*/ 36 h 7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1"/>
                  <a:gd name="T64" fmla="*/ 0 h 71"/>
                  <a:gd name="T65" fmla="*/ 71 w 71"/>
                  <a:gd name="T66" fmla="*/ 71 h 7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1" h="71">
                    <a:moveTo>
                      <a:pt x="71" y="36"/>
                    </a:moveTo>
                    <a:lnTo>
                      <a:pt x="69" y="25"/>
                    </a:lnTo>
                    <a:lnTo>
                      <a:pt x="64" y="14"/>
                    </a:lnTo>
                    <a:lnTo>
                      <a:pt x="57" y="7"/>
                    </a:lnTo>
                    <a:lnTo>
                      <a:pt x="47" y="1"/>
                    </a:lnTo>
                    <a:lnTo>
                      <a:pt x="36" y="0"/>
                    </a:lnTo>
                    <a:lnTo>
                      <a:pt x="25" y="1"/>
                    </a:lnTo>
                    <a:lnTo>
                      <a:pt x="14" y="7"/>
                    </a:lnTo>
                    <a:lnTo>
                      <a:pt x="7" y="14"/>
                    </a:lnTo>
                    <a:lnTo>
                      <a:pt x="1" y="25"/>
                    </a:lnTo>
                    <a:lnTo>
                      <a:pt x="0" y="36"/>
                    </a:lnTo>
                    <a:lnTo>
                      <a:pt x="1" y="47"/>
                    </a:lnTo>
                    <a:lnTo>
                      <a:pt x="7" y="57"/>
                    </a:lnTo>
                    <a:lnTo>
                      <a:pt x="14" y="64"/>
                    </a:lnTo>
                    <a:lnTo>
                      <a:pt x="25" y="69"/>
                    </a:lnTo>
                    <a:lnTo>
                      <a:pt x="36" y="71"/>
                    </a:lnTo>
                    <a:lnTo>
                      <a:pt x="47" y="69"/>
                    </a:lnTo>
                    <a:lnTo>
                      <a:pt x="57" y="64"/>
                    </a:lnTo>
                    <a:lnTo>
                      <a:pt x="64" y="57"/>
                    </a:lnTo>
                    <a:lnTo>
                      <a:pt x="69" y="47"/>
                    </a:lnTo>
                    <a:lnTo>
                      <a:pt x="71" y="3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7" name="Freeform 129"/>
              <p:cNvSpPr>
                <a:spLocks/>
              </p:cNvSpPr>
              <p:nvPr/>
            </p:nvSpPr>
            <p:spPr bwMode="auto">
              <a:xfrm>
                <a:off x="4690" y="1086"/>
                <a:ext cx="70" cy="70"/>
              </a:xfrm>
              <a:custGeom>
                <a:avLst/>
                <a:gdLst>
                  <a:gd name="T0" fmla="*/ 70 w 70"/>
                  <a:gd name="T1" fmla="*/ 35 h 70"/>
                  <a:gd name="T2" fmla="*/ 68 w 70"/>
                  <a:gd name="T3" fmla="*/ 24 h 70"/>
                  <a:gd name="T4" fmla="*/ 63 w 70"/>
                  <a:gd name="T5" fmla="*/ 14 h 70"/>
                  <a:gd name="T6" fmla="*/ 56 w 70"/>
                  <a:gd name="T7" fmla="*/ 7 h 70"/>
                  <a:gd name="T8" fmla="*/ 46 w 70"/>
                  <a:gd name="T9" fmla="*/ 2 h 70"/>
                  <a:gd name="T10" fmla="*/ 35 w 70"/>
                  <a:gd name="T11" fmla="*/ 0 h 70"/>
                  <a:gd name="T12" fmla="*/ 24 w 70"/>
                  <a:gd name="T13" fmla="*/ 2 h 70"/>
                  <a:gd name="T14" fmla="*/ 14 w 70"/>
                  <a:gd name="T15" fmla="*/ 7 h 70"/>
                  <a:gd name="T16" fmla="*/ 7 w 70"/>
                  <a:gd name="T17" fmla="*/ 14 h 70"/>
                  <a:gd name="T18" fmla="*/ 1 w 70"/>
                  <a:gd name="T19" fmla="*/ 24 h 70"/>
                  <a:gd name="T20" fmla="*/ 0 w 70"/>
                  <a:gd name="T21" fmla="*/ 35 h 70"/>
                  <a:gd name="T22" fmla="*/ 1 w 70"/>
                  <a:gd name="T23" fmla="*/ 46 h 70"/>
                  <a:gd name="T24" fmla="*/ 7 w 70"/>
                  <a:gd name="T25" fmla="*/ 56 h 70"/>
                  <a:gd name="T26" fmla="*/ 14 w 70"/>
                  <a:gd name="T27" fmla="*/ 63 h 70"/>
                  <a:gd name="T28" fmla="*/ 24 w 70"/>
                  <a:gd name="T29" fmla="*/ 69 h 70"/>
                  <a:gd name="T30" fmla="*/ 35 w 70"/>
                  <a:gd name="T31" fmla="*/ 70 h 70"/>
                  <a:gd name="T32" fmla="*/ 46 w 70"/>
                  <a:gd name="T33" fmla="*/ 69 h 70"/>
                  <a:gd name="T34" fmla="*/ 56 w 70"/>
                  <a:gd name="T35" fmla="*/ 63 h 70"/>
                  <a:gd name="T36" fmla="*/ 63 w 70"/>
                  <a:gd name="T37" fmla="*/ 56 h 70"/>
                  <a:gd name="T38" fmla="*/ 68 w 70"/>
                  <a:gd name="T39" fmla="*/ 46 h 70"/>
                  <a:gd name="T40" fmla="*/ 70 w 70"/>
                  <a:gd name="T41" fmla="*/ 35 h 7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0"/>
                  <a:gd name="T64" fmla="*/ 0 h 70"/>
                  <a:gd name="T65" fmla="*/ 70 w 70"/>
                  <a:gd name="T66" fmla="*/ 70 h 7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0" h="70">
                    <a:moveTo>
                      <a:pt x="70" y="35"/>
                    </a:moveTo>
                    <a:lnTo>
                      <a:pt x="68" y="24"/>
                    </a:lnTo>
                    <a:lnTo>
                      <a:pt x="63" y="14"/>
                    </a:lnTo>
                    <a:lnTo>
                      <a:pt x="56" y="7"/>
                    </a:lnTo>
                    <a:lnTo>
                      <a:pt x="46" y="2"/>
                    </a:lnTo>
                    <a:lnTo>
                      <a:pt x="35" y="0"/>
                    </a:lnTo>
                    <a:lnTo>
                      <a:pt x="24" y="2"/>
                    </a:lnTo>
                    <a:lnTo>
                      <a:pt x="14" y="7"/>
                    </a:lnTo>
                    <a:lnTo>
                      <a:pt x="7" y="14"/>
                    </a:lnTo>
                    <a:lnTo>
                      <a:pt x="1" y="24"/>
                    </a:lnTo>
                    <a:lnTo>
                      <a:pt x="0" y="35"/>
                    </a:lnTo>
                    <a:lnTo>
                      <a:pt x="1" y="46"/>
                    </a:lnTo>
                    <a:lnTo>
                      <a:pt x="7" y="56"/>
                    </a:lnTo>
                    <a:lnTo>
                      <a:pt x="14" y="63"/>
                    </a:lnTo>
                    <a:lnTo>
                      <a:pt x="24" y="69"/>
                    </a:lnTo>
                    <a:lnTo>
                      <a:pt x="35" y="70"/>
                    </a:lnTo>
                    <a:lnTo>
                      <a:pt x="46" y="69"/>
                    </a:lnTo>
                    <a:lnTo>
                      <a:pt x="56" y="63"/>
                    </a:lnTo>
                    <a:lnTo>
                      <a:pt x="63" y="56"/>
                    </a:lnTo>
                    <a:lnTo>
                      <a:pt x="68" y="46"/>
                    </a:lnTo>
                    <a:lnTo>
                      <a:pt x="70" y="3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8" name="Freeform 130"/>
              <p:cNvSpPr>
                <a:spLocks/>
              </p:cNvSpPr>
              <p:nvPr/>
            </p:nvSpPr>
            <p:spPr bwMode="auto">
              <a:xfrm>
                <a:off x="4690" y="1086"/>
                <a:ext cx="70" cy="70"/>
              </a:xfrm>
              <a:custGeom>
                <a:avLst/>
                <a:gdLst>
                  <a:gd name="T0" fmla="*/ 70 w 70"/>
                  <a:gd name="T1" fmla="*/ 35 h 70"/>
                  <a:gd name="T2" fmla="*/ 68 w 70"/>
                  <a:gd name="T3" fmla="*/ 24 h 70"/>
                  <a:gd name="T4" fmla="*/ 63 w 70"/>
                  <a:gd name="T5" fmla="*/ 14 h 70"/>
                  <a:gd name="T6" fmla="*/ 56 w 70"/>
                  <a:gd name="T7" fmla="*/ 7 h 70"/>
                  <a:gd name="T8" fmla="*/ 46 w 70"/>
                  <a:gd name="T9" fmla="*/ 2 h 70"/>
                  <a:gd name="T10" fmla="*/ 35 w 70"/>
                  <a:gd name="T11" fmla="*/ 0 h 70"/>
                  <a:gd name="T12" fmla="*/ 24 w 70"/>
                  <a:gd name="T13" fmla="*/ 2 h 70"/>
                  <a:gd name="T14" fmla="*/ 14 w 70"/>
                  <a:gd name="T15" fmla="*/ 7 h 70"/>
                  <a:gd name="T16" fmla="*/ 7 w 70"/>
                  <a:gd name="T17" fmla="*/ 14 h 70"/>
                  <a:gd name="T18" fmla="*/ 1 w 70"/>
                  <a:gd name="T19" fmla="*/ 24 h 70"/>
                  <a:gd name="T20" fmla="*/ 0 w 70"/>
                  <a:gd name="T21" fmla="*/ 35 h 70"/>
                  <a:gd name="T22" fmla="*/ 1 w 70"/>
                  <a:gd name="T23" fmla="*/ 46 h 70"/>
                  <a:gd name="T24" fmla="*/ 7 w 70"/>
                  <a:gd name="T25" fmla="*/ 56 h 70"/>
                  <a:gd name="T26" fmla="*/ 14 w 70"/>
                  <a:gd name="T27" fmla="*/ 63 h 70"/>
                  <a:gd name="T28" fmla="*/ 24 w 70"/>
                  <a:gd name="T29" fmla="*/ 69 h 70"/>
                  <a:gd name="T30" fmla="*/ 35 w 70"/>
                  <a:gd name="T31" fmla="*/ 70 h 70"/>
                  <a:gd name="T32" fmla="*/ 46 w 70"/>
                  <a:gd name="T33" fmla="*/ 69 h 70"/>
                  <a:gd name="T34" fmla="*/ 56 w 70"/>
                  <a:gd name="T35" fmla="*/ 63 h 70"/>
                  <a:gd name="T36" fmla="*/ 63 w 70"/>
                  <a:gd name="T37" fmla="*/ 56 h 70"/>
                  <a:gd name="T38" fmla="*/ 68 w 70"/>
                  <a:gd name="T39" fmla="*/ 46 h 70"/>
                  <a:gd name="T40" fmla="*/ 70 w 70"/>
                  <a:gd name="T41" fmla="*/ 35 h 7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70"/>
                  <a:gd name="T64" fmla="*/ 0 h 70"/>
                  <a:gd name="T65" fmla="*/ 70 w 70"/>
                  <a:gd name="T66" fmla="*/ 70 h 7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70" h="70">
                    <a:moveTo>
                      <a:pt x="70" y="35"/>
                    </a:moveTo>
                    <a:lnTo>
                      <a:pt x="68" y="24"/>
                    </a:lnTo>
                    <a:lnTo>
                      <a:pt x="63" y="14"/>
                    </a:lnTo>
                    <a:lnTo>
                      <a:pt x="56" y="7"/>
                    </a:lnTo>
                    <a:lnTo>
                      <a:pt x="46" y="2"/>
                    </a:lnTo>
                    <a:lnTo>
                      <a:pt x="35" y="0"/>
                    </a:lnTo>
                    <a:lnTo>
                      <a:pt x="24" y="2"/>
                    </a:lnTo>
                    <a:lnTo>
                      <a:pt x="14" y="7"/>
                    </a:lnTo>
                    <a:lnTo>
                      <a:pt x="7" y="14"/>
                    </a:lnTo>
                    <a:lnTo>
                      <a:pt x="1" y="24"/>
                    </a:lnTo>
                    <a:lnTo>
                      <a:pt x="0" y="35"/>
                    </a:lnTo>
                    <a:lnTo>
                      <a:pt x="1" y="46"/>
                    </a:lnTo>
                    <a:lnTo>
                      <a:pt x="7" y="56"/>
                    </a:lnTo>
                    <a:lnTo>
                      <a:pt x="14" y="63"/>
                    </a:lnTo>
                    <a:lnTo>
                      <a:pt x="24" y="69"/>
                    </a:lnTo>
                    <a:lnTo>
                      <a:pt x="35" y="70"/>
                    </a:lnTo>
                    <a:lnTo>
                      <a:pt x="46" y="69"/>
                    </a:lnTo>
                    <a:lnTo>
                      <a:pt x="56" y="63"/>
                    </a:lnTo>
                    <a:lnTo>
                      <a:pt x="63" y="56"/>
                    </a:lnTo>
                    <a:lnTo>
                      <a:pt x="68" y="46"/>
                    </a:lnTo>
                    <a:lnTo>
                      <a:pt x="70" y="3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79" name="Freeform 131"/>
              <p:cNvSpPr>
                <a:spLocks/>
              </p:cNvSpPr>
              <p:nvPr/>
            </p:nvSpPr>
            <p:spPr bwMode="auto">
              <a:xfrm>
                <a:off x="4500" y="1057"/>
                <a:ext cx="68" cy="68"/>
              </a:xfrm>
              <a:custGeom>
                <a:avLst/>
                <a:gdLst>
                  <a:gd name="T0" fmla="*/ 68 w 68"/>
                  <a:gd name="T1" fmla="*/ 34 h 68"/>
                  <a:gd name="T2" fmla="*/ 67 w 68"/>
                  <a:gd name="T3" fmla="*/ 23 h 68"/>
                  <a:gd name="T4" fmla="*/ 61 w 68"/>
                  <a:gd name="T5" fmla="*/ 13 h 68"/>
                  <a:gd name="T6" fmla="*/ 54 w 68"/>
                  <a:gd name="T7" fmla="*/ 6 h 68"/>
                  <a:gd name="T8" fmla="*/ 45 w 68"/>
                  <a:gd name="T9" fmla="*/ 2 h 68"/>
                  <a:gd name="T10" fmla="*/ 34 w 68"/>
                  <a:gd name="T11" fmla="*/ 0 h 68"/>
                  <a:gd name="T12" fmla="*/ 23 w 68"/>
                  <a:gd name="T13" fmla="*/ 2 h 68"/>
                  <a:gd name="T14" fmla="*/ 13 w 68"/>
                  <a:gd name="T15" fmla="*/ 6 h 68"/>
                  <a:gd name="T16" fmla="*/ 6 w 68"/>
                  <a:gd name="T17" fmla="*/ 13 h 68"/>
                  <a:gd name="T18" fmla="*/ 1 w 68"/>
                  <a:gd name="T19" fmla="*/ 23 h 68"/>
                  <a:gd name="T20" fmla="*/ 0 w 68"/>
                  <a:gd name="T21" fmla="*/ 34 h 68"/>
                  <a:gd name="T22" fmla="*/ 1 w 68"/>
                  <a:gd name="T23" fmla="*/ 45 h 68"/>
                  <a:gd name="T24" fmla="*/ 6 w 68"/>
                  <a:gd name="T25" fmla="*/ 54 h 68"/>
                  <a:gd name="T26" fmla="*/ 13 w 68"/>
                  <a:gd name="T27" fmla="*/ 61 h 68"/>
                  <a:gd name="T28" fmla="*/ 23 w 68"/>
                  <a:gd name="T29" fmla="*/ 67 h 68"/>
                  <a:gd name="T30" fmla="*/ 34 w 68"/>
                  <a:gd name="T31" fmla="*/ 68 h 68"/>
                  <a:gd name="T32" fmla="*/ 45 w 68"/>
                  <a:gd name="T33" fmla="*/ 67 h 68"/>
                  <a:gd name="T34" fmla="*/ 54 w 68"/>
                  <a:gd name="T35" fmla="*/ 61 h 68"/>
                  <a:gd name="T36" fmla="*/ 61 w 68"/>
                  <a:gd name="T37" fmla="*/ 54 h 68"/>
                  <a:gd name="T38" fmla="*/ 67 w 68"/>
                  <a:gd name="T39" fmla="*/ 45 h 68"/>
                  <a:gd name="T40" fmla="*/ 68 w 68"/>
                  <a:gd name="T41" fmla="*/ 34 h 6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8"/>
                  <a:gd name="T64" fmla="*/ 0 h 68"/>
                  <a:gd name="T65" fmla="*/ 68 w 68"/>
                  <a:gd name="T66" fmla="*/ 68 h 6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8" h="68">
                    <a:moveTo>
                      <a:pt x="68" y="34"/>
                    </a:moveTo>
                    <a:lnTo>
                      <a:pt x="67" y="23"/>
                    </a:lnTo>
                    <a:lnTo>
                      <a:pt x="61" y="13"/>
                    </a:lnTo>
                    <a:lnTo>
                      <a:pt x="54" y="6"/>
                    </a:lnTo>
                    <a:lnTo>
                      <a:pt x="45" y="2"/>
                    </a:lnTo>
                    <a:lnTo>
                      <a:pt x="34" y="0"/>
                    </a:lnTo>
                    <a:lnTo>
                      <a:pt x="23" y="2"/>
                    </a:lnTo>
                    <a:lnTo>
                      <a:pt x="13" y="6"/>
                    </a:lnTo>
                    <a:lnTo>
                      <a:pt x="6" y="13"/>
                    </a:lnTo>
                    <a:lnTo>
                      <a:pt x="1" y="23"/>
                    </a:lnTo>
                    <a:lnTo>
                      <a:pt x="0" y="34"/>
                    </a:lnTo>
                    <a:lnTo>
                      <a:pt x="1" y="45"/>
                    </a:lnTo>
                    <a:lnTo>
                      <a:pt x="6" y="54"/>
                    </a:lnTo>
                    <a:lnTo>
                      <a:pt x="13" y="61"/>
                    </a:lnTo>
                    <a:lnTo>
                      <a:pt x="23" y="67"/>
                    </a:lnTo>
                    <a:lnTo>
                      <a:pt x="34" y="68"/>
                    </a:lnTo>
                    <a:lnTo>
                      <a:pt x="45" y="67"/>
                    </a:lnTo>
                    <a:lnTo>
                      <a:pt x="54" y="61"/>
                    </a:lnTo>
                    <a:lnTo>
                      <a:pt x="61" y="54"/>
                    </a:lnTo>
                    <a:lnTo>
                      <a:pt x="67" y="45"/>
                    </a:lnTo>
                    <a:lnTo>
                      <a:pt x="68" y="34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0" name="Freeform 132"/>
              <p:cNvSpPr>
                <a:spLocks/>
              </p:cNvSpPr>
              <p:nvPr/>
            </p:nvSpPr>
            <p:spPr bwMode="auto">
              <a:xfrm>
                <a:off x="4500" y="1057"/>
                <a:ext cx="68" cy="68"/>
              </a:xfrm>
              <a:custGeom>
                <a:avLst/>
                <a:gdLst>
                  <a:gd name="T0" fmla="*/ 68 w 68"/>
                  <a:gd name="T1" fmla="*/ 34 h 68"/>
                  <a:gd name="T2" fmla="*/ 67 w 68"/>
                  <a:gd name="T3" fmla="*/ 23 h 68"/>
                  <a:gd name="T4" fmla="*/ 61 w 68"/>
                  <a:gd name="T5" fmla="*/ 13 h 68"/>
                  <a:gd name="T6" fmla="*/ 54 w 68"/>
                  <a:gd name="T7" fmla="*/ 6 h 68"/>
                  <a:gd name="T8" fmla="*/ 45 w 68"/>
                  <a:gd name="T9" fmla="*/ 2 h 68"/>
                  <a:gd name="T10" fmla="*/ 34 w 68"/>
                  <a:gd name="T11" fmla="*/ 0 h 68"/>
                  <a:gd name="T12" fmla="*/ 23 w 68"/>
                  <a:gd name="T13" fmla="*/ 2 h 68"/>
                  <a:gd name="T14" fmla="*/ 13 w 68"/>
                  <a:gd name="T15" fmla="*/ 6 h 68"/>
                  <a:gd name="T16" fmla="*/ 6 w 68"/>
                  <a:gd name="T17" fmla="*/ 13 h 68"/>
                  <a:gd name="T18" fmla="*/ 1 w 68"/>
                  <a:gd name="T19" fmla="*/ 23 h 68"/>
                  <a:gd name="T20" fmla="*/ 0 w 68"/>
                  <a:gd name="T21" fmla="*/ 34 h 68"/>
                  <a:gd name="T22" fmla="*/ 1 w 68"/>
                  <a:gd name="T23" fmla="*/ 45 h 68"/>
                  <a:gd name="T24" fmla="*/ 6 w 68"/>
                  <a:gd name="T25" fmla="*/ 54 h 68"/>
                  <a:gd name="T26" fmla="*/ 13 w 68"/>
                  <a:gd name="T27" fmla="*/ 61 h 68"/>
                  <a:gd name="T28" fmla="*/ 23 w 68"/>
                  <a:gd name="T29" fmla="*/ 67 h 68"/>
                  <a:gd name="T30" fmla="*/ 34 w 68"/>
                  <a:gd name="T31" fmla="*/ 68 h 68"/>
                  <a:gd name="T32" fmla="*/ 45 w 68"/>
                  <a:gd name="T33" fmla="*/ 67 h 68"/>
                  <a:gd name="T34" fmla="*/ 54 w 68"/>
                  <a:gd name="T35" fmla="*/ 61 h 68"/>
                  <a:gd name="T36" fmla="*/ 61 w 68"/>
                  <a:gd name="T37" fmla="*/ 54 h 68"/>
                  <a:gd name="T38" fmla="*/ 67 w 68"/>
                  <a:gd name="T39" fmla="*/ 45 h 68"/>
                  <a:gd name="T40" fmla="*/ 68 w 68"/>
                  <a:gd name="T41" fmla="*/ 34 h 6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8"/>
                  <a:gd name="T64" fmla="*/ 0 h 68"/>
                  <a:gd name="T65" fmla="*/ 68 w 68"/>
                  <a:gd name="T66" fmla="*/ 68 h 6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8" h="68">
                    <a:moveTo>
                      <a:pt x="68" y="34"/>
                    </a:moveTo>
                    <a:lnTo>
                      <a:pt x="67" y="23"/>
                    </a:lnTo>
                    <a:lnTo>
                      <a:pt x="61" y="13"/>
                    </a:lnTo>
                    <a:lnTo>
                      <a:pt x="54" y="6"/>
                    </a:lnTo>
                    <a:lnTo>
                      <a:pt x="45" y="2"/>
                    </a:lnTo>
                    <a:lnTo>
                      <a:pt x="34" y="0"/>
                    </a:lnTo>
                    <a:lnTo>
                      <a:pt x="23" y="2"/>
                    </a:lnTo>
                    <a:lnTo>
                      <a:pt x="13" y="6"/>
                    </a:lnTo>
                    <a:lnTo>
                      <a:pt x="6" y="13"/>
                    </a:lnTo>
                    <a:lnTo>
                      <a:pt x="1" y="23"/>
                    </a:lnTo>
                    <a:lnTo>
                      <a:pt x="0" y="34"/>
                    </a:lnTo>
                    <a:lnTo>
                      <a:pt x="1" y="45"/>
                    </a:lnTo>
                    <a:lnTo>
                      <a:pt x="6" y="54"/>
                    </a:lnTo>
                    <a:lnTo>
                      <a:pt x="13" y="61"/>
                    </a:lnTo>
                    <a:lnTo>
                      <a:pt x="23" y="67"/>
                    </a:lnTo>
                    <a:lnTo>
                      <a:pt x="34" y="68"/>
                    </a:lnTo>
                    <a:lnTo>
                      <a:pt x="45" y="67"/>
                    </a:lnTo>
                    <a:lnTo>
                      <a:pt x="54" y="61"/>
                    </a:lnTo>
                    <a:lnTo>
                      <a:pt x="61" y="54"/>
                    </a:lnTo>
                    <a:lnTo>
                      <a:pt x="67" y="45"/>
                    </a:lnTo>
                    <a:lnTo>
                      <a:pt x="68" y="34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1" name="Freeform 133"/>
              <p:cNvSpPr>
                <a:spLocks/>
              </p:cNvSpPr>
              <p:nvPr/>
            </p:nvSpPr>
            <p:spPr bwMode="auto">
              <a:xfrm>
                <a:off x="4662" y="1144"/>
                <a:ext cx="65" cy="66"/>
              </a:xfrm>
              <a:custGeom>
                <a:avLst/>
                <a:gdLst>
                  <a:gd name="T0" fmla="*/ 65 w 65"/>
                  <a:gd name="T1" fmla="*/ 33 h 66"/>
                  <a:gd name="T2" fmla="*/ 63 w 65"/>
                  <a:gd name="T3" fmla="*/ 23 h 66"/>
                  <a:gd name="T4" fmla="*/ 59 w 65"/>
                  <a:gd name="T5" fmla="*/ 14 h 66"/>
                  <a:gd name="T6" fmla="*/ 51 w 65"/>
                  <a:gd name="T7" fmla="*/ 7 h 66"/>
                  <a:gd name="T8" fmla="*/ 43 w 65"/>
                  <a:gd name="T9" fmla="*/ 2 h 66"/>
                  <a:gd name="T10" fmla="*/ 32 w 65"/>
                  <a:gd name="T11" fmla="*/ 0 h 66"/>
                  <a:gd name="T12" fmla="*/ 22 w 65"/>
                  <a:gd name="T13" fmla="*/ 2 h 66"/>
                  <a:gd name="T14" fmla="*/ 13 w 65"/>
                  <a:gd name="T15" fmla="*/ 7 h 66"/>
                  <a:gd name="T16" fmla="*/ 6 w 65"/>
                  <a:gd name="T17" fmla="*/ 14 h 66"/>
                  <a:gd name="T18" fmla="*/ 1 w 65"/>
                  <a:gd name="T19" fmla="*/ 23 h 66"/>
                  <a:gd name="T20" fmla="*/ 0 w 65"/>
                  <a:gd name="T21" fmla="*/ 33 h 66"/>
                  <a:gd name="T22" fmla="*/ 1 w 65"/>
                  <a:gd name="T23" fmla="*/ 44 h 66"/>
                  <a:gd name="T24" fmla="*/ 6 w 65"/>
                  <a:gd name="T25" fmla="*/ 53 h 66"/>
                  <a:gd name="T26" fmla="*/ 13 w 65"/>
                  <a:gd name="T27" fmla="*/ 60 h 66"/>
                  <a:gd name="T28" fmla="*/ 22 w 65"/>
                  <a:gd name="T29" fmla="*/ 65 h 66"/>
                  <a:gd name="T30" fmla="*/ 32 w 65"/>
                  <a:gd name="T31" fmla="*/ 66 h 66"/>
                  <a:gd name="T32" fmla="*/ 43 w 65"/>
                  <a:gd name="T33" fmla="*/ 65 h 66"/>
                  <a:gd name="T34" fmla="*/ 51 w 65"/>
                  <a:gd name="T35" fmla="*/ 60 h 66"/>
                  <a:gd name="T36" fmla="*/ 59 w 65"/>
                  <a:gd name="T37" fmla="*/ 53 h 66"/>
                  <a:gd name="T38" fmla="*/ 63 w 65"/>
                  <a:gd name="T39" fmla="*/ 44 h 66"/>
                  <a:gd name="T40" fmla="*/ 65 w 65"/>
                  <a:gd name="T41" fmla="*/ 33 h 6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5"/>
                  <a:gd name="T64" fmla="*/ 0 h 66"/>
                  <a:gd name="T65" fmla="*/ 65 w 65"/>
                  <a:gd name="T66" fmla="*/ 66 h 6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5" h="66">
                    <a:moveTo>
                      <a:pt x="65" y="33"/>
                    </a:moveTo>
                    <a:lnTo>
                      <a:pt x="63" y="23"/>
                    </a:lnTo>
                    <a:lnTo>
                      <a:pt x="59" y="14"/>
                    </a:lnTo>
                    <a:lnTo>
                      <a:pt x="51" y="7"/>
                    </a:lnTo>
                    <a:lnTo>
                      <a:pt x="43" y="2"/>
                    </a:lnTo>
                    <a:lnTo>
                      <a:pt x="32" y="0"/>
                    </a:lnTo>
                    <a:lnTo>
                      <a:pt x="22" y="2"/>
                    </a:lnTo>
                    <a:lnTo>
                      <a:pt x="13" y="7"/>
                    </a:lnTo>
                    <a:lnTo>
                      <a:pt x="6" y="14"/>
                    </a:lnTo>
                    <a:lnTo>
                      <a:pt x="1" y="23"/>
                    </a:lnTo>
                    <a:lnTo>
                      <a:pt x="0" y="33"/>
                    </a:lnTo>
                    <a:lnTo>
                      <a:pt x="1" y="44"/>
                    </a:lnTo>
                    <a:lnTo>
                      <a:pt x="6" y="53"/>
                    </a:lnTo>
                    <a:lnTo>
                      <a:pt x="13" y="60"/>
                    </a:lnTo>
                    <a:lnTo>
                      <a:pt x="22" y="65"/>
                    </a:lnTo>
                    <a:lnTo>
                      <a:pt x="32" y="66"/>
                    </a:lnTo>
                    <a:lnTo>
                      <a:pt x="43" y="65"/>
                    </a:lnTo>
                    <a:lnTo>
                      <a:pt x="51" y="60"/>
                    </a:lnTo>
                    <a:lnTo>
                      <a:pt x="59" y="53"/>
                    </a:lnTo>
                    <a:lnTo>
                      <a:pt x="63" y="44"/>
                    </a:lnTo>
                    <a:lnTo>
                      <a:pt x="65" y="3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2" name="Freeform 134"/>
              <p:cNvSpPr>
                <a:spLocks/>
              </p:cNvSpPr>
              <p:nvPr/>
            </p:nvSpPr>
            <p:spPr bwMode="auto">
              <a:xfrm>
                <a:off x="4662" y="1144"/>
                <a:ext cx="65" cy="66"/>
              </a:xfrm>
              <a:custGeom>
                <a:avLst/>
                <a:gdLst>
                  <a:gd name="T0" fmla="*/ 65 w 65"/>
                  <a:gd name="T1" fmla="*/ 33 h 66"/>
                  <a:gd name="T2" fmla="*/ 63 w 65"/>
                  <a:gd name="T3" fmla="*/ 23 h 66"/>
                  <a:gd name="T4" fmla="*/ 59 w 65"/>
                  <a:gd name="T5" fmla="*/ 14 h 66"/>
                  <a:gd name="T6" fmla="*/ 51 w 65"/>
                  <a:gd name="T7" fmla="*/ 7 h 66"/>
                  <a:gd name="T8" fmla="*/ 43 w 65"/>
                  <a:gd name="T9" fmla="*/ 2 h 66"/>
                  <a:gd name="T10" fmla="*/ 32 w 65"/>
                  <a:gd name="T11" fmla="*/ 0 h 66"/>
                  <a:gd name="T12" fmla="*/ 22 w 65"/>
                  <a:gd name="T13" fmla="*/ 2 h 66"/>
                  <a:gd name="T14" fmla="*/ 13 w 65"/>
                  <a:gd name="T15" fmla="*/ 7 h 66"/>
                  <a:gd name="T16" fmla="*/ 6 w 65"/>
                  <a:gd name="T17" fmla="*/ 14 h 66"/>
                  <a:gd name="T18" fmla="*/ 1 w 65"/>
                  <a:gd name="T19" fmla="*/ 23 h 66"/>
                  <a:gd name="T20" fmla="*/ 0 w 65"/>
                  <a:gd name="T21" fmla="*/ 33 h 66"/>
                  <a:gd name="T22" fmla="*/ 1 w 65"/>
                  <a:gd name="T23" fmla="*/ 44 h 66"/>
                  <a:gd name="T24" fmla="*/ 6 w 65"/>
                  <a:gd name="T25" fmla="*/ 53 h 66"/>
                  <a:gd name="T26" fmla="*/ 13 w 65"/>
                  <a:gd name="T27" fmla="*/ 60 h 66"/>
                  <a:gd name="T28" fmla="*/ 22 w 65"/>
                  <a:gd name="T29" fmla="*/ 65 h 66"/>
                  <a:gd name="T30" fmla="*/ 32 w 65"/>
                  <a:gd name="T31" fmla="*/ 66 h 66"/>
                  <a:gd name="T32" fmla="*/ 43 w 65"/>
                  <a:gd name="T33" fmla="*/ 65 h 66"/>
                  <a:gd name="T34" fmla="*/ 51 w 65"/>
                  <a:gd name="T35" fmla="*/ 60 h 66"/>
                  <a:gd name="T36" fmla="*/ 59 w 65"/>
                  <a:gd name="T37" fmla="*/ 53 h 66"/>
                  <a:gd name="T38" fmla="*/ 63 w 65"/>
                  <a:gd name="T39" fmla="*/ 44 h 66"/>
                  <a:gd name="T40" fmla="*/ 65 w 65"/>
                  <a:gd name="T41" fmla="*/ 33 h 6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5"/>
                  <a:gd name="T64" fmla="*/ 0 h 66"/>
                  <a:gd name="T65" fmla="*/ 65 w 65"/>
                  <a:gd name="T66" fmla="*/ 66 h 6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5" h="66">
                    <a:moveTo>
                      <a:pt x="65" y="33"/>
                    </a:moveTo>
                    <a:lnTo>
                      <a:pt x="63" y="23"/>
                    </a:lnTo>
                    <a:lnTo>
                      <a:pt x="59" y="14"/>
                    </a:lnTo>
                    <a:lnTo>
                      <a:pt x="51" y="7"/>
                    </a:lnTo>
                    <a:lnTo>
                      <a:pt x="43" y="2"/>
                    </a:lnTo>
                    <a:lnTo>
                      <a:pt x="32" y="0"/>
                    </a:lnTo>
                    <a:lnTo>
                      <a:pt x="22" y="2"/>
                    </a:lnTo>
                    <a:lnTo>
                      <a:pt x="13" y="7"/>
                    </a:lnTo>
                    <a:lnTo>
                      <a:pt x="6" y="14"/>
                    </a:lnTo>
                    <a:lnTo>
                      <a:pt x="1" y="23"/>
                    </a:lnTo>
                    <a:lnTo>
                      <a:pt x="0" y="33"/>
                    </a:lnTo>
                    <a:lnTo>
                      <a:pt x="1" y="44"/>
                    </a:lnTo>
                    <a:lnTo>
                      <a:pt x="6" y="53"/>
                    </a:lnTo>
                    <a:lnTo>
                      <a:pt x="13" y="60"/>
                    </a:lnTo>
                    <a:lnTo>
                      <a:pt x="22" y="65"/>
                    </a:lnTo>
                    <a:lnTo>
                      <a:pt x="32" y="66"/>
                    </a:lnTo>
                    <a:lnTo>
                      <a:pt x="43" y="65"/>
                    </a:lnTo>
                    <a:lnTo>
                      <a:pt x="51" y="60"/>
                    </a:lnTo>
                    <a:lnTo>
                      <a:pt x="59" y="53"/>
                    </a:lnTo>
                    <a:lnTo>
                      <a:pt x="63" y="44"/>
                    </a:lnTo>
                    <a:lnTo>
                      <a:pt x="65" y="3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3" name="Freeform 135"/>
              <p:cNvSpPr>
                <a:spLocks/>
              </p:cNvSpPr>
              <p:nvPr/>
            </p:nvSpPr>
            <p:spPr bwMode="auto">
              <a:xfrm>
                <a:off x="4132" y="2924"/>
                <a:ext cx="63" cy="63"/>
              </a:xfrm>
              <a:custGeom>
                <a:avLst/>
                <a:gdLst>
                  <a:gd name="T0" fmla="*/ 63 w 63"/>
                  <a:gd name="T1" fmla="*/ 31 h 63"/>
                  <a:gd name="T2" fmla="*/ 61 w 63"/>
                  <a:gd name="T3" fmla="*/ 21 h 63"/>
                  <a:gd name="T4" fmla="*/ 57 w 63"/>
                  <a:gd name="T5" fmla="*/ 13 h 63"/>
                  <a:gd name="T6" fmla="*/ 50 w 63"/>
                  <a:gd name="T7" fmla="*/ 6 h 63"/>
                  <a:gd name="T8" fmla="*/ 42 w 63"/>
                  <a:gd name="T9" fmla="*/ 2 h 63"/>
                  <a:gd name="T10" fmla="*/ 31 w 63"/>
                  <a:gd name="T11" fmla="*/ 0 h 63"/>
                  <a:gd name="T12" fmla="*/ 21 w 63"/>
                  <a:gd name="T13" fmla="*/ 2 h 63"/>
                  <a:gd name="T14" fmla="*/ 13 w 63"/>
                  <a:gd name="T15" fmla="*/ 6 h 63"/>
                  <a:gd name="T16" fmla="*/ 6 w 63"/>
                  <a:gd name="T17" fmla="*/ 13 h 63"/>
                  <a:gd name="T18" fmla="*/ 2 w 63"/>
                  <a:gd name="T19" fmla="*/ 21 h 63"/>
                  <a:gd name="T20" fmla="*/ 0 w 63"/>
                  <a:gd name="T21" fmla="*/ 31 h 63"/>
                  <a:gd name="T22" fmla="*/ 2 w 63"/>
                  <a:gd name="T23" fmla="*/ 42 h 63"/>
                  <a:gd name="T24" fmla="*/ 6 w 63"/>
                  <a:gd name="T25" fmla="*/ 50 h 63"/>
                  <a:gd name="T26" fmla="*/ 13 w 63"/>
                  <a:gd name="T27" fmla="*/ 57 h 63"/>
                  <a:gd name="T28" fmla="*/ 21 w 63"/>
                  <a:gd name="T29" fmla="*/ 61 h 63"/>
                  <a:gd name="T30" fmla="*/ 31 w 63"/>
                  <a:gd name="T31" fmla="*/ 63 h 63"/>
                  <a:gd name="T32" fmla="*/ 42 w 63"/>
                  <a:gd name="T33" fmla="*/ 61 h 63"/>
                  <a:gd name="T34" fmla="*/ 50 w 63"/>
                  <a:gd name="T35" fmla="*/ 57 h 63"/>
                  <a:gd name="T36" fmla="*/ 57 w 63"/>
                  <a:gd name="T37" fmla="*/ 50 h 63"/>
                  <a:gd name="T38" fmla="*/ 61 w 63"/>
                  <a:gd name="T39" fmla="*/ 42 h 63"/>
                  <a:gd name="T40" fmla="*/ 63 w 63"/>
                  <a:gd name="T41" fmla="*/ 31 h 6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3"/>
                  <a:gd name="T64" fmla="*/ 0 h 63"/>
                  <a:gd name="T65" fmla="*/ 63 w 63"/>
                  <a:gd name="T66" fmla="*/ 63 h 6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3" h="63">
                    <a:moveTo>
                      <a:pt x="63" y="31"/>
                    </a:moveTo>
                    <a:lnTo>
                      <a:pt x="61" y="21"/>
                    </a:lnTo>
                    <a:lnTo>
                      <a:pt x="57" y="13"/>
                    </a:lnTo>
                    <a:lnTo>
                      <a:pt x="50" y="6"/>
                    </a:lnTo>
                    <a:lnTo>
                      <a:pt x="42" y="2"/>
                    </a:lnTo>
                    <a:lnTo>
                      <a:pt x="31" y="0"/>
                    </a:lnTo>
                    <a:lnTo>
                      <a:pt x="21" y="2"/>
                    </a:lnTo>
                    <a:lnTo>
                      <a:pt x="13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6" y="50"/>
                    </a:lnTo>
                    <a:lnTo>
                      <a:pt x="13" y="57"/>
                    </a:lnTo>
                    <a:lnTo>
                      <a:pt x="21" y="61"/>
                    </a:lnTo>
                    <a:lnTo>
                      <a:pt x="31" y="63"/>
                    </a:lnTo>
                    <a:lnTo>
                      <a:pt x="42" y="61"/>
                    </a:lnTo>
                    <a:lnTo>
                      <a:pt x="50" y="57"/>
                    </a:lnTo>
                    <a:lnTo>
                      <a:pt x="57" y="50"/>
                    </a:lnTo>
                    <a:lnTo>
                      <a:pt x="61" y="42"/>
                    </a:lnTo>
                    <a:lnTo>
                      <a:pt x="63" y="31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4" name="Freeform 136"/>
              <p:cNvSpPr>
                <a:spLocks/>
              </p:cNvSpPr>
              <p:nvPr/>
            </p:nvSpPr>
            <p:spPr bwMode="auto">
              <a:xfrm>
                <a:off x="4132" y="2924"/>
                <a:ext cx="63" cy="63"/>
              </a:xfrm>
              <a:custGeom>
                <a:avLst/>
                <a:gdLst>
                  <a:gd name="T0" fmla="*/ 63 w 63"/>
                  <a:gd name="T1" fmla="*/ 31 h 63"/>
                  <a:gd name="T2" fmla="*/ 61 w 63"/>
                  <a:gd name="T3" fmla="*/ 21 h 63"/>
                  <a:gd name="T4" fmla="*/ 57 w 63"/>
                  <a:gd name="T5" fmla="*/ 13 h 63"/>
                  <a:gd name="T6" fmla="*/ 50 w 63"/>
                  <a:gd name="T7" fmla="*/ 6 h 63"/>
                  <a:gd name="T8" fmla="*/ 42 w 63"/>
                  <a:gd name="T9" fmla="*/ 2 h 63"/>
                  <a:gd name="T10" fmla="*/ 31 w 63"/>
                  <a:gd name="T11" fmla="*/ 0 h 63"/>
                  <a:gd name="T12" fmla="*/ 21 w 63"/>
                  <a:gd name="T13" fmla="*/ 2 h 63"/>
                  <a:gd name="T14" fmla="*/ 13 w 63"/>
                  <a:gd name="T15" fmla="*/ 6 h 63"/>
                  <a:gd name="T16" fmla="*/ 6 w 63"/>
                  <a:gd name="T17" fmla="*/ 13 h 63"/>
                  <a:gd name="T18" fmla="*/ 2 w 63"/>
                  <a:gd name="T19" fmla="*/ 21 h 63"/>
                  <a:gd name="T20" fmla="*/ 0 w 63"/>
                  <a:gd name="T21" fmla="*/ 31 h 63"/>
                  <a:gd name="T22" fmla="*/ 2 w 63"/>
                  <a:gd name="T23" fmla="*/ 42 h 63"/>
                  <a:gd name="T24" fmla="*/ 6 w 63"/>
                  <a:gd name="T25" fmla="*/ 50 h 63"/>
                  <a:gd name="T26" fmla="*/ 13 w 63"/>
                  <a:gd name="T27" fmla="*/ 57 h 63"/>
                  <a:gd name="T28" fmla="*/ 21 w 63"/>
                  <a:gd name="T29" fmla="*/ 61 h 63"/>
                  <a:gd name="T30" fmla="*/ 31 w 63"/>
                  <a:gd name="T31" fmla="*/ 63 h 63"/>
                  <a:gd name="T32" fmla="*/ 42 w 63"/>
                  <a:gd name="T33" fmla="*/ 61 h 63"/>
                  <a:gd name="T34" fmla="*/ 50 w 63"/>
                  <a:gd name="T35" fmla="*/ 57 h 63"/>
                  <a:gd name="T36" fmla="*/ 57 w 63"/>
                  <a:gd name="T37" fmla="*/ 50 h 63"/>
                  <a:gd name="T38" fmla="*/ 61 w 63"/>
                  <a:gd name="T39" fmla="*/ 42 h 63"/>
                  <a:gd name="T40" fmla="*/ 63 w 63"/>
                  <a:gd name="T41" fmla="*/ 31 h 63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3"/>
                  <a:gd name="T64" fmla="*/ 0 h 63"/>
                  <a:gd name="T65" fmla="*/ 63 w 63"/>
                  <a:gd name="T66" fmla="*/ 63 h 63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3" h="63">
                    <a:moveTo>
                      <a:pt x="63" y="31"/>
                    </a:moveTo>
                    <a:lnTo>
                      <a:pt x="61" y="21"/>
                    </a:lnTo>
                    <a:lnTo>
                      <a:pt x="57" y="13"/>
                    </a:lnTo>
                    <a:lnTo>
                      <a:pt x="50" y="6"/>
                    </a:lnTo>
                    <a:lnTo>
                      <a:pt x="42" y="2"/>
                    </a:lnTo>
                    <a:lnTo>
                      <a:pt x="31" y="0"/>
                    </a:lnTo>
                    <a:lnTo>
                      <a:pt x="21" y="2"/>
                    </a:lnTo>
                    <a:lnTo>
                      <a:pt x="13" y="6"/>
                    </a:lnTo>
                    <a:lnTo>
                      <a:pt x="6" y="13"/>
                    </a:lnTo>
                    <a:lnTo>
                      <a:pt x="2" y="21"/>
                    </a:lnTo>
                    <a:lnTo>
                      <a:pt x="0" y="31"/>
                    </a:lnTo>
                    <a:lnTo>
                      <a:pt x="2" y="42"/>
                    </a:lnTo>
                    <a:lnTo>
                      <a:pt x="6" y="50"/>
                    </a:lnTo>
                    <a:lnTo>
                      <a:pt x="13" y="57"/>
                    </a:lnTo>
                    <a:lnTo>
                      <a:pt x="21" y="61"/>
                    </a:lnTo>
                    <a:lnTo>
                      <a:pt x="31" y="63"/>
                    </a:lnTo>
                    <a:lnTo>
                      <a:pt x="42" y="61"/>
                    </a:lnTo>
                    <a:lnTo>
                      <a:pt x="50" y="57"/>
                    </a:lnTo>
                    <a:lnTo>
                      <a:pt x="57" y="50"/>
                    </a:lnTo>
                    <a:lnTo>
                      <a:pt x="61" y="42"/>
                    </a:lnTo>
                    <a:lnTo>
                      <a:pt x="63" y="31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5" name="Freeform 137"/>
              <p:cNvSpPr>
                <a:spLocks/>
              </p:cNvSpPr>
              <p:nvPr/>
            </p:nvSpPr>
            <p:spPr bwMode="auto">
              <a:xfrm>
                <a:off x="4643" y="1077"/>
                <a:ext cx="61" cy="61"/>
              </a:xfrm>
              <a:custGeom>
                <a:avLst/>
                <a:gdLst>
                  <a:gd name="T0" fmla="*/ 61 w 61"/>
                  <a:gd name="T1" fmla="*/ 30 h 61"/>
                  <a:gd name="T2" fmla="*/ 59 w 61"/>
                  <a:gd name="T3" fmla="*/ 20 h 61"/>
                  <a:gd name="T4" fmla="*/ 56 w 61"/>
                  <a:gd name="T5" fmla="*/ 12 h 61"/>
                  <a:gd name="T6" fmla="*/ 48 w 61"/>
                  <a:gd name="T7" fmla="*/ 5 h 61"/>
                  <a:gd name="T8" fmla="*/ 41 w 61"/>
                  <a:gd name="T9" fmla="*/ 1 h 61"/>
                  <a:gd name="T10" fmla="*/ 30 w 61"/>
                  <a:gd name="T11" fmla="*/ 0 h 61"/>
                  <a:gd name="T12" fmla="*/ 21 w 61"/>
                  <a:gd name="T13" fmla="*/ 1 h 61"/>
                  <a:gd name="T14" fmla="*/ 12 w 61"/>
                  <a:gd name="T15" fmla="*/ 5 h 61"/>
                  <a:gd name="T16" fmla="*/ 6 w 61"/>
                  <a:gd name="T17" fmla="*/ 12 h 61"/>
                  <a:gd name="T18" fmla="*/ 1 w 61"/>
                  <a:gd name="T19" fmla="*/ 20 h 61"/>
                  <a:gd name="T20" fmla="*/ 0 w 61"/>
                  <a:gd name="T21" fmla="*/ 30 h 61"/>
                  <a:gd name="T22" fmla="*/ 1 w 61"/>
                  <a:gd name="T23" fmla="*/ 41 h 61"/>
                  <a:gd name="T24" fmla="*/ 6 w 61"/>
                  <a:gd name="T25" fmla="*/ 48 h 61"/>
                  <a:gd name="T26" fmla="*/ 12 w 61"/>
                  <a:gd name="T27" fmla="*/ 56 h 61"/>
                  <a:gd name="T28" fmla="*/ 21 w 61"/>
                  <a:gd name="T29" fmla="*/ 59 h 61"/>
                  <a:gd name="T30" fmla="*/ 30 w 61"/>
                  <a:gd name="T31" fmla="*/ 61 h 61"/>
                  <a:gd name="T32" fmla="*/ 41 w 61"/>
                  <a:gd name="T33" fmla="*/ 59 h 61"/>
                  <a:gd name="T34" fmla="*/ 48 w 61"/>
                  <a:gd name="T35" fmla="*/ 56 h 61"/>
                  <a:gd name="T36" fmla="*/ 56 w 61"/>
                  <a:gd name="T37" fmla="*/ 48 h 61"/>
                  <a:gd name="T38" fmla="*/ 59 w 61"/>
                  <a:gd name="T39" fmla="*/ 41 h 61"/>
                  <a:gd name="T40" fmla="*/ 61 w 61"/>
                  <a:gd name="T41" fmla="*/ 30 h 6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1"/>
                  <a:gd name="T64" fmla="*/ 0 h 61"/>
                  <a:gd name="T65" fmla="*/ 61 w 61"/>
                  <a:gd name="T66" fmla="*/ 61 h 6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1" h="61">
                    <a:moveTo>
                      <a:pt x="61" y="30"/>
                    </a:moveTo>
                    <a:lnTo>
                      <a:pt x="59" y="20"/>
                    </a:lnTo>
                    <a:lnTo>
                      <a:pt x="56" y="12"/>
                    </a:lnTo>
                    <a:lnTo>
                      <a:pt x="48" y="5"/>
                    </a:lnTo>
                    <a:lnTo>
                      <a:pt x="41" y="1"/>
                    </a:lnTo>
                    <a:lnTo>
                      <a:pt x="30" y="0"/>
                    </a:lnTo>
                    <a:lnTo>
                      <a:pt x="21" y="1"/>
                    </a:lnTo>
                    <a:lnTo>
                      <a:pt x="12" y="5"/>
                    </a:lnTo>
                    <a:lnTo>
                      <a:pt x="6" y="12"/>
                    </a:lnTo>
                    <a:lnTo>
                      <a:pt x="1" y="20"/>
                    </a:lnTo>
                    <a:lnTo>
                      <a:pt x="0" y="30"/>
                    </a:lnTo>
                    <a:lnTo>
                      <a:pt x="1" y="41"/>
                    </a:lnTo>
                    <a:lnTo>
                      <a:pt x="6" y="48"/>
                    </a:lnTo>
                    <a:lnTo>
                      <a:pt x="12" y="56"/>
                    </a:lnTo>
                    <a:lnTo>
                      <a:pt x="21" y="59"/>
                    </a:lnTo>
                    <a:lnTo>
                      <a:pt x="30" y="61"/>
                    </a:lnTo>
                    <a:lnTo>
                      <a:pt x="41" y="59"/>
                    </a:lnTo>
                    <a:lnTo>
                      <a:pt x="48" y="56"/>
                    </a:lnTo>
                    <a:lnTo>
                      <a:pt x="56" y="48"/>
                    </a:lnTo>
                    <a:lnTo>
                      <a:pt x="59" y="41"/>
                    </a:lnTo>
                    <a:lnTo>
                      <a:pt x="61" y="3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6" name="Freeform 138"/>
              <p:cNvSpPr>
                <a:spLocks/>
              </p:cNvSpPr>
              <p:nvPr/>
            </p:nvSpPr>
            <p:spPr bwMode="auto">
              <a:xfrm>
                <a:off x="4643" y="1077"/>
                <a:ext cx="61" cy="61"/>
              </a:xfrm>
              <a:custGeom>
                <a:avLst/>
                <a:gdLst>
                  <a:gd name="T0" fmla="*/ 61 w 61"/>
                  <a:gd name="T1" fmla="*/ 30 h 61"/>
                  <a:gd name="T2" fmla="*/ 59 w 61"/>
                  <a:gd name="T3" fmla="*/ 20 h 61"/>
                  <a:gd name="T4" fmla="*/ 56 w 61"/>
                  <a:gd name="T5" fmla="*/ 12 h 61"/>
                  <a:gd name="T6" fmla="*/ 48 w 61"/>
                  <a:gd name="T7" fmla="*/ 5 h 61"/>
                  <a:gd name="T8" fmla="*/ 41 w 61"/>
                  <a:gd name="T9" fmla="*/ 1 h 61"/>
                  <a:gd name="T10" fmla="*/ 30 w 61"/>
                  <a:gd name="T11" fmla="*/ 0 h 61"/>
                  <a:gd name="T12" fmla="*/ 21 w 61"/>
                  <a:gd name="T13" fmla="*/ 1 h 61"/>
                  <a:gd name="T14" fmla="*/ 12 w 61"/>
                  <a:gd name="T15" fmla="*/ 5 h 61"/>
                  <a:gd name="T16" fmla="*/ 6 w 61"/>
                  <a:gd name="T17" fmla="*/ 12 h 61"/>
                  <a:gd name="T18" fmla="*/ 1 w 61"/>
                  <a:gd name="T19" fmla="*/ 20 h 61"/>
                  <a:gd name="T20" fmla="*/ 0 w 61"/>
                  <a:gd name="T21" fmla="*/ 30 h 61"/>
                  <a:gd name="T22" fmla="*/ 1 w 61"/>
                  <a:gd name="T23" fmla="*/ 41 h 61"/>
                  <a:gd name="T24" fmla="*/ 6 w 61"/>
                  <a:gd name="T25" fmla="*/ 48 h 61"/>
                  <a:gd name="T26" fmla="*/ 12 w 61"/>
                  <a:gd name="T27" fmla="*/ 56 h 61"/>
                  <a:gd name="T28" fmla="*/ 21 w 61"/>
                  <a:gd name="T29" fmla="*/ 59 h 61"/>
                  <a:gd name="T30" fmla="*/ 30 w 61"/>
                  <a:gd name="T31" fmla="*/ 61 h 61"/>
                  <a:gd name="T32" fmla="*/ 41 w 61"/>
                  <a:gd name="T33" fmla="*/ 59 h 61"/>
                  <a:gd name="T34" fmla="*/ 48 w 61"/>
                  <a:gd name="T35" fmla="*/ 56 h 61"/>
                  <a:gd name="T36" fmla="*/ 56 w 61"/>
                  <a:gd name="T37" fmla="*/ 48 h 61"/>
                  <a:gd name="T38" fmla="*/ 59 w 61"/>
                  <a:gd name="T39" fmla="*/ 41 h 61"/>
                  <a:gd name="T40" fmla="*/ 61 w 61"/>
                  <a:gd name="T41" fmla="*/ 30 h 6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1"/>
                  <a:gd name="T64" fmla="*/ 0 h 61"/>
                  <a:gd name="T65" fmla="*/ 61 w 61"/>
                  <a:gd name="T66" fmla="*/ 61 h 6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1" h="61">
                    <a:moveTo>
                      <a:pt x="61" y="30"/>
                    </a:moveTo>
                    <a:lnTo>
                      <a:pt x="59" y="20"/>
                    </a:lnTo>
                    <a:lnTo>
                      <a:pt x="56" y="12"/>
                    </a:lnTo>
                    <a:lnTo>
                      <a:pt x="48" y="5"/>
                    </a:lnTo>
                    <a:lnTo>
                      <a:pt x="41" y="1"/>
                    </a:lnTo>
                    <a:lnTo>
                      <a:pt x="30" y="0"/>
                    </a:lnTo>
                    <a:lnTo>
                      <a:pt x="21" y="1"/>
                    </a:lnTo>
                    <a:lnTo>
                      <a:pt x="12" y="5"/>
                    </a:lnTo>
                    <a:lnTo>
                      <a:pt x="6" y="12"/>
                    </a:lnTo>
                    <a:lnTo>
                      <a:pt x="1" y="20"/>
                    </a:lnTo>
                    <a:lnTo>
                      <a:pt x="0" y="30"/>
                    </a:lnTo>
                    <a:lnTo>
                      <a:pt x="1" y="41"/>
                    </a:lnTo>
                    <a:lnTo>
                      <a:pt x="6" y="48"/>
                    </a:lnTo>
                    <a:lnTo>
                      <a:pt x="12" y="56"/>
                    </a:lnTo>
                    <a:lnTo>
                      <a:pt x="21" y="59"/>
                    </a:lnTo>
                    <a:lnTo>
                      <a:pt x="30" y="61"/>
                    </a:lnTo>
                    <a:lnTo>
                      <a:pt x="41" y="59"/>
                    </a:lnTo>
                    <a:lnTo>
                      <a:pt x="48" y="56"/>
                    </a:lnTo>
                    <a:lnTo>
                      <a:pt x="56" y="48"/>
                    </a:lnTo>
                    <a:lnTo>
                      <a:pt x="59" y="41"/>
                    </a:lnTo>
                    <a:lnTo>
                      <a:pt x="61" y="3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7" name="Freeform 139"/>
              <p:cNvSpPr>
                <a:spLocks/>
              </p:cNvSpPr>
              <p:nvPr/>
            </p:nvSpPr>
            <p:spPr bwMode="auto">
              <a:xfrm>
                <a:off x="4316" y="2973"/>
                <a:ext cx="59" cy="59"/>
              </a:xfrm>
              <a:custGeom>
                <a:avLst/>
                <a:gdLst>
                  <a:gd name="T0" fmla="*/ 59 w 59"/>
                  <a:gd name="T1" fmla="*/ 30 h 59"/>
                  <a:gd name="T2" fmla="*/ 56 w 59"/>
                  <a:gd name="T3" fmla="*/ 18 h 59"/>
                  <a:gd name="T4" fmla="*/ 50 w 59"/>
                  <a:gd name="T5" fmla="*/ 8 h 59"/>
                  <a:gd name="T6" fmla="*/ 41 w 59"/>
                  <a:gd name="T7" fmla="*/ 2 h 59"/>
                  <a:gd name="T8" fmla="*/ 29 w 59"/>
                  <a:gd name="T9" fmla="*/ 0 h 59"/>
                  <a:gd name="T10" fmla="*/ 18 w 59"/>
                  <a:gd name="T11" fmla="*/ 2 h 59"/>
                  <a:gd name="T12" fmla="*/ 9 w 59"/>
                  <a:gd name="T13" fmla="*/ 8 h 59"/>
                  <a:gd name="T14" fmla="*/ 2 w 59"/>
                  <a:gd name="T15" fmla="*/ 18 h 59"/>
                  <a:gd name="T16" fmla="*/ 0 w 59"/>
                  <a:gd name="T17" fmla="*/ 30 h 59"/>
                  <a:gd name="T18" fmla="*/ 2 w 59"/>
                  <a:gd name="T19" fmla="*/ 41 h 59"/>
                  <a:gd name="T20" fmla="*/ 9 w 59"/>
                  <a:gd name="T21" fmla="*/ 50 h 59"/>
                  <a:gd name="T22" fmla="*/ 18 w 59"/>
                  <a:gd name="T23" fmla="*/ 56 h 59"/>
                  <a:gd name="T24" fmla="*/ 29 w 59"/>
                  <a:gd name="T25" fmla="*/ 59 h 59"/>
                  <a:gd name="T26" fmla="*/ 41 w 59"/>
                  <a:gd name="T27" fmla="*/ 56 h 59"/>
                  <a:gd name="T28" fmla="*/ 50 w 59"/>
                  <a:gd name="T29" fmla="*/ 50 h 59"/>
                  <a:gd name="T30" fmla="*/ 56 w 59"/>
                  <a:gd name="T31" fmla="*/ 41 h 59"/>
                  <a:gd name="T32" fmla="*/ 59 w 59"/>
                  <a:gd name="T33" fmla="*/ 30 h 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9"/>
                  <a:gd name="T52" fmla="*/ 0 h 59"/>
                  <a:gd name="T53" fmla="*/ 59 w 59"/>
                  <a:gd name="T54" fmla="*/ 59 h 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9" h="59">
                    <a:moveTo>
                      <a:pt x="59" y="30"/>
                    </a:moveTo>
                    <a:lnTo>
                      <a:pt x="56" y="18"/>
                    </a:lnTo>
                    <a:lnTo>
                      <a:pt x="50" y="8"/>
                    </a:lnTo>
                    <a:lnTo>
                      <a:pt x="41" y="2"/>
                    </a:lnTo>
                    <a:lnTo>
                      <a:pt x="29" y="0"/>
                    </a:lnTo>
                    <a:lnTo>
                      <a:pt x="18" y="2"/>
                    </a:lnTo>
                    <a:lnTo>
                      <a:pt x="9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9" y="50"/>
                    </a:lnTo>
                    <a:lnTo>
                      <a:pt x="18" y="56"/>
                    </a:lnTo>
                    <a:lnTo>
                      <a:pt x="29" y="59"/>
                    </a:lnTo>
                    <a:lnTo>
                      <a:pt x="41" y="56"/>
                    </a:lnTo>
                    <a:lnTo>
                      <a:pt x="50" y="50"/>
                    </a:lnTo>
                    <a:lnTo>
                      <a:pt x="56" y="41"/>
                    </a:lnTo>
                    <a:lnTo>
                      <a:pt x="59" y="3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8" name="Freeform 140"/>
              <p:cNvSpPr>
                <a:spLocks/>
              </p:cNvSpPr>
              <p:nvPr/>
            </p:nvSpPr>
            <p:spPr bwMode="auto">
              <a:xfrm>
                <a:off x="4316" y="2973"/>
                <a:ext cx="59" cy="59"/>
              </a:xfrm>
              <a:custGeom>
                <a:avLst/>
                <a:gdLst>
                  <a:gd name="T0" fmla="*/ 59 w 59"/>
                  <a:gd name="T1" fmla="*/ 30 h 59"/>
                  <a:gd name="T2" fmla="*/ 56 w 59"/>
                  <a:gd name="T3" fmla="*/ 18 h 59"/>
                  <a:gd name="T4" fmla="*/ 50 w 59"/>
                  <a:gd name="T5" fmla="*/ 8 h 59"/>
                  <a:gd name="T6" fmla="*/ 41 w 59"/>
                  <a:gd name="T7" fmla="*/ 2 h 59"/>
                  <a:gd name="T8" fmla="*/ 29 w 59"/>
                  <a:gd name="T9" fmla="*/ 0 h 59"/>
                  <a:gd name="T10" fmla="*/ 18 w 59"/>
                  <a:gd name="T11" fmla="*/ 2 h 59"/>
                  <a:gd name="T12" fmla="*/ 9 w 59"/>
                  <a:gd name="T13" fmla="*/ 8 h 59"/>
                  <a:gd name="T14" fmla="*/ 2 w 59"/>
                  <a:gd name="T15" fmla="*/ 18 h 59"/>
                  <a:gd name="T16" fmla="*/ 0 w 59"/>
                  <a:gd name="T17" fmla="*/ 30 h 59"/>
                  <a:gd name="T18" fmla="*/ 2 w 59"/>
                  <a:gd name="T19" fmla="*/ 41 h 59"/>
                  <a:gd name="T20" fmla="*/ 9 w 59"/>
                  <a:gd name="T21" fmla="*/ 50 h 59"/>
                  <a:gd name="T22" fmla="*/ 18 w 59"/>
                  <a:gd name="T23" fmla="*/ 56 h 59"/>
                  <a:gd name="T24" fmla="*/ 29 w 59"/>
                  <a:gd name="T25" fmla="*/ 59 h 59"/>
                  <a:gd name="T26" fmla="*/ 41 w 59"/>
                  <a:gd name="T27" fmla="*/ 56 h 59"/>
                  <a:gd name="T28" fmla="*/ 50 w 59"/>
                  <a:gd name="T29" fmla="*/ 50 h 59"/>
                  <a:gd name="T30" fmla="*/ 56 w 59"/>
                  <a:gd name="T31" fmla="*/ 41 h 59"/>
                  <a:gd name="T32" fmla="*/ 59 w 59"/>
                  <a:gd name="T33" fmla="*/ 30 h 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9"/>
                  <a:gd name="T52" fmla="*/ 0 h 59"/>
                  <a:gd name="T53" fmla="*/ 59 w 59"/>
                  <a:gd name="T54" fmla="*/ 59 h 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9" h="59">
                    <a:moveTo>
                      <a:pt x="59" y="30"/>
                    </a:moveTo>
                    <a:lnTo>
                      <a:pt x="56" y="18"/>
                    </a:lnTo>
                    <a:lnTo>
                      <a:pt x="50" y="8"/>
                    </a:lnTo>
                    <a:lnTo>
                      <a:pt x="41" y="2"/>
                    </a:lnTo>
                    <a:lnTo>
                      <a:pt x="29" y="0"/>
                    </a:lnTo>
                    <a:lnTo>
                      <a:pt x="18" y="2"/>
                    </a:lnTo>
                    <a:lnTo>
                      <a:pt x="9" y="8"/>
                    </a:lnTo>
                    <a:lnTo>
                      <a:pt x="2" y="18"/>
                    </a:lnTo>
                    <a:lnTo>
                      <a:pt x="0" y="30"/>
                    </a:lnTo>
                    <a:lnTo>
                      <a:pt x="2" y="41"/>
                    </a:lnTo>
                    <a:lnTo>
                      <a:pt x="9" y="50"/>
                    </a:lnTo>
                    <a:lnTo>
                      <a:pt x="18" y="56"/>
                    </a:lnTo>
                    <a:lnTo>
                      <a:pt x="29" y="59"/>
                    </a:lnTo>
                    <a:lnTo>
                      <a:pt x="41" y="56"/>
                    </a:lnTo>
                    <a:lnTo>
                      <a:pt x="50" y="50"/>
                    </a:lnTo>
                    <a:lnTo>
                      <a:pt x="56" y="41"/>
                    </a:lnTo>
                    <a:lnTo>
                      <a:pt x="59" y="3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89" name="Freeform 141"/>
              <p:cNvSpPr>
                <a:spLocks/>
              </p:cNvSpPr>
              <p:nvPr/>
            </p:nvSpPr>
            <p:spPr bwMode="auto">
              <a:xfrm>
                <a:off x="4541" y="2178"/>
                <a:ext cx="59" cy="59"/>
              </a:xfrm>
              <a:custGeom>
                <a:avLst/>
                <a:gdLst>
                  <a:gd name="T0" fmla="*/ 59 w 59"/>
                  <a:gd name="T1" fmla="*/ 30 h 59"/>
                  <a:gd name="T2" fmla="*/ 57 w 59"/>
                  <a:gd name="T3" fmla="*/ 18 h 59"/>
                  <a:gd name="T4" fmla="*/ 51 w 59"/>
                  <a:gd name="T5" fmla="*/ 9 h 59"/>
                  <a:gd name="T6" fmla="*/ 41 w 59"/>
                  <a:gd name="T7" fmla="*/ 3 h 59"/>
                  <a:gd name="T8" fmla="*/ 29 w 59"/>
                  <a:gd name="T9" fmla="*/ 0 h 59"/>
                  <a:gd name="T10" fmla="*/ 18 w 59"/>
                  <a:gd name="T11" fmla="*/ 3 h 59"/>
                  <a:gd name="T12" fmla="*/ 9 w 59"/>
                  <a:gd name="T13" fmla="*/ 9 h 59"/>
                  <a:gd name="T14" fmla="*/ 3 w 59"/>
                  <a:gd name="T15" fmla="*/ 18 h 59"/>
                  <a:gd name="T16" fmla="*/ 0 w 59"/>
                  <a:gd name="T17" fmla="*/ 30 h 59"/>
                  <a:gd name="T18" fmla="*/ 3 w 59"/>
                  <a:gd name="T19" fmla="*/ 41 h 59"/>
                  <a:gd name="T20" fmla="*/ 9 w 59"/>
                  <a:gd name="T21" fmla="*/ 51 h 59"/>
                  <a:gd name="T22" fmla="*/ 18 w 59"/>
                  <a:gd name="T23" fmla="*/ 57 h 59"/>
                  <a:gd name="T24" fmla="*/ 29 w 59"/>
                  <a:gd name="T25" fmla="*/ 59 h 59"/>
                  <a:gd name="T26" fmla="*/ 41 w 59"/>
                  <a:gd name="T27" fmla="*/ 57 h 59"/>
                  <a:gd name="T28" fmla="*/ 51 w 59"/>
                  <a:gd name="T29" fmla="*/ 51 h 59"/>
                  <a:gd name="T30" fmla="*/ 57 w 59"/>
                  <a:gd name="T31" fmla="*/ 41 h 59"/>
                  <a:gd name="T32" fmla="*/ 59 w 59"/>
                  <a:gd name="T33" fmla="*/ 30 h 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9"/>
                  <a:gd name="T52" fmla="*/ 0 h 59"/>
                  <a:gd name="T53" fmla="*/ 59 w 59"/>
                  <a:gd name="T54" fmla="*/ 59 h 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9" h="59">
                    <a:moveTo>
                      <a:pt x="59" y="30"/>
                    </a:moveTo>
                    <a:lnTo>
                      <a:pt x="57" y="18"/>
                    </a:lnTo>
                    <a:lnTo>
                      <a:pt x="51" y="9"/>
                    </a:lnTo>
                    <a:lnTo>
                      <a:pt x="41" y="3"/>
                    </a:lnTo>
                    <a:lnTo>
                      <a:pt x="29" y="0"/>
                    </a:lnTo>
                    <a:lnTo>
                      <a:pt x="18" y="3"/>
                    </a:lnTo>
                    <a:lnTo>
                      <a:pt x="9" y="9"/>
                    </a:lnTo>
                    <a:lnTo>
                      <a:pt x="3" y="18"/>
                    </a:lnTo>
                    <a:lnTo>
                      <a:pt x="0" y="30"/>
                    </a:lnTo>
                    <a:lnTo>
                      <a:pt x="3" y="41"/>
                    </a:lnTo>
                    <a:lnTo>
                      <a:pt x="9" y="51"/>
                    </a:lnTo>
                    <a:lnTo>
                      <a:pt x="18" y="57"/>
                    </a:lnTo>
                    <a:lnTo>
                      <a:pt x="29" y="59"/>
                    </a:lnTo>
                    <a:lnTo>
                      <a:pt x="41" y="57"/>
                    </a:lnTo>
                    <a:lnTo>
                      <a:pt x="51" y="51"/>
                    </a:lnTo>
                    <a:lnTo>
                      <a:pt x="57" y="41"/>
                    </a:lnTo>
                    <a:lnTo>
                      <a:pt x="59" y="3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0" name="Freeform 142"/>
              <p:cNvSpPr>
                <a:spLocks/>
              </p:cNvSpPr>
              <p:nvPr/>
            </p:nvSpPr>
            <p:spPr bwMode="auto">
              <a:xfrm>
                <a:off x="4541" y="2178"/>
                <a:ext cx="59" cy="59"/>
              </a:xfrm>
              <a:custGeom>
                <a:avLst/>
                <a:gdLst>
                  <a:gd name="T0" fmla="*/ 59 w 59"/>
                  <a:gd name="T1" fmla="*/ 30 h 59"/>
                  <a:gd name="T2" fmla="*/ 57 w 59"/>
                  <a:gd name="T3" fmla="*/ 18 h 59"/>
                  <a:gd name="T4" fmla="*/ 51 w 59"/>
                  <a:gd name="T5" fmla="*/ 9 h 59"/>
                  <a:gd name="T6" fmla="*/ 41 w 59"/>
                  <a:gd name="T7" fmla="*/ 3 h 59"/>
                  <a:gd name="T8" fmla="*/ 29 w 59"/>
                  <a:gd name="T9" fmla="*/ 0 h 59"/>
                  <a:gd name="T10" fmla="*/ 18 w 59"/>
                  <a:gd name="T11" fmla="*/ 3 h 59"/>
                  <a:gd name="T12" fmla="*/ 9 w 59"/>
                  <a:gd name="T13" fmla="*/ 9 h 59"/>
                  <a:gd name="T14" fmla="*/ 3 w 59"/>
                  <a:gd name="T15" fmla="*/ 18 h 59"/>
                  <a:gd name="T16" fmla="*/ 0 w 59"/>
                  <a:gd name="T17" fmla="*/ 30 h 59"/>
                  <a:gd name="T18" fmla="*/ 3 w 59"/>
                  <a:gd name="T19" fmla="*/ 41 h 59"/>
                  <a:gd name="T20" fmla="*/ 9 w 59"/>
                  <a:gd name="T21" fmla="*/ 51 h 59"/>
                  <a:gd name="T22" fmla="*/ 18 w 59"/>
                  <a:gd name="T23" fmla="*/ 57 h 59"/>
                  <a:gd name="T24" fmla="*/ 29 w 59"/>
                  <a:gd name="T25" fmla="*/ 59 h 59"/>
                  <a:gd name="T26" fmla="*/ 41 w 59"/>
                  <a:gd name="T27" fmla="*/ 57 h 59"/>
                  <a:gd name="T28" fmla="*/ 51 w 59"/>
                  <a:gd name="T29" fmla="*/ 51 h 59"/>
                  <a:gd name="T30" fmla="*/ 57 w 59"/>
                  <a:gd name="T31" fmla="*/ 41 h 59"/>
                  <a:gd name="T32" fmla="*/ 59 w 59"/>
                  <a:gd name="T33" fmla="*/ 30 h 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9"/>
                  <a:gd name="T52" fmla="*/ 0 h 59"/>
                  <a:gd name="T53" fmla="*/ 59 w 59"/>
                  <a:gd name="T54" fmla="*/ 59 h 5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9" h="59">
                    <a:moveTo>
                      <a:pt x="59" y="30"/>
                    </a:moveTo>
                    <a:lnTo>
                      <a:pt x="57" y="18"/>
                    </a:lnTo>
                    <a:lnTo>
                      <a:pt x="51" y="9"/>
                    </a:lnTo>
                    <a:lnTo>
                      <a:pt x="41" y="3"/>
                    </a:lnTo>
                    <a:lnTo>
                      <a:pt x="29" y="0"/>
                    </a:lnTo>
                    <a:lnTo>
                      <a:pt x="18" y="3"/>
                    </a:lnTo>
                    <a:lnTo>
                      <a:pt x="9" y="9"/>
                    </a:lnTo>
                    <a:lnTo>
                      <a:pt x="3" y="18"/>
                    </a:lnTo>
                    <a:lnTo>
                      <a:pt x="0" y="30"/>
                    </a:lnTo>
                    <a:lnTo>
                      <a:pt x="3" y="41"/>
                    </a:lnTo>
                    <a:lnTo>
                      <a:pt x="9" y="51"/>
                    </a:lnTo>
                    <a:lnTo>
                      <a:pt x="18" y="57"/>
                    </a:lnTo>
                    <a:lnTo>
                      <a:pt x="29" y="59"/>
                    </a:lnTo>
                    <a:lnTo>
                      <a:pt x="41" y="57"/>
                    </a:lnTo>
                    <a:lnTo>
                      <a:pt x="51" y="51"/>
                    </a:lnTo>
                    <a:lnTo>
                      <a:pt x="57" y="41"/>
                    </a:lnTo>
                    <a:lnTo>
                      <a:pt x="59" y="3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1" name="Freeform 143"/>
              <p:cNvSpPr>
                <a:spLocks/>
              </p:cNvSpPr>
              <p:nvPr/>
            </p:nvSpPr>
            <p:spPr bwMode="auto">
              <a:xfrm>
                <a:off x="3753" y="2728"/>
                <a:ext cx="58" cy="58"/>
              </a:xfrm>
              <a:custGeom>
                <a:avLst/>
                <a:gdLst>
                  <a:gd name="T0" fmla="*/ 58 w 58"/>
                  <a:gd name="T1" fmla="*/ 29 h 58"/>
                  <a:gd name="T2" fmla="*/ 56 w 58"/>
                  <a:gd name="T3" fmla="*/ 20 h 58"/>
                  <a:gd name="T4" fmla="*/ 52 w 58"/>
                  <a:gd name="T5" fmla="*/ 12 h 58"/>
                  <a:gd name="T6" fmla="*/ 46 w 58"/>
                  <a:gd name="T7" fmla="*/ 6 h 58"/>
                  <a:gd name="T8" fmla="*/ 38 w 58"/>
                  <a:gd name="T9" fmla="*/ 2 h 58"/>
                  <a:gd name="T10" fmla="*/ 29 w 58"/>
                  <a:gd name="T11" fmla="*/ 0 h 58"/>
                  <a:gd name="T12" fmla="*/ 17 w 58"/>
                  <a:gd name="T13" fmla="*/ 3 h 58"/>
                  <a:gd name="T14" fmla="*/ 8 w 58"/>
                  <a:gd name="T15" fmla="*/ 9 h 58"/>
                  <a:gd name="T16" fmla="*/ 2 w 58"/>
                  <a:gd name="T17" fmla="*/ 18 h 58"/>
                  <a:gd name="T18" fmla="*/ 0 w 58"/>
                  <a:gd name="T19" fmla="*/ 29 h 58"/>
                  <a:gd name="T20" fmla="*/ 1 w 58"/>
                  <a:gd name="T21" fmla="*/ 39 h 58"/>
                  <a:gd name="T22" fmla="*/ 5 w 58"/>
                  <a:gd name="T23" fmla="*/ 47 h 58"/>
                  <a:gd name="T24" fmla="*/ 11 w 58"/>
                  <a:gd name="T25" fmla="*/ 53 h 58"/>
                  <a:gd name="T26" fmla="*/ 19 w 58"/>
                  <a:gd name="T27" fmla="*/ 57 h 58"/>
                  <a:gd name="T28" fmla="*/ 29 w 58"/>
                  <a:gd name="T29" fmla="*/ 58 h 58"/>
                  <a:gd name="T30" fmla="*/ 40 w 58"/>
                  <a:gd name="T31" fmla="*/ 56 h 58"/>
                  <a:gd name="T32" fmla="*/ 49 w 58"/>
                  <a:gd name="T33" fmla="*/ 50 h 58"/>
                  <a:gd name="T34" fmla="*/ 55 w 58"/>
                  <a:gd name="T35" fmla="*/ 40 h 58"/>
                  <a:gd name="T36" fmla="*/ 58 w 58"/>
                  <a:gd name="T37" fmla="*/ 29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58"/>
                  <a:gd name="T59" fmla="*/ 58 w 58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58">
                    <a:moveTo>
                      <a:pt x="58" y="29"/>
                    </a:move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29" y="0"/>
                    </a:lnTo>
                    <a:lnTo>
                      <a:pt x="17" y="3"/>
                    </a:lnTo>
                    <a:lnTo>
                      <a:pt x="8" y="9"/>
                    </a:lnTo>
                    <a:lnTo>
                      <a:pt x="2" y="18"/>
                    </a:lnTo>
                    <a:lnTo>
                      <a:pt x="0" y="29"/>
                    </a:lnTo>
                    <a:lnTo>
                      <a:pt x="1" y="39"/>
                    </a:lnTo>
                    <a:lnTo>
                      <a:pt x="5" y="47"/>
                    </a:lnTo>
                    <a:lnTo>
                      <a:pt x="11" y="53"/>
                    </a:lnTo>
                    <a:lnTo>
                      <a:pt x="19" y="57"/>
                    </a:lnTo>
                    <a:lnTo>
                      <a:pt x="29" y="58"/>
                    </a:lnTo>
                    <a:lnTo>
                      <a:pt x="40" y="56"/>
                    </a:lnTo>
                    <a:lnTo>
                      <a:pt x="49" y="50"/>
                    </a:lnTo>
                    <a:lnTo>
                      <a:pt x="55" y="40"/>
                    </a:lnTo>
                    <a:lnTo>
                      <a:pt x="58" y="29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2" name="Freeform 144"/>
              <p:cNvSpPr>
                <a:spLocks/>
              </p:cNvSpPr>
              <p:nvPr/>
            </p:nvSpPr>
            <p:spPr bwMode="auto">
              <a:xfrm>
                <a:off x="3753" y="2728"/>
                <a:ext cx="58" cy="58"/>
              </a:xfrm>
              <a:custGeom>
                <a:avLst/>
                <a:gdLst>
                  <a:gd name="T0" fmla="*/ 58 w 58"/>
                  <a:gd name="T1" fmla="*/ 29 h 58"/>
                  <a:gd name="T2" fmla="*/ 56 w 58"/>
                  <a:gd name="T3" fmla="*/ 20 h 58"/>
                  <a:gd name="T4" fmla="*/ 52 w 58"/>
                  <a:gd name="T5" fmla="*/ 12 h 58"/>
                  <a:gd name="T6" fmla="*/ 46 w 58"/>
                  <a:gd name="T7" fmla="*/ 6 h 58"/>
                  <a:gd name="T8" fmla="*/ 38 w 58"/>
                  <a:gd name="T9" fmla="*/ 2 h 58"/>
                  <a:gd name="T10" fmla="*/ 29 w 58"/>
                  <a:gd name="T11" fmla="*/ 0 h 58"/>
                  <a:gd name="T12" fmla="*/ 17 w 58"/>
                  <a:gd name="T13" fmla="*/ 3 h 58"/>
                  <a:gd name="T14" fmla="*/ 8 w 58"/>
                  <a:gd name="T15" fmla="*/ 9 h 58"/>
                  <a:gd name="T16" fmla="*/ 2 w 58"/>
                  <a:gd name="T17" fmla="*/ 18 h 58"/>
                  <a:gd name="T18" fmla="*/ 0 w 58"/>
                  <a:gd name="T19" fmla="*/ 29 h 58"/>
                  <a:gd name="T20" fmla="*/ 1 w 58"/>
                  <a:gd name="T21" fmla="*/ 39 h 58"/>
                  <a:gd name="T22" fmla="*/ 5 w 58"/>
                  <a:gd name="T23" fmla="*/ 47 h 58"/>
                  <a:gd name="T24" fmla="*/ 11 w 58"/>
                  <a:gd name="T25" fmla="*/ 53 h 58"/>
                  <a:gd name="T26" fmla="*/ 19 w 58"/>
                  <a:gd name="T27" fmla="*/ 57 h 58"/>
                  <a:gd name="T28" fmla="*/ 29 w 58"/>
                  <a:gd name="T29" fmla="*/ 58 h 58"/>
                  <a:gd name="T30" fmla="*/ 40 w 58"/>
                  <a:gd name="T31" fmla="*/ 56 h 58"/>
                  <a:gd name="T32" fmla="*/ 49 w 58"/>
                  <a:gd name="T33" fmla="*/ 50 h 58"/>
                  <a:gd name="T34" fmla="*/ 55 w 58"/>
                  <a:gd name="T35" fmla="*/ 40 h 58"/>
                  <a:gd name="T36" fmla="*/ 58 w 58"/>
                  <a:gd name="T37" fmla="*/ 29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58"/>
                  <a:gd name="T59" fmla="*/ 58 w 58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58">
                    <a:moveTo>
                      <a:pt x="58" y="29"/>
                    </a:move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8" y="2"/>
                    </a:lnTo>
                    <a:lnTo>
                      <a:pt x="29" y="0"/>
                    </a:lnTo>
                    <a:lnTo>
                      <a:pt x="17" y="3"/>
                    </a:lnTo>
                    <a:lnTo>
                      <a:pt x="8" y="9"/>
                    </a:lnTo>
                    <a:lnTo>
                      <a:pt x="2" y="18"/>
                    </a:lnTo>
                    <a:lnTo>
                      <a:pt x="0" y="29"/>
                    </a:lnTo>
                    <a:lnTo>
                      <a:pt x="1" y="39"/>
                    </a:lnTo>
                    <a:lnTo>
                      <a:pt x="5" y="47"/>
                    </a:lnTo>
                    <a:lnTo>
                      <a:pt x="11" y="53"/>
                    </a:lnTo>
                    <a:lnTo>
                      <a:pt x="19" y="57"/>
                    </a:lnTo>
                    <a:lnTo>
                      <a:pt x="29" y="58"/>
                    </a:lnTo>
                    <a:lnTo>
                      <a:pt x="40" y="56"/>
                    </a:lnTo>
                    <a:lnTo>
                      <a:pt x="49" y="50"/>
                    </a:lnTo>
                    <a:lnTo>
                      <a:pt x="55" y="40"/>
                    </a:lnTo>
                    <a:lnTo>
                      <a:pt x="58" y="29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3" name="Freeform 145"/>
              <p:cNvSpPr>
                <a:spLocks/>
              </p:cNvSpPr>
              <p:nvPr/>
            </p:nvSpPr>
            <p:spPr bwMode="auto">
              <a:xfrm>
                <a:off x="4522" y="2701"/>
                <a:ext cx="58" cy="58"/>
              </a:xfrm>
              <a:custGeom>
                <a:avLst/>
                <a:gdLst>
                  <a:gd name="T0" fmla="*/ 58 w 58"/>
                  <a:gd name="T1" fmla="*/ 29 h 58"/>
                  <a:gd name="T2" fmla="*/ 56 w 58"/>
                  <a:gd name="T3" fmla="*/ 19 h 58"/>
                  <a:gd name="T4" fmla="*/ 52 w 58"/>
                  <a:gd name="T5" fmla="*/ 12 h 58"/>
                  <a:gd name="T6" fmla="*/ 46 w 58"/>
                  <a:gd name="T7" fmla="*/ 5 h 58"/>
                  <a:gd name="T8" fmla="*/ 38 w 58"/>
                  <a:gd name="T9" fmla="*/ 1 h 58"/>
                  <a:gd name="T10" fmla="*/ 29 w 58"/>
                  <a:gd name="T11" fmla="*/ 0 h 58"/>
                  <a:gd name="T12" fmla="*/ 18 w 58"/>
                  <a:gd name="T13" fmla="*/ 2 h 58"/>
                  <a:gd name="T14" fmla="*/ 8 w 58"/>
                  <a:gd name="T15" fmla="*/ 8 h 58"/>
                  <a:gd name="T16" fmla="*/ 2 w 58"/>
                  <a:gd name="T17" fmla="*/ 18 h 58"/>
                  <a:gd name="T18" fmla="*/ 0 w 58"/>
                  <a:gd name="T19" fmla="*/ 29 h 58"/>
                  <a:gd name="T20" fmla="*/ 1 w 58"/>
                  <a:gd name="T21" fmla="*/ 38 h 58"/>
                  <a:gd name="T22" fmla="*/ 5 w 58"/>
                  <a:gd name="T23" fmla="*/ 46 h 58"/>
                  <a:gd name="T24" fmla="*/ 12 w 58"/>
                  <a:gd name="T25" fmla="*/ 52 h 58"/>
                  <a:gd name="T26" fmla="*/ 19 w 58"/>
                  <a:gd name="T27" fmla="*/ 56 h 58"/>
                  <a:gd name="T28" fmla="*/ 29 w 58"/>
                  <a:gd name="T29" fmla="*/ 58 h 58"/>
                  <a:gd name="T30" fmla="*/ 41 w 58"/>
                  <a:gd name="T31" fmla="*/ 56 h 58"/>
                  <a:gd name="T32" fmla="*/ 49 w 58"/>
                  <a:gd name="T33" fmla="*/ 49 h 58"/>
                  <a:gd name="T34" fmla="*/ 56 w 58"/>
                  <a:gd name="T35" fmla="*/ 41 h 58"/>
                  <a:gd name="T36" fmla="*/ 58 w 58"/>
                  <a:gd name="T37" fmla="*/ 29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58"/>
                  <a:gd name="T59" fmla="*/ 58 w 58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58">
                    <a:moveTo>
                      <a:pt x="58" y="29"/>
                    </a:moveTo>
                    <a:lnTo>
                      <a:pt x="56" y="19"/>
                    </a:lnTo>
                    <a:lnTo>
                      <a:pt x="52" y="12"/>
                    </a:lnTo>
                    <a:lnTo>
                      <a:pt x="46" y="5"/>
                    </a:lnTo>
                    <a:lnTo>
                      <a:pt x="38" y="1"/>
                    </a:lnTo>
                    <a:lnTo>
                      <a:pt x="29" y="0"/>
                    </a:lnTo>
                    <a:lnTo>
                      <a:pt x="18" y="2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9"/>
                    </a:lnTo>
                    <a:lnTo>
                      <a:pt x="1" y="38"/>
                    </a:lnTo>
                    <a:lnTo>
                      <a:pt x="5" y="46"/>
                    </a:lnTo>
                    <a:lnTo>
                      <a:pt x="12" y="52"/>
                    </a:lnTo>
                    <a:lnTo>
                      <a:pt x="19" y="56"/>
                    </a:lnTo>
                    <a:lnTo>
                      <a:pt x="29" y="58"/>
                    </a:lnTo>
                    <a:lnTo>
                      <a:pt x="41" y="56"/>
                    </a:lnTo>
                    <a:lnTo>
                      <a:pt x="49" y="49"/>
                    </a:lnTo>
                    <a:lnTo>
                      <a:pt x="56" y="41"/>
                    </a:lnTo>
                    <a:lnTo>
                      <a:pt x="58" y="29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4" name="Freeform 146"/>
              <p:cNvSpPr>
                <a:spLocks/>
              </p:cNvSpPr>
              <p:nvPr/>
            </p:nvSpPr>
            <p:spPr bwMode="auto">
              <a:xfrm>
                <a:off x="4522" y="2701"/>
                <a:ext cx="58" cy="58"/>
              </a:xfrm>
              <a:custGeom>
                <a:avLst/>
                <a:gdLst>
                  <a:gd name="T0" fmla="*/ 58 w 58"/>
                  <a:gd name="T1" fmla="*/ 29 h 58"/>
                  <a:gd name="T2" fmla="*/ 56 w 58"/>
                  <a:gd name="T3" fmla="*/ 19 h 58"/>
                  <a:gd name="T4" fmla="*/ 52 w 58"/>
                  <a:gd name="T5" fmla="*/ 12 h 58"/>
                  <a:gd name="T6" fmla="*/ 46 w 58"/>
                  <a:gd name="T7" fmla="*/ 5 h 58"/>
                  <a:gd name="T8" fmla="*/ 38 w 58"/>
                  <a:gd name="T9" fmla="*/ 1 h 58"/>
                  <a:gd name="T10" fmla="*/ 29 w 58"/>
                  <a:gd name="T11" fmla="*/ 0 h 58"/>
                  <a:gd name="T12" fmla="*/ 18 w 58"/>
                  <a:gd name="T13" fmla="*/ 2 h 58"/>
                  <a:gd name="T14" fmla="*/ 8 w 58"/>
                  <a:gd name="T15" fmla="*/ 8 h 58"/>
                  <a:gd name="T16" fmla="*/ 2 w 58"/>
                  <a:gd name="T17" fmla="*/ 18 h 58"/>
                  <a:gd name="T18" fmla="*/ 0 w 58"/>
                  <a:gd name="T19" fmla="*/ 29 h 58"/>
                  <a:gd name="T20" fmla="*/ 1 w 58"/>
                  <a:gd name="T21" fmla="*/ 38 h 58"/>
                  <a:gd name="T22" fmla="*/ 5 w 58"/>
                  <a:gd name="T23" fmla="*/ 46 h 58"/>
                  <a:gd name="T24" fmla="*/ 12 w 58"/>
                  <a:gd name="T25" fmla="*/ 52 h 58"/>
                  <a:gd name="T26" fmla="*/ 19 w 58"/>
                  <a:gd name="T27" fmla="*/ 56 h 58"/>
                  <a:gd name="T28" fmla="*/ 29 w 58"/>
                  <a:gd name="T29" fmla="*/ 58 h 58"/>
                  <a:gd name="T30" fmla="*/ 41 w 58"/>
                  <a:gd name="T31" fmla="*/ 56 h 58"/>
                  <a:gd name="T32" fmla="*/ 49 w 58"/>
                  <a:gd name="T33" fmla="*/ 49 h 58"/>
                  <a:gd name="T34" fmla="*/ 56 w 58"/>
                  <a:gd name="T35" fmla="*/ 41 h 58"/>
                  <a:gd name="T36" fmla="*/ 58 w 58"/>
                  <a:gd name="T37" fmla="*/ 29 h 5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58"/>
                  <a:gd name="T59" fmla="*/ 58 w 58"/>
                  <a:gd name="T60" fmla="*/ 58 h 5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58">
                    <a:moveTo>
                      <a:pt x="58" y="29"/>
                    </a:moveTo>
                    <a:lnTo>
                      <a:pt x="56" y="19"/>
                    </a:lnTo>
                    <a:lnTo>
                      <a:pt x="52" y="12"/>
                    </a:lnTo>
                    <a:lnTo>
                      <a:pt x="46" y="5"/>
                    </a:lnTo>
                    <a:lnTo>
                      <a:pt x="38" y="1"/>
                    </a:lnTo>
                    <a:lnTo>
                      <a:pt x="29" y="0"/>
                    </a:lnTo>
                    <a:lnTo>
                      <a:pt x="18" y="2"/>
                    </a:lnTo>
                    <a:lnTo>
                      <a:pt x="8" y="8"/>
                    </a:lnTo>
                    <a:lnTo>
                      <a:pt x="2" y="18"/>
                    </a:lnTo>
                    <a:lnTo>
                      <a:pt x="0" y="29"/>
                    </a:lnTo>
                    <a:lnTo>
                      <a:pt x="1" y="38"/>
                    </a:lnTo>
                    <a:lnTo>
                      <a:pt x="5" y="46"/>
                    </a:lnTo>
                    <a:lnTo>
                      <a:pt x="12" y="52"/>
                    </a:lnTo>
                    <a:lnTo>
                      <a:pt x="19" y="56"/>
                    </a:lnTo>
                    <a:lnTo>
                      <a:pt x="29" y="58"/>
                    </a:lnTo>
                    <a:lnTo>
                      <a:pt x="41" y="56"/>
                    </a:lnTo>
                    <a:lnTo>
                      <a:pt x="49" y="49"/>
                    </a:lnTo>
                    <a:lnTo>
                      <a:pt x="56" y="41"/>
                    </a:lnTo>
                    <a:lnTo>
                      <a:pt x="58" y="29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5" name="Freeform 147"/>
              <p:cNvSpPr>
                <a:spLocks/>
              </p:cNvSpPr>
              <p:nvPr/>
            </p:nvSpPr>
            <p:spPr bwMode="auto">
              <a:xfrm>
                <a:off x="4226" y="2774"/>
                <a:ext cx="56" cy="55"/>
              </a:xfrm>
              <a:custGeom>
                <a:avLst/>
                <a:gdLst>
                  <a:gd name="T0" fmla="*/ 56 w 56"/>
                  <a:gd name="T1" fmla="*/ 27 h 55"/>
                  <a:gd name="T2" fmla="*/ 54 w 56"/>
                  <a:gd name="T3" fmla="*/ 16 h 55"/>
                  <a:gd name="T4" fmla="*/ 47 w 56"/>
                  <a:gd name="T5" fmla="*/ 8 h 55"/>
                  <a:gd name="T6" fmla="*/ 39 w 56"/>
                  <a:gd name="T7" fmla="*/ 2 h 55"/>
                  <a:gd name="T8" fmla="*/ 28 w 56"/>
                  <a:gd name="T9" fmla="*/ 0 h 55"/>
                  <a:gd name="T10" fmla="*/ 18 w 56"/>
                  <a:gd name="T11" fmla="*/ 2 h 55"/>
                  <a:gd name="T12" fmla="*/ 8 w 56"/>
                  <a:gd name="T13" fmla="*/ 8 h 55"/>
                  <a:gd name="T14" fmla="*/ 3 w 56"/>
                  <a:gd name="T15" fmla="*/ 16 h 55"/>
                  <a:gd name="T16" fmla="*/ 0 w 56"/>
                  <a:gd name="T17" fmla="*/ 27 h 55"/>
                  <a:gd name="T18" fmla="*/ 3 w 56"/>
                  <a:gd name="T19" fmla="*/ 38 h 55"/>
                  <a:gd name="T20" fmla="*/ 8 w 56"/>
                  <a:gd name="T21" fmla="*/ 47 h 55"/>
                  <a:gd name="T22" fmla="*/ 18 w 56"/>
                  <a:gd name="T23" fmla="*/ 53 h 55"/>
                  <a:gd name="T24" fmla="*/ 28 w 56"/>
                  <a:gd name="T25" fmla="*/ 55 h 55"/>
                  <a:gd name="T26" fmla="*/ 39 w 56"/>
                  <a:gd name="T27" fmla="*/ 53 h 55"/>
                  <a:gd name="T28" fmla="*/ 47 w 56"/>
                  <a:gd name="T29" fmla="*/ 47 h 55"/>
                  <a:gd name="T30" fmla="*/ 54 w 56"/>
                  <a:gd name="T31" fmla="*/ 38 h 55"/>
                  <a:gd name="T32" fmla="*/ 56 w 56"/>
                  <a:gd name="T33" fmla="*/ 27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6"/>
                  <a:gd name="T52" fmla="*/ 0 h 55"/>
                  <a:gd name="T53" fmla="*/ 56 w 56"/>
                  <a:gd name="T54" fmla="*/ 55 h 5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6" h="55">
                    <a:moveTo>
                      <a:pt x="56" y="27"/>
                    </a:moveTo>
                    <a:lnTo>
                      <a:pt x="54" y="16"/>
                    </a:lnTo>
                    <a:lnTo>
                      <a:pt x="47" y="8"/>
                    </a:lnTo>
                    <a:lnTo>
                      <a:pt x="39" y="2"/>
                    </a:lnTo>
                    <a:lnTo>
                      <a:pt x="28" y="0"/>
                    </a:lnTo>
                    <a:lnTo>
                      <a:pt x="18" y="2"/>
                    </a:lnTo>
                    <a:lnTo>
                      <a:pt x="8" y="8"/>
                    </a:lnTo>
                    <a:lnTo>
                      <a:pt x="3" y="16"/>
                    </a:lnTo>
                    <a:lnTo>
                      <a:pt x="0" y="27"/>
                    </a:lnTo>
                    <a:lnTo>
                      <a:pt x="3" y="38"/>
                    </a:lnTo>
                    <a:lnTo>
                      <a:pt x="8" y="47"/>
                    </a:lnTo>
                    <a:lnTo>
                      <a:pt x="18" y="53"/>
                    </a:lnTo>
                    <a:lnTo>
                      <a:pt x="28" y="55"/>
                    </a:lnTo>
                    <a:lnTo>
                      <a:pt x="39" y="53"/>
                    </a:lnTo>
                    <a:lnTo>
                      <a:pt x="47" y="47"/>
                    </a:lnTo>
                    <a:lnTo>
                      <a:pt x="54" y="38"/>
                    </a:lnTo>
                    <a:lnTo>
                      <a:pt x="56" y="2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6" name="Freeform 148"/>
              <p:cNvSpPr>
                <a:spLocks/>
              </p:cNvSpPr>
              <p:nvPr/>
            </p:nvSpPr>
            <p:spPr bwMode="auto">
              <a:xfrm>
                <a:off x="4226" y="2774"/>
                <a:ext cx="56" cy="55"/>
              </a:xfrm>
              <a:custGeom>
                <a:avLst/>
                <a:gdLst>
                  <a:gd name="T0" fmla="*/ 56 w 56"/>
                  <a:gd name="T1" fmla="*/ 27 h 55"/>
                  <a:gd name="T2" fmla="*/ 54 w 56"/>
                  <a:gd name="T3" fmla="*/ 16 h 55"/>
                  <a:gd name="T4" fmla="*/ 47 w 56"/>
                  <a:gd name="T5" fmla="*/ 8 h 55"/>
                  <a:gd name="T6" fmla="*/ 39 w 56"/>
                  <a:gd name="T7" fmla="*/ 2 h 55"/>
                  <a:gd name="T8" fmla="*/ 28 w 56"/>
                  <a:gd name="T9" fmla="*/ 0 h 55"/>
                  <a:gd name="T10" fmla="*/ 18 w 56"/>
                  <a:gd name="T11" fmla="*/ 2 h 55"/>
                  <a:gd name="T12" fmla="*/ 8 w 56"/>
                  <a:gd name="T13" fmla="*/ 8 h 55"/>
                  <a:gd name="T14" fmla="*/ 3 w 56"/>
                  <a:gd name="T15" fmla="*/ 16 h 55"/>
                  <a:gd name="T16" fmla="*/ 0 w 56"/>
                  <a:gd name="T17" fmla="*/ 27 h 55"/>
                  <a:gd name="T18" fmla="*/ 3 w 56"/>
                  <a:gd name="T19" fmla="*/ 38 h 55"/>
                  <a:gd name="T20" fmla="*/ 8 w 56"/>
                  <a:gd name="T21" fmla="*/ 47 h 55"/>
                  <a:gd name="T22" fmla="*/ 18 w 56"/>
                  <a:gd name="T23" fmla="*/ 53 h 55"/>
                  <a:gd name="T24" fmla="*/ 28 w 56"/>
                  <a:gd name="T25" fmla="*/ 55 h 55"/>
                  <a:gd name="T26" fmla="*/ 39 w 56"/>
                  <a:gd name="T27" fmla="*/ 53 h 55"/>
                  <a:gd name="T28" fmla="*/ 47 w 56"/>
                  <a:gd name="T29" fmla="*/ 47 h 55"/>
                  <a:gd name="T30" fmla="*/ 54 w 56"/>
                  <a:gd name="T31" fmla="*/ 38 h 55"/>
                  <a:gd name="T32" fmla="*/ 56 w 56"/>
                  <a:gd name="T33" fmla="*/ 27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6"/>
                  <a:gd name="T52" fmla="*/ 0 h 55"/>
                  <a:gd name="T53" fmla="*/ 56 w 56"/>
                  <a:gd name="T54" fmla="*/ 55 h 5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6" h="55">
                    <a:moveTo>
                      <a:pt x="56" y="27"/>
                    </a:moveTo>
                    <a:lnTo>
                      <a:pt x="54" y="16"/>
                    </a:lnTo>
                    <a:lnTo>
                      <a:pt x="47" y="8"/>
                    </a:lnTo>
                    <a:lnTo>
                      <a:pt x="39" y="2"/>
                    </a:lnTo>
                    <a:lnTo>
                      <a:pt x="28" y="0"/>
                    </a:lnTo>
                    <a:lnTo>
                      <a:pt x="18" y="2"/>
                    </a:lnTo>
                    <a:lnTo>
                      <a:pt x="8" y="8"/>
                    </a:lnTo>
                    <a:lnTo>
                      <a:pt x="3" y="16"/>
                    </a:lnTo>
                    <a:lnTo>
                      <a:pt x="0" y="27"/>
                    </a:lnTo>
                    <a:lnTo>
                      <a:pt x="3" y="38"/>
                    </a:lnTo>
                    <a:lnTo>
                      <a:pt x="8" y="47"/>
                    </a:lnTo>
                    <a:lnTo>
                      <a:pt x="18" y="53"/>
                    </a:lnTo>
                    <a:lnTo>
                      <a:pt x="28" y="55"/>
                    </a:lnTo>
                    <a:lnTo>
                      <a:pt x="39" y="53"/>
                    </a:lnTo>
                    <a:lnTo>
                      <a:pt x="47" y="47"/>
                    </a:lnTo>
                    <a:lnTo>
                      <a:pt x="54" y="38"/>
                    </a:lnTo>
                    <a:lnTo>
                      <a:pt x="56" y="2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7" name="Freeform 149"/>
              <p:cNvSpPr>
                <a:spLocks/>
              </p:cNvSpPr>
              <p:nvPr/>
            </p:nvSpPr>
            <p:spPr bwMode="auto">
              <a:xfrm>
                <a:off x="3580" y="1506"/>
                <a:ext cx="56" cy="56"/>
              </a:xfrm>
              <a:custGeom>
                <a:avLst/>
                <a:gdLst>
                  <a:gd name="T0" fmla="*/ 56 w 56"/>
                  <a:gd name="T1" fmla="*/ 27 h 56"/>
                  <a:gd name="T2" fmla="*/ 54 w 56"/>
                  <a:gd name="T3" fmla="*/ 17 h 56"/>
                  <a:gd name="T4" fmla="*/ 48 w 56"/>
                  <a:gd name="T5" fmla="*/ 8 h 56"/>
                  <a:gd name="T6" fmla="*/ 39 w 56"/>
                  <a:gd name="T7" fmla="*/ 2 h 56"/>
                  <a:gd name="T8" fmla="*/ 28 w 56"/>
                  <a:gd name="T9" fmla="*/ 0 h 56"/>
                  <a:gd name="T10" fmla="*/ 18 w 56"/>
                  <a:gd name="T11" fmla="*/ 2 h 56"/>
                  <a:gd name="T12" fmla="*/ 8 w 56"/>
                  <a:gd name="T13" fmla="*/ 8 h 56"/>
                  <a:gd name="T14" fmla="*/ 3 w 56"/>
                  <a:gd name="T15" fmla="*/ 17 h 56"/>
                  <a:gd name="T16" fmla="*/ 0 w 56"/>
                  <a:gd name="T17" fmla="*/ 27 h 56"/>
                  <a:gd name="T18" fmla="*/ 3 w 56"/>
                  <a:gd name="T19" fmla="*/ 38 h 56"/>
                  <a:gd name="T20" fmla="*/ 8 w 56"/>
                  <a:gd name="T21" fmla="*/ 47 h 56"/>
                  <a:gd name="T22" fmla="*/ 18 w 56"/>
                  <a:gd name="T23" fmla="*/ 53 h 56"/>
                  <a:gd name="T24" fmla="*/ 28 w 56"/>
                  <a:gd name="T25" fmla="*/ 56 h 56"/>
                  <a:gd name="T26" fmla="*/ 39 w 56"/>
                  <a:gd name="T27" fmla="*/ 53 h 56"/>
                  <a:gd name="T28" fmla="*/ 48 w 56"/>
                  <a:gd name="T29" fmla="*/ 47 h 56"/>
                  <a:gd name="T30" fmla="*/ 54 w 56"/>
                  <a:gd name="T31" fmla="*/ 38 h 56"/>
                  <a:gd name="T32" fmla="*/ 56 w 56"/>
                  <a:gd name="T33" fmla="*/ 27 h 5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6"/>
                  <a:gd name="T52" fmla="*/ 0 h 56"/>
                  <a:gd name="T53" fmla="*/ 56 w 56"/>
                  <a:gd name="T54" fmla="*/ 56 h 5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6" h="56">
                    <a:moveTo>
                      <a:pt x="56" y="27"/>
                    </a:moveTo>
                    <a:lnTo>
                      <a:pt x="54" y="17"/>
                    </a:lnTo>
                    <a:lnTo>
                      <a:pt x="48" y="8"/>
                    </a:lnTo>
                    <a:lnTo>
                      <a:pt x="39" y="2"/>
                    </a:lnTo>
                    <a:lnTo>
                      <a:pt x="28" y="0"/>
                    </a:lnTo>
                    <a:lnTo>
                      <a:pt x="18" y="2"/>
                    </a:lnTo>
                    <a:lnTo>
                      <a:pt x="8" y="8"/>
                    </a:lnTo>
                    <a:lnTo>
                      <a:pt x="3" y="17"/>
                    </a:lnTo>
                    <a:lnTo>
                      <a:pt x="0" y="27"/>
                    </a:lnTo>
                    <a:lnTo>
                      <a:pt x="3" y="38"/>
                    </a:lnTo>
                    <a:lnTo>
                      <a:pt x="8" y="47"/>
                    </a:lnTo>
                    <a:lnTo>
                      <a:pt x="18" y="53"/>
                    </a:lnTo>
                    <a:lnTo>
                      <a:pt x="28" y="56"/>
                    </a:lnTo>
                    <a:lnTo>
                      <a:pt x="39" y="53"/>
                    </a:lnTo>
                    <a:lnTo>
                      <a:pt x="48" y="47"/>
                    </a:lnTo>
                    <a:lnTo>
                      <a:pt x="54" y="38"/>
                    </a:lnTo>
                    <a:lnTo>
                      <a:pt x="56" y="2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8" name="Freeform 150"/>
              <p:cNvSpPr>
                <a:spLocks/>
              </p:cNvSpPr>
              <p:nvPr/>
            </p:nvSpPr>
            <p:spPr bwMode="auto">
              <a:xfrm>
                <a:off x="3580" y="1506"/>
                <a:ext cx="56" cy="56"/>
              </a:xfrm>
              <a:custGeom>
                <a:avLst/>
                <a:gdLst>
                  <a:gd name="T0" fmla="*/ 56 w 56"/>
                  <a:gd name="T1" fmla="*/ 27 h 56"/>
                  <a:gd name="T2" fmla="*/ 54 w 56"/>
                  <a:gd name="T3" fmla="*/ 17 h 56"/>
                  <a:gd name="T4" fmla="*/ 48 w 56"/>
                  <a:gd name="T5" fmla="*/ 8 h 56"/>
                  <a:gd name="T6" fmla="*/ 39 w 56"/>
                  <a:gd name="T7" fmla="*/ 2 h 56"/>
                  <a:gd name="T8" fmla="*/ 28 w 56"/>
                  <a:gd name="T9" fmla="*/ 0 h 56"/>
                  <a:gd name="T10" fmla="*/ 18 w 56"/>
                  <a:gd name="T11" fmla="*/ 2 h 56"/>
                  <a:gd name="T12" fmla="*/ 8 w 56"/>
                  <a:gd name="T13" fmla="*/ 8 h 56"/>
                  <a:gd name="T14" fmla="*/ 3 w 56"/>
                  <a:gd name="T15" fmla="*/ 17 h 56"/>
                  <a:gd name="T16" fmla="*/ 0 w 56"/>
                  <a:gd name="T17" fmla="*/ 27 h 56"/>
                  <a:gd name="T18" fmla="*/ 3 w 56"/>
                  <a:gd name="T19" fmla="*/ 38 h 56"/>
                  <a:gd name="T20" fmla="*/ 8 w 56"/>
                  <a:gd name="T21" fmla="*/ 47 h 56"/>
                  <a:gd name="T22" fmla="*/ 18 w 56"/>
                  <a:gd name="T23" fmla="*/ 53 h 56"/>
                  <a:gd name="T24" fmla="*/ 28 w 56"/>
                  <a:gd name="T25" fmla="*/ 56 h 56"/>
                  <a:gd name="T26" fmla="*/ 39 w 56"/>
                  <a:gd name="T27" fmla="*/ 53 h 56"/>
                  <a:gd name="T28" fmla="*/ 48 w 56"/>
                  <a:gd name="T29" fmla="*/ 47 h 56"/>
                  <a:gd name="T30" fmla="*/ 54 w 56"/>
                  <a:gd name="T31" fmla="*/ 38 h 56"/>
                  <a:gd name="T32" fmla="*/ 56 w 56"/>
                  <a:gd name="T33" fmla="*/ 27 h 5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6"/>
                  <a:gd name="T52" fmla="*/ 0 h 56"/>
                  <a:gd name="T53" fmla="*/ 56 w 56"/>
                  <a:gd name="T54" fmla="*/ 56 h 5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6" h="56">
                    <a:moveTo>
                      <a:pt x="56" y="27"/>
                    </a:moveTo>
                    <a:lnTo>
                      <a:pt x="54" y="17"/>
                    </a:lnTo>
                    <a:lnTo>
                      <a:pt x="48" y="8"/>
                    </a:lnTo>
                    <a:lnTo>
                      <a:pt x="39" y="2"/>
                    </a:lnTo>
                    <a:lnTo>
                      <a:pt x="28" y="0"/>
                    </a:lnTo>
                    <a:lnTo>
                      <a:pt x="18" y="2"/>
                    </a:lnTo>
                    <a:lnTo>
                      <a:pt x="8" y="8"/>
                    </a:lnTo>
                    <a:lnTo>
                      <a:pt x="3" y="17"/>
                    </a:lnTo>
                    <a:lnTo>
                      <a:pt x="0" y="27"/>
                    </a:lnTo>
                    <a:lnTo>
                      <a:pt x="3" y="38"/>
                    </a:lnTo>
                    <a:lnTo>
                      <a:pt x="8" y="47"/>
                    </a:lnTo>
                    <a:lnTo>
                      <a:pt x="18" y="53"/>
                    </a:lnTo>
                    <a:lnTo>
                      <a:pt x="28" y="56"/>
                    </a:lnTo>
                    <a:lnTo>
                      <a:pt x="39" y="53"/>
                    </a:lnTo>
                    <a:lnTo>
                      <a:pt x="48" y="47"/>
                    </a:lnTo>
                    <a:lnTo>
                      <a:pt x="54" y="38"/>
                    </a:lnTo>
                    <a:lnTo>
                      <a:pt x="56" y="2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299" name="Freeform 151"/>
              <p:cNvSpPr>
                <a:spLocks/>
              </p:cNvSpPr>
              <p:nvPr/>
            </p:nvSpPr>
            <p:spPr bwMode="auto">
              <a:xfrm>
                <a:off x="4433" y="2801"/>
                <a:ext cx="54" cy="53"/>
              </a:xfrm>
              <a:custGeom>
                <a:avLst/>
                <a:gdLst>
                  <a:gd name="T0" fmla="*/ 54 w 54"/>
                  <a:gd name="T1" fmla="*/ 26 h 53"/>
                  <a:gd name="T2" fmla="*/ 52 w 54"/>
                  <a:gd name="T3" fmla="*/ 16 h 53"/>
                  <a:gd name="T4" fmla="*/ 46 w 54"/>
                  <a:gd name="T5" fmla="*/ 7 h 53"/>
                  <a:gd name="T6" fmla="*/ 37 w 54"/>
                  <a:gd name="T7" fmla="*/ 2 h 53"/>
                  <a:gd name="T8" fmla="*/ 27 w 54"/>
                  <a:gd name="T9" fmla="*/ 0 h 53"/>
                  <a:gd name="T10" fmla="*/ 16 w 54"/>
                  <a:gd name="T11" fmla="*/ 2 h 53"/>
                  <a:gd name="T12" fmla="*/ 8 w 54"/>
                  <a:gd name="T13" fmla="*/ 7 h 53"/>
                  <a:gd name="T14" fmla="*/ 2 w 54"/>
                  <a:gd name="T15" fmla="*/ 16 h 53"/>
                  <a:gd name="T16" fmla="*/ 0 w 54"/>
                  <a:gd name="T17" fmla="*/ 26 h 53"/>
                  <a:gd name="T18" fmla="*/ 2 w 54"/>
                  <a:gd name="T19" fmla="*/ 37 h 53"/>
                  <a:gd name="T20" fmla="*/ 8 w 54"/>
                  <a:gd name="T21" fmla="*/ 45 h 53"/>
                  <a:gd name="T22" fmla="*/ 16 w 54"/>
                  <a:gd name="T23" fmla="*/ 51 h 53"/>
                  <a:gd name="T24" fmla="*/ 27 w 54"/>
                  <a:gd name="T25" fmla="*/ 53 h 53"/>
                  <a:gd name="T26" fmla="*/ 37 w 54"/>
                  <a:gd name="T27" fmla="*/ 51 h 53"/>
                  <a:gd name="T28" fmla="*/ 46 w 54"/>
                  <a:gd name="T29" fmla="*/ 45 h 53"/>
                  <a:gd name="T30" fmla="*/ 52 w 54"/>
                  <a:gd name="T31" fmla="*/ 37 h 53"/>
                  <a:gd name="T32" fmla="*/ 54 w 54"/>
                  <a:gd name="T33" fmla="*/ 26 h 5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4"/>
                  <a:gd name="T52" fmla="*/ 0 h 53"/>
                  <a:gd name="T53" fmla="*/ 54 w 54"/>
                  <a:gd name="T54" fmla="*/ 53 h 5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4" h="53">
                    <a:moveTo>
                      <a:pt x="54" y="26"/>
                    </a:moveTo>
                    <a:lnTo>
                      <a:pt x="52" y="16"/>
                    </a:lnTo>
                    <a:lnTo>
                      <a:pt x="46" y="7"/>
                    </a:lnTo>
                    <a:lnTo>
                      <a:pt x="37" y="2"/>
                    </a:lnTo>
                    <a:lnTo>
                      <a:pt x="27" y="0"/>
                    </a:lnTo>
                    <a:lnTo>
                      <a:pt x="16" y="2"/>
                    </a:lnTo>
                    <a:lnTo>
                      <a:pt x="8" y="7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7"/>
                    </a:lnTo>
                    <a:lnTo>
                      <a:pt x="8" y="45"/>
                    </a:lnTo>
                    <a:lnTo>
                      <a:pt x="16" y="51"/>
                    </a:lnTo>
                    <a:lnTo>
                      <a:pt x="27" y="53"/>
                    </a:lnTo>
                    <a:lnTo>
                      <a:pt x="37" y="51"/>
                    </a:lnTo>
                    <a:lnTo>
                      <a:pt x="46" y="45"/>
                    </a:lnTo>
                    <a:lnTo>
                      <a:pt x="52" y="37"/>
                    </a:lnTo>
                    <a:lnTo>
                      <a:pt x="54" y="2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0" name="Freeform 152"/>
              <p:cNvSpPr>
                <a:spLocks/>
              </p:cNvSpPr>
              <p:nvPr/>
            </p:nvSpPr>
            <p:spPr bwMode="auto">
              <a:xfrm>
                <a:off x="4433" y="2801"/>
                <a:ext cx="54" cy="53"/>
              </a:xfrm>
              <a:custGeom>
                <a:avLst/>
                <a:gdLst>
                  <a:gd name="T0" fmla="*/ 54 w 54"/>
                  <a:gd name="T1" fmla="*/ 26 h 53"/>
                  <a:gd name="T2" fmla="*/ 52 w 54"/>
                  <a:gd name="T3" fmla="*/ 16 h 53"/>
                  <a:gd name="T4" fmla="*/ 46 w 54"/>
                  <a:gd name="T5" fmla="*/ 7 h 53"/>
                  <a:gd name="T6" fmla="*/ 37 w 54"/>
                  <a:gd name="T7" fmla="*/ 2 h 53"/>
                  <a:gd name="T8" fmla="*/ 27 w 54"/>
                  <a:gd name="T9" fmla="*/ 0 h 53"/>
                  <a:gd name="T10" fmla="*/ 16 w 54"/>
                  <a:gd name="T11" fmla="*/ 2 h 53"/>
                  <a:gd name="T12" fmla="*/ 8 w 54"/>
                  <a:gd name="T13" fmla="*/ 7 h 53"/>
                  <a:gd name="T14" fmla="*/ 2 w 54"/>
                  <a:gd name="T15" fmla="*/ 16 h 53"/>
                  <a:gd name="T16" fmla="*/ 0 w 54"/>
                  <a:gd name="T17" fmla="*/ 26 h 53"/>
                  <a:gd name="T18" fmla="*/ 2 w 54"/>
                  <a:gd name="T19" fmla="*/ 37 h 53"/>
                  <a:gd name="T20" fmla="*/ 8 w 54"/>
                  <a:gd name="T21" fmla="*/ 45 h 53"/>
                  <a:gd name="T22" fmla="*/ 16 w 54"/>
                  <a:gd name="T23" fmla="*/ 51 h 53"/>
                  <a:gd name="T24" fmla="*/ 27 w 54"/>
                  <a:gd name="T25" fmla="*/ 53 h 53"/>
                  <a:gd name="T26" fmla="*/ 37 w 54"/>
                  <a:gd name="T27" fmla="*/ 51 h 53"/>
                  <a:gd name="T28" fmla="*/ 46 w 54"/>
                  <a:gd name="T29" fmla="*/ 45 h 53"/>
                  <a:gd name="T30" fmla="*/ 52 w 54"/>
                  <a:gd name="T31" fmla="*/ 37 h 53"/>
                  <a:gd name="T32" fmla="*/ 54 w 54"/>
                  <a:gd name="T33" fmla="*/ 26 h 5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4"/>
                  <a:gd name="T52" fmla="*/ 0 h 53"/>
                  <a:gd name="T53" fmla="*/ 54 w 54"/>
                  <a:gd name="T54" fmla="*/ 53 h 5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4" h="53">
                    <a:moveTo>
                      <a:pt x="54" y="26"/>
                    </a:moveTo>
                    <a:lnTo>
                      <a:pt x="52" y="16"/>
                    </a:lnTo>
                    <a:lnTo>
                      <a:pt x="46" y="7"/>
                    </a:lnTo>
                    <a:lnTo>
                      <a:pt x="37" y="2"/>
                    </a:lnTo>
                    <a:lnTo>
                      <a:pt x="27" y="0"/>
                    </a:lnTo>
                    <a:lnTo>
                      <a:pt x="16" y="2"/>
                    </a:lnTo>
                    <a:lnTo>
                      <a:pt x="8" y="7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7"/>
                    </a:lnTo>
                    <a:lnTo>
                      <a:pt x="8" y="45"/>
                    </a:lnTo>
                    <a:lnTo>
                      <a:pt x="16" y="51"/>
                    </a:lnTo>
                    <a:lnTo>
                      <a:pt x="27" y="53"/>
                    </a:lnTo>
                    <a:lnTo>
                      <a:pt x="37" y="51"/>
                    </a:lnTo>
                    <a:lnTo>
                      <a:pt x="46" y="45"/>
                    </a:lnTo>
                    <a:lnTo>
                      <a:pt x="52" y="37"/>
                    </a:lnTo>
                    <a:lnTo>
                      <a:pt x="54" y="2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1" name="Freeform 153"/>
              <p:cNvSpPr>
                <a:spLocks/>
              </p:cNvSpPr>
              <p:nvPr/>
            </p:nvSpPr>
            <p:spPr bwMode="auto">
              <a:xfrm>
                <a:off x="3953" y="2834"/>
                <a:ext cx="53" cy="53"/>
              </a:xfrm>
              <a:custGeom>
                <a:avLst/>
                <a:gdLst>
                  <a:gd name="T0" fmla="*/ 53 w 53"/>
                  <a:gd name="T1" fmla="*/ 26 h 53"/>
                  <a:gd name="T2" fmla="*/ 51 w 53"/>
                  <a:gd name="T3" fmla="*/ 16 h 53"/>
                  <a:gd name="T4" fmla="*/ 45 w 53"/>
                  <a:gd name="T5" fmla="*/ 7 h 53"/>
                  <a:gd name="T6" fmla="*/ 37 w 53"/>
                  <a:gd name="T7" fmla="*/ 2 h 53"/>
                  <a:gd name="T8" fmla="*/ 27 w 53"/>
                  <a:gd name="T9" fmla="*/ 0 h 53"/>
                  <a:gd name="T10" fmla="*/ 16 w 53"/>
                  <a:gd name="T11" fmla="*/ 2 h 53"/>
                  <a:gd name="T12" fmla="*/ 8 w 53"/>
                  <a:gd name="T13" fmla="*/ 7 h 53"/>
                  <a:gd name="T14" fmla="*/ 2 w 53"/>
                  <a:gd name="T15" fmla="*/ 16 h 53"/>
                  <a:gd name="T16" fmla="*/ 0 w 53"/>
                  <a:gd name="T17" fmla="*/ 26 h 53"/>
                  <a:gd name="T18" fmla="*/ 2 w 53"/>
                  <a:gd name="T19" fmla="*/ 37 h 53"/>
                  <a:gd name="T20" fmla="*/ 8 w 53"/>
                  <a:gd name="T21" fmla="*/ 45 h 53"/>
                  <a:gd name="T22" fmla="*/ 16 w 53"/>
                  <a:gd name="T23" fmla="*/ 51 h 53"/>
                  <a:gd name="T24" fmla="*/ 27 w 53"/>
                  <a:gd name="T25" fmla="*/ 53 h 53"/>
                  <a:gd name="T26" fmla="*/ 37 w 53"/>
                  <a:gd name="T27" fmla="*/ 51 h 53"/>
                  <a:gd name="T28" fmla="*/ 45 w 53"/>
                  <a:gd name="T29" fmla="*/ 45 h 53"/>
                  <a:gd name="T30" fmla="*/ 51 w 53"/>
                  <a:gd name="T31" fmla="*/ 37 h 53"/>
                  <a:gd name="T32" fmla="*/ 53 w 53"/>
                  <a:gd name="T33" fmla="*/ 26 h 5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3"/>
                  <a:gd name="T52" fmla="*/ 0 h 53"/>
                  <a:gd name="T53" fmla="*/ 53 w 53"/>
                  <a:gd name="T54" fmla="*/ 53 h 5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3" h="53">
                    <a:moveTo>
                      <a:pt x="53" y="26"/>
                    </a:moveTo>
                    <a:lnTo>
                      <a:pt x="51" y="16"/>
                    </a:lnTo>
                    <a:lnTo>
                      <a:pt x="45" y="7"/>
                    </a:lnTo>
                    <a:lnTo>
                      <a:pt x="37" y="2"/>
                    </a:lnTo>
                    <a:lnTo>
                      <a:pt x="27" y="0"/>
                    </a:lnTo>
                    <a:lnTo>
                      <a:pt x="16" y="2"/>
                    </a:lnTo>
                    <a:lnTo>
                      <a:pt x="8" y="7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7"/>
                    </a:lnTo>
                    <a:lnTo>
                      <a:pt x="8" y="45"/>
                    </a:lnTo>
                    <a:lnTo>
                      <a:pt x="16" y="51"/>
                    </a:lnTo>
                    <a:lnTo>
                      <a:pt x="27" y="53"/>
                    </a:lnTo>
                    <a:lnTo>
                      <a:pt x="37" y="51"/>
                    </a:lnTo>
                    <a:lnTo>
                      <a:pt x="45" y="45"/>
                    </a:lnTo>
                    <a:lnTo>
                      <a:pt x="51" y="37"/>
                    </a:lnTo>
                    <a:lnTo>
                      <a:pt x="53" y="2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2" name="Freeform 154"/>
              <p:cNvSpPr>
                <a:spLocks/>
              </p:cNvSpPr>
              <p:nvPr/>
            </p:nvSpPr>
            <p:spPr bwMode="auto">
              <a:xfrm>
                <a:off x="3953" y="2834"/>
                <a:ext cx="53" cy="53"/>
              </a:xfrm>
              <a:custGeom>
                <a:avLst/>
                <a:gdLst>
                  <a:gd name="T0" fmla="*/ 53 w 53"/>
                  <a:gd name="T1" fmla="*/ 26 h 53"/>
                  <a:gd name="T2" fmla="*/ 51 w 53"/>
                  <a:gd name="T3" fmla="*/ 16 h 53"/>
                  <a:gd name="T4" fmla="*/ 45 w 53"/>
                  <a:gd name="T5" fmla="*/ 7 h 53"/>
                  <a:gd name="T6" fmla="*/ 37 w 53"/>
                  <a:gd name="T7" fmla="*/ 2 h 53"/>
                  <a:gd name="T8" fmla="*/ 27 w 53"/>
                  <a:gd name="T9" fmla="*/ 0 h 53"/>
                  <a:gd name="T10" fmla="*/ 16 w 53"/>
                  <a:gd name="T11" fmla="*/ 2 h 53"/>
                  <a:gd name="T12" fmla="*/ 8 w 53"/>
                  <a:gd name="T13" fmla="*/ 7 h 53"/>
                  <a:gd name="T14" fmla="*/ 2 w 53"/>
                  <a:gd name="T15" fmla="*/ 16 h 53"/>
                  <a:gd name="T16" fmla="*/ 0 w 53"/>
                  <a:gd name="T17" fmla="*/ 26 h 53"/>
                  <a:gd name="T18" fmla="*/ 2 w 53"/>
                  <a:gd name="T19" fmla="*/ 37 h 53"/>
                  <a:gd name="T20" fmla="*/ 8 w 53"/>
                  <a:gd name="T21" fmla="*/ 45 h 53"/>
                  <a:gd name="T22" fmla="*/ 16 w 53"/>
                  <a:gd name="T23" fmla="*/ 51 h 53"/>
                  <a:gd name="T24" fmla="*/ 27 w 53"/>
                  <a:gd name="T25" fmla="*/ 53 h 53"/>
                  <a:gd name="T26" fmla="*/ 37 w 53"/>
                  <a:gd name="T27" fmla="*/ 51 h 53"/>
                  <a:gd name="T28" fmla="*/ 45 w 53"/>
                  <a:gd name="T29" fmla="*/ 45 h 53"/>
                  <a:gd name="T30" fmla="*/ 51 w 53"/>
                  <a:gd name="T31" fmla="*/ 37 h 53"/>
                  <a:gd name="T32" fmla="*/ 53 w 53"/>
                  <a:gd name="T33" fmla="*/ 26 h 5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3"/>
                  <a:gd name="T52" fmla="*/ 0 h 53"/>
                  <a:gd name="T53" fmla="*/ 53 w 53"/>
                  <a:gd name="T54" fmla="*/ 53 h 5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3" h="53">
                    <a:moveTo>
                      <a:pt x="53" y="26"/>
                    </a:moveTo>
                    <a:lnTo>
                      <a:pt x="51" y="16"/>
                    </a:lnTo>
                    <a:lnTo>
                      <a:pt x="45" y="7"/>
                    </a:lnTo>
                    <a:lnTo>
                      <a:pt x="37" y="2"/>
                    </a:lnTo>
                    <a:lnTo>
                      <a:pt x="27" y="0"/>
                    </a:lnTo>
                    <a:lnTo>
                      <a:pt x="16" y="2"/>
                    </a:lnTo>
                    <a:lnTo>
                      <a:pt x="8" y="7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7"/>
                    </a:lnTo>
                    <a:lnTo>
                      <a:pt x="8" y="45"/>
                    </a:lnTo>
                    <a:lnTo>
                      <a:pt x="16" y="51"/>
                    </a:lnTo>
                    <a:lnTo>
                      <a:pt x="27" y="53"/>
                    </a:lnTo>
                    <a:lnTo>
                      <a:pt x="37" y="51"/>
                    </a:lnTo>
                    <a:lnTo>
                      <a:pt x="45" y="45"/>
                    </a:lnTo>
                    <a:lnTo>
                      <a:pt x="51" y="37"/>
                    </a:lnTo>
                    <a:lnTo>
                      <a:pt x="53" y="2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3" name="Freeform 155"/>
              <p:cNvSpPr>
                <a:spLocks/>
              </p:cNvSpPr>
              <p:nvPr/>
            </p:nvSpPr>
            <p:spPr bwMode="auto">
              <a:xfrm>
                <a:off x="4211" y="2903"/>
                <a:ext cx="53" cy="52"/>
              </a:xfrm>
              <a:custGeom>
                <a:avLst/>
                <a:gdLst>
                  <a:gd name="T0" fmla="*/ 53 w 53"/>
                  <a:gd name="T1" fmla="*/ 26 h 52"/>
                  <a:gd name="T2" fmla="*/ 51 w 53"/>
                  <a:gd name="T3" fmla="*/ 16 h 52"/>
                  <a:gd name="T4" fmla="*/ 45 w 53"/>
                  <a:gd name="T5" fmla="*/ 8 h 52"/>
                  <a:gd name="T6" fmla="*/ 37 w 53"/>
                  <a:gd name="T7" fmla="*/ 2 h 52"/>
                  <a:gd name="T8" fmla="*/ 26 w 53"/>
                  <a:gd name="T9" fmla="*/ 0 h 52"/>
                  <a:gd name="T10" fmla="*/ 16 w 53"/>
                  <a:gd name="T11" fmla="*/ 2 h 52"/>
                  <a:gd name="T12" fmla="*/ 8 w 53"/>
                  <a:gd name="T13" fmla="*/ 8 h 52"/>
                  <a:gd name="T14" fmla="*/ 3 w 53"/>
                  <a:gd name="T15" fmla="*/ 16 h 52"/>
                  <a:gd name="T16" fmla="*/ 0 w 53"/>
                  <a:gd name="T17" fmla="*/ 26 h 52"/>
                  <a:gd name="T18" fmla="*/ 3 w 53"/>
                  <a:gd name="T19" fmla="*/ 37 h 52"/>
                  <a:gd name="T20" fmla="*/ 8 w 53"/>
                  <a:gd name="T21" fmla="*/ 45 h 52"/>
                  <a:gd name="T22" fmla="*/ 16 w 53"/>
                  <a:gd name="T23" fmla="*/ 50 h 52"/>
                  <a:gd name="T24" fmla="*/ 26 w 53"/>
                  <a:gd name="T25" fmla="*/ 52 h 52"/>
                  <a:gd name="T26" fmla="*/ 37 w 53"/>
                  <a:gd name="T27" fmla="*/ 50 h 52"/>
                  <a:gd name="T28" fmla="*/ 45 w 53"/>
                  <a:gd name="T29" fmla="*/ 45 h 52"/>
                  <a:gd name="T30" fmla="*/ 51 w 53"/>
                  <a:gd name="T31" fmla="*/ 37 h 52"/>
                  <a:gd name="T32" fmla="*/ 53 w 53"/>
                  <a:gd name="T33" fmla="*/ 26 h 5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3"/>
                  <a:gd name="T52" fmla="*/ 0 h 52"/>
                  <a:gd name="T53" fmla="*/ 53 w 53"/>
                  <a:gd name="T54" fmla="*/ 52 h 5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3" h="52">
                    <a:moveTo>
                      <a:pt x="53" y="26"/>
                    </a:moveTo>
                    <a:lnTo>
                      <a:pt x="51" y="16"/>
                    </a:lnTo>
                    <a:lnTo>
                      <a:pt x="45" y="8"/>
                    </a:lnTo>
                    <a:lnTo>
                      <a:pt x="37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3" y="16"/>
                    </a:lnTo>
                    <a:lnTo>
                      <a:pt x="0" y="26"/>
                    </a:lnTo>
                    <a:lnTo>
                      <a:pt x="3" y="37"/>
                    </a:lnTo>
                    <a:lnTo>
                      <a:pt x="8" y="45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37" y="50"/>
                    </a:lnTo>
                    <a:lnTo>
                      <a:pt x="45" y="45"/>
                    </a:lnTo>
                    <a:lnTo>
                      <a:pt x="51" y="37"/>
                    </a:lnTo>
                    <a:lnTo>
                      <a:pt x="53" y="2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4" name="Freeform 156"/>
              <p:cNvSpPr>
                <a:spLocks/>
              </p:cNvSpPr>
              <p:nvPr/>
            </p:nvSpPr>
            <p:spPr bwMode="auto">
              <a:xfrm>
                <a:off x="4211" y="2903"/>
                <a:ext cx="53" cy="52"/>
              </a:xfrm>
              <a:custGeom>
                <a:avLst/>
                <a:gdLst>
                  <a:gd name="T0" fmla="*/ 53 w 53"/>
                  <a:gd name="T1" fmla="*/ 26 h 52"/>
                  <a:gd name="T2" fmla="*/ 51 w 53"/>
                  <a:gd name="T3" fmla="*/ 16 h 52"/>
                  <a:gd name="T4" fmla="*/ 45 w 53"/>
                  <a:gd name="T5" fmla="*/ 8 h 52"/>
                  <a:gd name="T6" fmla="*/ 37 w 53"/>
                  <a:gd name="T7" fmla="*/ 2 h 52"/>
                  <a:gd name="T8" fmla="*/ 26 w 53"/>
                  <a:gd name="T9" fmla="*/ 0 h 52"/>
                  <a:gd name="T10" fmla="*/ 16 w 53"/>
                  <a:gd name="T11" fmla="*/ 2 h 52"/>
                  <a:gd name="T12" fmla="*/ 8 w 53"/>
                  <a:gd name="T13" fmla="*/ 8 h 52"/>
                  <a:gd name="T14" fmla="*/ 3 w 53"/>
                  <a:gd name="T15" fmla="*/ 16 h 52"/>
                  <a:gd name="T16" fmla="*/ 0 w 53"/>
                  <a:gd name="T17" fmla="*/ 26 h 52"/>
                  <a:gd name="T18" fmla="*/ 3 w 53"/>
                  <a:gd name="T19" fmla="*/ 37 h 52"/>
                  <a:gd name="T20" fmla="*/ 8 w 53"/>
                  <a:gd name="T21" fmla="*/ 45 h 52"/>
                  <a:gd name="T22" fmla="*/ 16 w 53"/>
                  <a:gd name="T23" fmla="*/ 50 h 52"/>
                  <a:gd name="T24" fmla="*/ 26 w 53"/>
                  <a:gd name="T25" fmla="*/ 52 h 52"/>
                  <a:gd name="T26" fmla="*/ 37 w 53"/>
                  <a:gd name="T27" fmla="*/ 50 h 52"/>
                  <a:gd name="T28" fmla="*/ 45 w 53"/>
                  <a:gd name="T29" fmla="*/ 45 h 52"/>
                  <a:gd name="T30" fmla="*/ 51 w 53"/>
                  <a:gd name="T31" fmla="*/ 37 h 52"/>
                  <a:gd name="T32" fmla="*/ 53 w 53"/>
                  <a:gd name="T33" fmla="*/ 26 h 5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3"/>
                  <a:gd name="T52" fmla="*/ 0 h 52"/>
                  <a:gd name="T53" fmla="*/ 53 w 53"/>
                  <a:gd name="T54" fmla="*/ 52 h 5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3" h="52">
                    <a:moveTo>
                      <a:pt x="53" y="26"/>
                    </a:moveTo>
                    <a:lnTo>
                      <a:pt x="51" y="16"/>
                    </a:lnTo>
                    <a:lnTo>
                      <a:pt x="45" y="8"/>
                    </a:lnTo>
                    <a:lnTo>
                      <a:pt x="37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8" y="8"/>
                    </a:lnTo>
                    <a:lnTo>
                      <a:pt x="3" y="16"/>
                    </a:lnTo>
                    <a:lnTo>
                      <a:pt x="0" y="26"/>
                    </a:lnTo>
                    <a:lnTo>
                      <a:pt x="3" y="37"/>
                    </a:lnTo>
                    <a:lnTo>
                      <a:pt x="8" y="45"/>
                    </a:lnTo>
                    <a:lnTo>
                      <a:pt x="16" y="50"/>
                    </a:lnTo>
                    <a:lnTo>
                      <a:pt x="26" y="52"/>
                    </a:lnTo>
                    <a:lnTo>
                      <a:pt x="37" y="50"/>
                    </a:lnTo>
                    <a:lnTo>
                      <a:pt x="45" y="45"/>
                    </a:lnTo>
                    <a:lnTo>
                      <a:pt x="51" y="37"/>
                    </a:lnTo>
                    <a:lnTo>
                      <a:pt x="53" y="2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5" name="Freeform 157"/>
              <p:cNvSpPr>
                <a:spLocks/>
              </p:cNvSpPr>
              <p:nvPr/>
            </p:nvSpPr>
            <p:spPr bwMode="auto">
              <a:xfrm>
                <a:off x="4270" y="3015"/>
                <a:ext cx="52" cy="52"/>
              </a:xfrm>
              <a:custGeom>
                <a:avLst/>
                <a:gdLst>
                  <a:gd name="T0" fmla="*/ 52 w 52"/>
                  <a:gd name="T1" fmla="*/ 26 h 52"/>
                  <a:gd name="T2" fmla="*/ 50 w 52"/>
                  <a:gd name="T3" fmla="*/ 16 h 52"/>
                  <a:gd name="T4" fmla="*/ 44 w 52"/>
                  <a:gd name="T5" fmla="*/ 8 h 52"/>
                  <a:gd name="T6" fmla="*/ 36 w 52"/>
                  <a:gd name="T7" fmla="*/ 2 h 52"/>
                  <a:gd name="T8" fmla="*/ 25 w 52"/>
                  <a:gd name="T9" fmla="*/ 0 h 52"/>
                  <a:gd name="T10" fmla="*/ 15 w 52"/>
                  <a:gd name="T11" fmla="*/ 2 h 52"/>
                  <a:gd name="T12" fmla="*/ 7 w 52"/>
                  <a:gd name="T13" fmla="*/ 8 h 52"/>
                  <a:gd name="T14" fmla="*/ 2 w 52"/>
                  <a:gd name="T15" fmla="*/ 16 h 52"/>
                  <a:gd name="T16" fmla="*/ 0 w 52"/>
                  <a:gd name="T17" fmla="*/ 26 h 52"/>
                  <a:gd name="T18" fmla="*/ 2 w 52"/>
                  <a:gd name="T19" fmla="*/ 36 h 52"/>
                  <a:gd name="T20" fmla="*/ 7 w 52"/>
                  <a:gd name="T21" fmla="*/ 44 h 52"/>
                  <a:gd name="T22" fmla="*/ 15 w 52"/>
                  <a:gd name="T23" fmla="*/ 50 h 52"/>
                  <a:gd name="T24" fmla="*/ 25 w 52"/>
                  <a:gd name="T25" fmla="*/ 52 h 52"/>
                  <a:gd name="T26" fmla="*/ 36 w 52"/>
                  <a:gd name="T27" fmla="*/ 50 h 52"/>
                  <a:gd name="T28" fmla="*/ 44 w 52"/>
                  <a:gd name="T29" fmla="*/ 44 h 52"/>
                  <a:gd name="T30" fmla="*/ 50 w 52"/>
                  <a:gd name="T31" fmla="*/ 36 h 52"/>
                  <a:gd name="T32" fmla="*/ 52 w 52"/>
                  <a:gd name="T33" fmla="*/ 26 h 5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2"/>
                  <a:gd name="T52" fmla="*/ 0 h 52"/>
                  <a:gd name="T53" fmla="*/ 52 w 52"/>
                  <a:gd name="T54" fmla="*/ 52 h 5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2" h="52">
                    <a:moveTo>
                      <a:pt x="52" y="26"/>
                    </a:moveTo>
                    <a:lnTo>
                      <a:pt x="50" y="16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5" y="0"/>
                    </a:lnTo>
                    <a:lnTo>
                      <a:pt x="15" y="2"/>
                    </a:lnTo>
                    <a:lnTo>
                      <a:pt x="7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7" y="44"/>
                    </a:lnTo>
                    <a:lnTo>
                      <a:pt x="15" y="50"/>
                    </a:lnTo>
                    <a:lnTo>
                      <a:pt x="25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6" name="Freeform 158"/>
              <p:cNvSpPr>
                <a:spLocks/>
              </p:cNvSpPr>
              <p:nvPr/>
            </p:nvSpPr>
            <p:spPr bwMode="auto">
              <a:xfrm>
                <a:off x="4270" y="3015"/>
                <a:ext cx="52" cy="52"/>
              </a:xfrm>
              <a:custGeom>
                <a:avLst/>
                <a:gdLst>
                  <a:gd name="T0" fmla="*/ 52 w 52"/>
                  <a:gd name="T1" fmla="*/ 26 h 52"/>
                  <a:gd name="T2" fmla="*/ 50 w 52"/>
                  <a:gd name="T3" fmla="*/ 16 h 52"/>
                  <a:gd name="T4" fmla="*/ 44 w 52"/>
                  <a:gd name="T5" fmla="*/ 8 h 52"/>
                  <a:gd name="T6" fmla="*/ 36 w 52"/>
                  <a:gd name="T7" fmla="*/ 2 h 52"/>
                  <a:gd name="T8" fmla="*/ 25 w 52"/>
                  <a:gd name="T9" fmla="*/ 0 h 52"/>
                  <a:gd name="T10" fmla="*/ 15 w 52"/>
                  <a:gd name="T11" fmla="*/ 2 h 52"/>
                  <a:gd name="T12" fmla="*/ 7 w 52"/>
                  <a:gd name="T13" fmla="*/ 8 h 52"/>
                  <a:gd name="T14" fmla="*/ 2 w 52"/>
                  <a:gd name="T15" fmla="*/ 16 h 52"/>
                  <a:gd name="T16" fmla="*/ 0 w 52"/>
                  <a:gd name="T17" fmla="*/ 26 h 52"/>
                  <a:gd name="T18" fmla="*/ 2 w 52"/>
                  <a:gd name="T19" fmla="*/ 36 h 52"/>
                  <a:gd name="T20" fmla="*/ 7 w 52"/>
                  <a:gd name="T21" fmla="*/ 44 h 52"/>
                  <a:gd name="T22" fmla="*/ 15 w 52"/>
                  <a:gd name="T23" fmla="*/ 50 h 52"/>
                  <a:gd name="T24" fmla="*/ 25 w 52"/>
                  <a:gd name="T25" fmla="*/ 52 h 52"/>
                  <a:gd name="T26" fmla="*/ 36 w 52"/>
                  <a:gd name="T27" fmla="*/ 50 h 52"/>
                  <a:gd name="T28" fmla="*/ 44 w 52"/>
                  <a:gd name="T29" fmla="*/ 44 h 52"/>
                  <a:gd name="T30" fmla="*/ 50 w 52"/>
                  <a:gd name="T31" fmla="*/ 36 h 52"/>
                  <a:gd name="T32" fmla="*/ 52 w 52"/>
                  <a:gd name="T33" fmla="*/ 26 h 5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2"/>
                  <a:gd name="T52" fmla="*/ 0 h 52"/>
                  <a:gd name="T53" fmla="*/ 52 w 52"/>
                  <a:gd name="T54" fmla="*/ 52 h 5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2" h="52">
                    <a:moveTo>
                      <a:pt x="52" y="26"/>
                    </a:moveTo>
                    <a:lnTo>
                      <a:pt x="50" y="16"/>
                    </a:lnTo>
                    <a:lnTo>
                      <a:pt x="44" y="8"/>
                    </a:lnTo>
                    <a:lnTo>
                      <a:pt x="36" y="2"/>
                    </a:lnTo>
                    <a:lnTo>
                      <a:pt x="25" y="0"/>
                    </a:lnTo>
                    <a:lnTo>
                      <a:pt x="15" y="2"/>
                    </a:lnTo>
                    <a:lnTo>
                      <a:pt x="7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6"/>
                    </a:lnTo>
                    <a:lnTo>
                      <a:pt x="7" y="44"/>
                    </a:lnTo>
                    <a:lnTo>
                      <a:pt x="15" y="50"/>
                    </a:lnTo>
                    <a:lnTo>
                      <a:pt x="25" y="52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50" y="36"/>
                    </a:lnTo>
                    <a:lnTo>
                      <a:pt x="52" y="2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7" name="Freeform 159"/>
              <p:cNvSpPr>
                <a:spLocks/>
              </p:cNvSpPr>
              <p:nvPr/>
            </p:nvSpPr>
            <p:spPr bwMode="auto">
              <a:xfrm>
                <a:off x="4149" y="2933"/>
                <a:ext cx="51" cy="51"/>
              </a:xfrm>
              <a:custGeom>
                <a:avLst/>
                <a:gdLst>
                  <a:gd name="T0" fmla="*/ 51 w 51"/>
                  <a:gd name="T1" fmla="*/ 26 h 51"/>
                  <a:gd name="T2" fmla="*/ 49 w 51"/>
                  <a:gd name="T3" fmla="*/ 16 h 51"/>
                  <a:gd name="T4" fmla="*/ 44 w 51"/>
                  <a:gd name="T5" fmla="*/ 8 h 51"/>
                  <a:gd name="T6" fmla="*/ 36 w 51"/>
                  <a:gd name="T7" fmla="*/ 3 h 51"/>
                  <a:gd name="T8" fmla="*/ 25 w 51"/>
                  <a:gd name="T9" fmla="*/ 0 h 51"/>
                  <a:gd name="T10" fmla="*/ 15 w 51"/>
                  <a:gd name="T11" fmla="*/ 3 h 51"/>
                  <a:gd name="T12" fmla="*/ 7 w 51"/>
                  <a:gd name="T13" fmla="*/ 8 h 51"/>
                  <a:gd name="T14" fmla="*/ 2 w 51"/>
                  <a:gd name="T15" fmla="*/ 16 h 51"/>
                  <a:gd name="T16" fmla="*/ 0 w 51"/>
                  <a:gd name="T17" fmla="*/ 26 h 51"/>
                  <a:gd name="T18" fmla="*/ 2 w 51"/>
                  <a:gd name="T19" fmla="*/ 37 h 51"/>
                  <a:gd name="T20" fmla="*/ 7 w 51"/>
                  <a:gd name="T21" fmla="*/ 44 h 51"/>
                  <a:gd name="T22" fmla="*/ 15 w 51"/>
                  <a:gd name="T23" fmla="*/ 50 h 51"/>
                  <a:gd name="T24" fmla="*/ 25 w 51"/>
                  <a:gd name="T25" fmla="*/ 51 h 51"/>
                  <a:gd name="T26" fmla="*/ 36 w 51"/>
                  <a:gd name="T27" fmla="*/ 50 h 51"/>
                  <a:gd name="T28" fmla="*/ 44 w 51"/>
                  <a:gd name="T29" fmla="*/ 44 h 51"/>
                  <a:gd name="T30" fmla="*/ 49 w 51"/>
                  <a:gd name="T31" fmla="*/ 37 h 51"/>
                  <a:gd name="T32" fmla="*/ 51 w 51"/>
                  <a:gd name="T33" fmla="*/ 26 h 5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1"/>
                  <a:gd name="T52" fmla="*/ 0 h 51"/>
                  <a:gd name="T53" fmla="*/ 51 w 51"/>
                  <a:gd name="T54" fmla="*/ 51 h 5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1" h="51">
                    <a:moveTo>
                      <a:pt x="51" y="26"/>
                    </a:moveTo>
                    <a:lnTo>
                      <a:pt x="49" y="16"/>
                    </a:lnTo>
                    <a:lnTo>
                      <a:pt x="44" y="8"/>
                    </a:lnTo>
                    <a:lnTo>
                      <a:pt x="36" y="3"/>
                    </a:lnTo>
                    <a:lnTo>
                      <a:pt x="25" y="0"/>
                    </a:lnTo>
                    <a:lnTo>
                      <a:pt x="15" y="3"/>
                    </a:lnTo>
                    <a:lnTo>
                      <a:pt x="7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7"/>
                    </a:lnTo>
                    <a:lnTo>
                      <a:pt x="7" y="44"/>
                    </a:lnTo>
                    <a:lnTo>
                      <a:pt x="15" y="50"/>
                    </a:lnTo>
                    <a:lnTo>
                      <a:pt x="25" y="51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9" y="37"/>
                    </a:lnTo>
                    <a:lnTo>
                      <a:pt x="51" y="2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8" name="Freeform 160"/>
              <p:cNvSpPr>
                <a:spLocks/>
              </p:cNvSpPr>
              <p:nvPr/>
            </p:nvSpPr>
            <p:spPr bwMode="auto">
              <a:xfrm>
                <a:off x="4149" y="2933"/>
                <a:ext cx="51" cy="51"/>
              </a:xfrm>
              <a:custGeom>
                <a:avLst/>
                <a:gdLst>
                  <a:gd name="T0" fmla="*/ 51 w 51"/>
                  <a:gd name="T1" fmla="*/ 26 h 51"/>
                  <a:gd name="T2" fmla="*/ 49 w 51"/>
                  <a:gd name="T3" fmla="*/ 16 h 51"/>
                  <a:gd name="T4" fmla="*/ 44 w 51"/>
                  <a:gd name="T5" fmla="*/ 8 h 51"/>
                  <a:gd name="T6" fmla="*/ 36 w 51"/>
                  <a:gd name="T7" fmla="*/ 3 h 51"/>
                  <a:gd name="T8" fmla="*/ 25 w 51"/>
                  <a:gd name="T9" fmla="*/ 0 h 51"/>
                  <a:gd name="T10" fmla="*/ 15 w 51"/>
                  <a:gd name="T11" fmla="*/ 3 h 51"/>
                  <a:gd name="T12" fmla="*/ 7 w 51"/>
                  <a:gd name="T13" fmla="*/ 8 h 51"/>
                  <a:gd name="T14" fmla="*/ 2 w 51"/>
                  <a:gd name="T15" fmla="*/ 16 h 51"/>
                  <a:gd name="T16" fmla="*/ 0 w 51"/>
                  <a:gd name="T17" fmla="*/ 26 h 51"/>
                  <a:gd name="T18" fmla="*/ 2 w 51"/>
                  <a:gd name="T19" fmla="*/ 37 h 51"/>
                  <a:gd name="T20" fmla="*/ 7 w 51"/>
                  <a:gd name="T21" fmla="*/ 44 h 51"/>
                  <a:gd name="T22" fmla="*/ 15 w 51"/>
                  <a:gd name="T23" fmla="*/ 50 h 51"/>
                  <a:gd name="T24" fmla="*/ 25 w 51"/>
                  <a:gd name="T25" fmla="*/ 51 h 51"/>
                  <a:gd name="T26" fmla="*/ 36 w 51"/>
                  <a:gd name="T27" fmla="*/ 50 h 51"/>
                  <a:gd name="T28" fmla="*/ 44 w 51"/>
                  <a:gd name="T29" fmla="*/ 44 h 51"/>
                  <a:gd name="T30" fmla="*/ 49 w 51"/>
                  <a:gd name="T31" fmla="*/ 37 h 51"/>
                  <a:gd name="T32" fmla="*/ 51 w 51"/>
                  <a:gd name="T33" fmla="*/ 26 h 5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1"/>
                  <a:gd name="T52" fmla="*/ 0 h 51"/>
                  <a:gd name="T53" fmla="*/ 51 w 51"/>
                  <a:gd name="T54" fmla="*/ 51 h 5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1" h="51">
                    <a:moveTo>
                      <a:pt x="51" y="26"/>
                    </a:moveTo>
                    <a:lnTo>
                      <a:pt x="49" y="16"/>
                    </a:lnTo>
                    <a:lnTo>
                      <a:pt x="44" y="8"/>
                    </a:lnTo>
                    <a:lnTo>
                      <a:pt x="36" y="3"/>
                    </a:lnTo>
                    <a:lnTo>
                      <a:pt x="25" y="0"/>
                    </a:lnTo>
                    <a:lnTo>
                      <a:pt x="15" y="3"/>
                    </a:lnTo>
                    <a:lnTo>
                      <a:pt x="7" y="8"/>
                    </a:lnTo>
                    <a:lnTo>
                      <a:pt x="2" y="16"/>
                    </a:lnTo>
                    <a:lnTo>
                      <a:pt x="0" y="26"/>
                    </a:lnTo>
                    <a:lnTo>
                      <a:pt x="2" y="37"/>
                    </a:lnTo>
                    <a:lnTo>
                      <a:pt x="7" y="44"/>
                    </a:lnTo>
                    <a:lnTo>
                      <a:pt x="15" y="50"/>
                    </a:lnTo>
                    <a:lnTo>
                      <a:pt x="25" y="51"/>
                    </a:lnTo>
                    <a:lnTo>
                      <a:pt x="36" y="50"/>
                    </a:lnTo>
                    <a:lnTo>
                      <a:pt x="44" y="44"/>
                    </a:lnTo>
                    <a:lnTo>
                      <a:pt x="49" y="37"/>
                    </a:lnTo>
                    <a:lnTo>
                      <a:pt x="51" y="2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09" name="Freeform 161"/>
              <p:cNvSpPr>
                <a:spLocks/>
              </p:cNvSpPr>
              <p:nvPr/>
            </p:nvSpPr>
            <p:spPr bwMode="auto">
              <a:xfrm>
                <a:off x="4253" y="2972"/>
                <a:ext cx="50" cy="49"/>
              </a:xfrm>
              <a:custGeom>
                <a:avLst/>
                <a:gdLst>
                  <a:gd name="T0" fmla="*/ 50 w 50"/>
                  <a:gd name="T1" fmla="*/ 24 h 49"/>
                  <a:gd name="T2" fmla="*/ 48 w 50"/>
                  <a:gd name="T3" fmla="*/ 15 h 49"/>
                  <a:gd name="T4" fmla="*/ 42 w 50"/>
                  <a:gd name="T5" fmla="*/ 7 h 49"/>
                  <a:gd name="T6" fmla="*/ 35 w 50"/>
                  <a:gd name="T7" fmla="*/ 1 h 49"/>
                  <a:gd name="T8" fmla="*/ 24 w 50"/>
                  <a:gd name="T9" fmla="*/ 0 h 49"/>
                  <a:gd name="T10" fmla="*/ 15 w 50"/>
                  <a:gd name="T11" fmla="*/ 1 h 49"/>
                  <a:gd name="T12" fmla="*/ 7 w 50"/>
                  <a:gd name="T13" fmla="*/ 7 h 49"/>
                  <a:gd name="T14" fmla="*/ 2 w 50"/>
                  <a:gd name="T15" fmla="*/ 15 h 49"/>
                  <a:gd name="T16" fmla="*/ 0 w 50"/>
                  <a:gd name="T17" fmla="*/ 24 h 49"/>
                  <a:gd name="T18" fmla="*/ 2 w 50"/>
                  <a:gd name="T19" fmla="*/ 34 h 49"/>
                  <a:gd name="T20" fmla="*/ 7 w 50"/>
                  <a:gd name="T21" fmla="*/ 42 h 49"/>
                  <a:gd name="T22" fmla="*/ 15 w 50"/>
                  <a:gd name="T23" fmla="*/ 48 h 49"/>
                  <a:gd name="T24" fmla="*/ 24 w 50"/>
                  <a:gd name="T25" fmla="*/ 49 h 49"/>
                  <a:gd name="T26" fmla="*/ 35 w 50"/>
                  <a:gd name="T27" fmla="*/ 48 h 49"/>
                  <a:gd name="T28" fmla="*/ 42 w 50"/>
                  <a:gd name="T29" fmla="*/ 42 h 49"/>
                  <a:gd name="T30" fmla="*/ 48 w 50"/>
                  <a:gd name="T31" fmla="*/ 34 h 49"/>
                  <a:gd name="T32" fmla="*/ 50 w 50"/>
                  <a:gd name="T33" fmla="*/ 24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0"/>
                  <a:gd name="T52" fmla="*/ 0 h 49"/>
                  <a:gd name="T53" fmla="*/ 50 w 50"/>
                  <a:gd name="T54" fmla="*/ 49 h 4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0" h="49">
                    <a:moveTo>
                      <a:pt x="50" y="24"/>
                    </a:moveTo>
                    <a:lnTo>
                      <a:pt x="48" y="15"/>
                    </a:lnTo>
                    <a:lnTo>
                      <a:pt x="42" y="7"/>
                    </a:lnTo>
                    <a:lnTo>
                      <a:pt x="35" y="1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7" y="42"/>
                    </a:lnTo>
                    <a:lnTo>
                      <a:pt x="15" y="48"/>
                    </a:lnTo>
                    <a:lnTo>
                      <a:pt x="24" y="49"/>
                    </a:lnTo>
                    <a:lnTo>
                      <a:pt x="35" y="48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4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0" name="Freeform 162"/>
              <p:cNvSpPr>
                <a:spLocks/>
              </p:cNvSpPr>
              <p:nvPr/>
            </p:nvSpPr>
            <p:spPr bwMode="auto">
              <a:xfrm>
                <a:off x="4253" y="2972"/>
                <a:ext cx="50" cy="49"/>
              </a:xfrm>
              <a:custGeom>
                <a:avLst/>
                <a:gdLst>
                  <a:gd name="T0" fmla="*/ 50 w 50"/>
                  <a:gd name="T1" fmla="*/ 24 h 49"/>
                  <a:gd name="T2" fmla="*/ 48 w 50"/>
                  <a:gd name="T3" fmla="*/ 15 h 49"/>
                  <a:gd name="T4" fmla="*/ 42 w 50"/>
                  <a:gd name="T5" fmla="*/ 7 h 49"/>
                  <a:gd name="T6" fmla="*/ 35 w 50"/>
                  <a:gd name="T7" fmla="*/ 1 h 49"/>
                  <a:gd name="T8" fmla="*/ 24 w 50"/>
                  <a:gd name="T9" fmla="*/ 0 h 49"/>
                  <a:gd name="T10" fmla="*/ 15 w 50"/>
                  <a:gd name="T11" fmla="*/ 1 h 49"/>
                  <a:gd name="T12" fmla="*/ 7 w 50"/>
                  <a:gd name="T13" fmla="*/ 7 h 49"/>
                  <a:gd name="T14" fmla="*/ 2 w 50"/>
                  <a:gd name="T15" fmla="*/ 15 h 49"/>
                  <a:gd name="T16" fmla="*/ 0 w 50"/>
                  <a:gd name="T17" fmla="*/ 24 h 49"/>
                  <a:gd name="T18" fmla="*/ 2 w 50"/>
                  <a:gd name="T19" fmla="*/ 34 h 49"/>
                  <a:gd name="T20" fmla="*/ 7 w 50"/>
                  <a:gd name="T21" fmla="*/ 42 h 49"/>
                  <a:gd name="T22" fmla="*/ 15 w 50"/>
                  <a:gd name="T23" fmla="*/ 48 h 49"/>
                  <a:gd name="T24" fmla="*/ 24 w 50"/>
                  <a:gd name="T25" fmla="*/ 49 h 49"/>
                  <a:gd name="T26" fmla="*/ 35 w 50"/>
                  <a:gd name="T27" fmla="*/ 48 h 49"/>
                  <a:gd name="T28" fmla="*/ 42 w 50"/>
                  <a:gd name="T29" fmla="*/ 42 h 49"/>
                  <a:gd name="T30" fmla="*/ 48 w 50"/>
                  <a:gd name="T31" fmla="*/ 34 h 49"/>
                  <a:gd name="T32" fmla="*/ 50 w 50"/>
                  <a:gd name="T33" fmla="*/ 24 h 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0"/>
                  <a:gd name="T52" fmla="*/ 0 h 49"/>
                  <a:gd name="T53" fmla="*/ 50 w 50"/>
                  <a:gd name="T54" fmla="*/ 49 h 4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0" h="49">
                    <a:moveTo>
                      <a:pt x="50" y="24"/>
                    </a:moveTo>
                    <a:lnTo>
                      <a:pt x="48" y="15"/>
                    </a:lnTo>
                    <a:lnTo>
                      <a:pt x="42" y="7"/>
                    </a:lnTo>
                    <a:lnTo>
                      <a:pt x="35" y="1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4"/>
                    </a:lnTo>
                    <a:lnTo>
                      <a:pt x="7" y="42"/>
                    </a:lnTo>
                    <a:lnTo>
                      <a:pt x="15" y="48"/>
                    </a:lnTo>
                    <a:lnTo>
                      <a:pt x="24" y="49"/>
                    </a:lnTo>
                    <a:lnTo>
                      <a:pt x="35" y="48"/>
                    </a:lnTo>
                    <a:lnTo>
                      <a:pt x="42" y="42"/>
                    </a:lnTo>
                    <a:lnTo>
                      <a:pt x="48" y="34"/>
                    </a:lnTo>
                    <a:lnTo>
                      <a:pt x="50" y="24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1" name="Freeform 163"/>
              <p:cNvSpPr>
                <a:spLocks/>
              </p:cNvSpPr>
              <p:nvPr/>
            </p:nvSpPr>
            <p:spPr bwMode="auto">
              <a:xfrm>
                <a:off x="4889" y="1255"/>
                <a:ext cx="48" cy="50"/>
              </a:xfrm>
              <a:custGeom>
                <a:avLst/>
                <a:gdLst>
                  <a:gd name="T0" fmla="*/ 48 w 48"/>
                  <a:gd name="T1" fmla="*/ 25 h 50"/>
                  <a:gd name="T2" fmla="*/ 47 w 48"/>
                  <a:gd name="T3" fmla="*/ 15 h 50"/>
                  <a:gd name="T4" fmla="*/ 41 w 48"/>
                  <a:gd name="T5" fmla="*/ 7 h 50"/>
                  <a:gd name="T6" fmla="*/ 33 w 48"/>
                  <a:gd name="T7" fmla="*/ 2 h 50"/>
                  <a:gd name="T8" fmla="*/ 24 w 48"/>
                  <a:gd name="T9" fmla="*/ 0 h 50"/>
                  <a:gd name="T10" fmla="*/ 15 w 48"/>
                  <a:gd name="T11" fmla="*/ 2 h 50"/>
                  <a:gd name="T12" fmla="*/ 7 w 48"/>
                  <a:gd name="T13" fmla="*/ 7 h 50"/>
                  <a:gd name="T14" fmla="*/ 1 w 48"/>
                  <a:gd name="T15" fmla="*/ 15 h 50"/>
                  <a:gd name="T16" fmla="*/ 0 w 48"/>
                  <a:gd name="T17" fmla="*/ 25 h 50"/>
                  <a:gd name="T18" fmla="*/ 1 w 48"/>
                  <a:gd name="T19" fmla="*/ 35 h 50"/>
                  <a:gd name="T20" fmla="*/ 7 w 48"/>
                  <a:gd name="T21" fmla="*/ 43 h 50"/>
                  <a:gd name="T22" fmla="*/ 15 w 48"/>
                  <a:gd name="T23" fmla="*/ 48 h 50"/>
                  <a:gd name="T24" fmla="*/ 24 w 48"/>
                  <a:gd name="T25" fmla="*/ 50 h 50"/>
                  <a:gd name="T26" fmla="*/ 33 w 48"/>
                  <a:gd name="T27" fmla="*/ 48 h 50"/>
                  <a:gd name="T28" fmla="*/ 41 w 48"/>
                  <a:gd name="T29" fmla="*/ 43 h 50"/>
                  <a:gd name="T30" fmla="*/ 47 w 48"/>
                  <a:gd name="T31" fmla="*/ 35 h 50"/>
                  <a:gd name="T32" fmla="*/ 48 w 48"/>
                  <a:gd name="T33" fmla="*/ 25 h 5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8"/>
                  <a:gd name="T52" fmla="*/ 0 h 50"/>
                  <a:gd name="T53" fmla="*/ 48 w 48"/>
                  <a:gd name="T54" fmla="*/ 50 h 5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8" h="50">
                    <a:moveTo>
                      <a:pt x="48" y="25"/>
                    </a:moveTo>
                    <a:lnTo>
                      <a:pt x="47" y="15"/>
                    </a:lnTo>
                    <a:lnTo>
                      <a:pt x="41" y="7"/>
                    </a:lnTo>
                    <a:lnTo>
                      <a:pt x="33" y="2"/>
                    </a:lnTo>
                    <a:lnTo>
                      <a:pt x="24" y="0"/>
                    </a:lnTo>
                    <a:lnTo>
                      <a:pt x="15" y="2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8"/>
                    </a:lnTo>
                    <a:lnTo>
                      <a:pt x="24" y="50"/>
                    </a:lnTo>
                    <a:lnTo>
                      <a:pt x="33" y="48"/>
                    </a:lnTo>
                    <a:lnTo>
                      <a:pt x="41" y="43"/>
                    </a:lnTo>
                    <a:lnTo>
                      <a:pt x="47" y="35"/>
                    </a:lnTo>
                    <a:lnTo>
                      <a:pt x="48" y="2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2" name="Freeform 164"/>
              <p:cNvSpPr>
                <a:spLocks/>
              </p:cNvSpPr>
              <p:nvPr/>
            </p:nvSpPr>
            <p:spPr bwMode="auto">
              <a:xfrm>
                <a:off x="4889" y="1255"/>
                <a:ext cx="48" cy="50"/>
              </a:xfrm>
              <a:custGeom>
                <a:avLst/>
                <a:gdLst>
                  <a:gd name="T0" fmla="*/ 48 w 48"/>
                  <a:gd name="T1" fmla="*/ 25 h 50"/>
                  <a:gd name="T2" fmla="*/ 47 w 48"/>
                  <a:gd name="T3" fmla="*/ 15 h 50"/>
                  <a:gd name="T4" fmla="*/ 41 w 48"/>
                  <a:gd name="T5" fmla="*/ 7 h 50"/>
                  <a:gd name="T6" fmla="*/ 33 w 48"/>
                  <a:gd name="T7" fmla="*/ 2 h 50"/>
                  <a:gd name="T8" fmla="*/ 24 w 48"/>
                  <a:gd name="T9" fmla="*/ 0 h 50"/>
                  <a:gd name="T10" fmla="*/ 15 w 48"/>
                  <a:gd name="T11" fmla="*/ 2 h 50"/>
                  <a:gd name="T12" fmla="*/ 7 w 48"/>
                  <a:gd name="T13" fmla="*/ 7 h 50"/>
                  <a:gd name="T14" fmla="*/ 1 w 48"/>
                  <a:gd name="T15" fmla="*/ 15 h 50"/>
                  <a:gd name="T16" fmla="*/ 0 w 48"/>
                  <a:gd name="T17" fmla="*/ 25 h 50"/>
                  <a:gd name="T18" fmla="*/ 1 w 48"/>
                  <a:gd name="T19" fmla="*/ 35 h 50"/>
                  <a:gd name="T20" fmla="*/ 7 w 48"/>
                  <a:gd name="T21" fmla="*/ 43 h 50"/>
                  <a:gd name="T22" fmla="*/ 15 w 48"/>
                  <a:gd name="T23" fmla="*/ 48 h 50"/>
                  <a:gd name="T24" fmla="*/ 24 w 48"/>
                  <a:gd name="T25" fmla="*/ 50 h 50"/>
                  <a:gd name="T26" fmla="*/ 33 w 48"/>
                  <a:gd name="T27" fmla="*/ 48 h 50"/>
                  <a:gd name="T28" fmla="*/ 41 w 48"/>
                  <a:gd name="T29" fmla="*/ 43 h 50"/>
                  <a:gd name="T30" fmla="*/ 47 w 48"/>
                  <a:gd name="T31" fmla="*/ 35 h 50"/>
                  <a:gd name="T32" fmla="*/ 48 w 48"/>
                  <a:gd name="T33" fmla="*/ 25 h 5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8"/>
                  <a:gd name="T52" fmla="*/ 0 h 50"/>
                  <a:gd name="T53" fmla="*/ 48 w 48"/>
                  <a:gd name="T54" fmla="*/ 50 h 5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8" h="50">
                    <a:moveTo>
                      <a:pt x="48" y="25"/>
                    </a:moveTo>
                    <a:lnTo>
                      <a:pt x="47" y="15"/>
                    </a:lnTo>
                    <a:lnTo>
                      <a:pt x="41" y="7"/>
                    </a:lnTo>
                    <a:lnTo>
                      <a:pt x="33" y="2"/>
                    </a:lnTo>
                    <a:lnTo>
                      <a:pt x="24" y="0"/>
                    </a:lnTo>
                    <a:lnTo>
                      <a:pt x="15" y="2"/>
                    </a:lnTo>
                    <a:lnTo>
                      <a:pt x="7" y="7"/>
                    </a:lnTo>
                    <a:lnTo>
                      <a:pt x="1" y="15"/>
                    </a:lnTo>
                    <a:lnTo>
                      <a:pt x="0" y="25"/>
                    </a:lnTo>
                    <a:lnTo>
                      <a:pt x="1" y="35"/>
                    </a:lnTo>
                    <a:lnTo>
                      <a:pt x="7" y="43"/>
                    </a:lnTo>
                    <a:lnTo>
                      <a:pt x="15" y="48"/>
                    </a:lnTo>
                    <a:lnTo>
                      <a:pt x="24" y="50"/>
                    </a:lnTo>
                    <a:lnTo>
                      <a:pt x="33" y="48"/>
                    </a:lnTo>
                    <a:lnTo>
                      <a:pt x="41" y="43"/>
                    </a:lnTo>
                    <a:lnTo>
                      <a:pt x="47" y="35"/>
                    </a:lnTo>
                    <a:lnTo>
                      <a:pt x="48" y="2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3" name="Freeform 165"/>
              <p:cNvSpPr>
                <a:spLocks/>
              </p:cNvSpPr>
              <p:nvPr/>
            </p:nvSpPr>
            <p:spPr bwMode="auto">
              <a:xfrm>
                <a:off x="4308" y="3002"/>
                <a:ext cx="49" cy="48"/>
              </a:xfrm>
              <a:custGeom>
                <a:avLst/>
                <a:gdLst>
                  <a:gd name="T0" fmla="*/ 49 w 49"/>
                  <a:gd name="T1" fmla="*/ 23 h 48"/>
                  <a:gd name="T2" fmla="*/ 47 w 49"/>
                  <a:gd name="T3" fmla="*/ 14 h 48"/>
                  <a:gd name="T4" fmla="*/ 42 w 49"/>
                  <a:gd name="T5" fmla="*/ 7 h 48"/>
                  <a:gd name="T6" fmla="*/ 34 w 49"/>
                  <a:gd name="T7" fmla="*/ 1 h 48"/>
                  <a:gd name="T8" fmla="*/ 24 w 49"/>
                  <a:gd name="T9" fmla="*/ 0 h 48"/>
                  <a:gd name="T10" fmla="*/ 15 w 49"/>
                  <a:gd name="T11" fmla="*/ 1 h 48"/>
                  <a:gd name="T12" fmla="*/ 7 w 49"/>
                  <a:gd name="T13" fmla="*/ 7 h 48"/>
                  <a:gd name="T14" fmla="*/ 2 w 49"/>
                  <a:gd name="T15" fmla="*/ 14 h 48"/>
                  <a:gd name="T16" fmla="*/ 0 w 49"/>
                  <a:gd name="T17" fmla="*/ 23 h 48"/>
                  <a:gd name="T18" fmla="*/ 2 w 49"/>
                  <a:gd name="T19" fmla="*/ 33 h 48"/>
                  <a:gd name="T20" fmla="*/ 7 w 49"/>
                  <a:gd name="T21" fmla="*/ 41 h 48"/>
                  <a:gd name="T22" fmla="*/ 15 w 49"/>
                  <a:gd name="T23" fmla="*/ 46 h 48"/>
                  <a:gd name="T24" fmla="*/ 24 w 49"/>
                  <a:gd name="T25" fmla="*/ 48 h 48"/>
                  <a:gd name="T26" fmla="*/ 34 w 49"/>
                  <a:gd name="T27" fmla="*/ 46 h 48"/>
                  <a:gd name="T28" fmla="*/ 42 w 49"/>
                  <a:gd name="T29" fmla="*/ 41 h 48"/>
                  <a:gd name="T30" fmla="*/ 47 w 49"/>
                  <a:gd name="T31" fmla="*/ 33 h 48"/>
                  <a:gd name="T32" fmla="*/ 49 w 49"/>
                  <a:gd name="T33" fmla="*/ 23 h 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9"/>
                  <a:gd name="T52" fmla="*/ 0 h 48"/>
                  <a:gd name="T53" fmla="*/ 49 w 49"/>
                  <a:gd name="T54" fmla="*/ 48 h 4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9" h="48">
                    <a:moveTo>
                      <a:pt x="49" y="23"/>
                    </a:moveTo>
                    <a:lnTo>
                      <a:pt x="47" y="14"/>
                    </a:lnTo>
                    <a:lnTo>
                      <a:pt x="42" y="7"/>
                    </a:lnTo>
                    <a:lnTo>
                      <a:pt x="34" y="1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2" y="14"/>
                    </a:lnTo>
                    <a:lnTo>
                      <a:pt x="0" y="23"/>
                    </a:lnTo>
                    <a:lnTo>
                      <a:pt x="2" y="33"/>
                    </a:lnTo>
                    <a:lnTo>
                      <a:pt x="7" y="41"/>
                    </a:lnTo>
                    <a:lnTo>
                      <a:pt x="15" y="46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1"/>
                    </a:lnTo>
                    <a:lnTo>
                      <a:pt x="47" y="33"/>
                    </a:lnTo>
                    <a:lnTo>
                      <a:pt x="49" y="2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4" name="Freeform 166"/>
              <p:cNvSpPr>
                <a:spLocks/>
              </p:cNvSpPr>
              <p:nvPr/>
            </p:nvSpPr>
            <p:spPr bwMode="auto">
              <a:xfrm>
                <a:off x="4308" y="3002"/>
                <a:ext cx="49" cy="48"/>
              </a:xfrm>
              <a:custGeom>
                <a:avLst/>
                <a:gdLst>
                  <a:gd name="T0" fmla="*/ 49 w 49"/>
                  <a:gd name="T1" fmla="*/ 23 h 48"/>
                  <a:gd name="T2" fmla="*/ 47 w 49"/>
                  <a:gd name="T3" fmla="*/ 14 h 48"/>
                  <a:gd name="T4" fmla="*/ 42 w 49"/>
                  <a:gd name="T5" fmla="*/ 7 h 48"/>
                  <a:gd name="T6" fmla="*/ 34 w 49"/>
                  <a:gd name="T7" fmla="*/ 1 h 48"/>
                  <a:gd name="T8" fmla="*/ 24 w 49"/>
                  <a:gd name="T9" fmla="*/ 0 h 48"/>
                  <a:gd name="T10" fmla="*/ 15 w 49"/>
                  <a:gd name="T11" fmla="*/ 1 h 48"/>
                  <a:gd name="T12" fmla="*/ 7 w 49"/>
                  <a:gd name="T13" fmla="*/ 7 h 48"/>
                  <a:gd name="T14" fmla="*/ 2 w 49"/>
                  <a:gd name="T15" fmla="*/ 14 h 48"/>
                  <a:gd name="T16" fmla="*/ 0 w 49"/>
                  <a:gd name="T17" fmla="*/ 23 h 48"/>
                  <a:gd name="T18" fmla="*/ 2 w 49"/>
                  <a:gd name="T19" fmla="*/ 33 h 48"/>
                  <a:gd name="T20" fmla="*/ 7 w 49"/>
                  <a:gd name="T21" fmla="*/ 41 h 48"/>
                  <a:gd name="T22" fmla="*/ 15 w 49"/>
                  <a:gd name="T23" fmla="*/ 46 h 48"/>
                  <a:gd name="T24" fmla="*/ 24 w 49"/>
                  <a:gd name="T25" fmla="*/ 48 h 48"/>
                  <a:gd name="T26" fmla="*/ 34 w 49"/>
                  <a:gd name="T27" fmla="*/ 46 h 48"/>
                  <a:gd name="T28" fmla="*/ 42 w 49"/>
                  <a:gd name="T29" fmla="*/ 41 h 48"/>
                  <a:gd name="T30" fmla="*/ 47 w 49"/>
                  <a:gd name="T31" fmla="*/ 33 h 48"/>
                  <a:gd name="T32" fmla="*/ 49 w 49"/>
                  <a:gd name="T33" fmla="*/ 23 h 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9"/>
                  <a:gd name="T52" fmla="*/ 0 h 48"/>
                  <a:gd name="T53" fmla="*/ 49 w 49"/>
                  <a:gd name="T54" fmla="*/ 48 h 4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9" h="48">
                    <a:moveTo>
                      <a:pt x="49" y="23"/>
                    </a:moveTo>
                    <a:lnTo>
                      <a:pt x="47" y="14"/>
                    </a:lnTo>
                    <a:lnTo>
                      <a:pt x="42" y="7"/>
                    </a:lnTo>
                    <a:lnTo>
                      <a:pt x="34" y="1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7" y="7"/>
                    </a:lnTo>
                    <a:lnTo>
                      <a:pt x="2" y="14"/>
                    </a:lnTo>
                    <a:lnTo>
                      <a:pt x="0" y="23"/>
                    </a:lnTo>
                    <a:lnTo>
                      <a:pt x="2" y="33"/>
                    </a:lnTo>
                    <a:lnTo>
                      <a:pt x="7" y="41"/>
                    </a:lnTo>
                    <a:lnTo>
                      <a:pt x="15" y="46"/>
                    </a:lnTo>
                    <a:lnTo>
                      <a:pt x="24" y="48"/>
                    </a:lnTo>
                    <a:lnTo>
                      <a:pt x="34" y="46"/>
                    </a:lnTo>
                    <a:lnTo>
                      <a:pt x="42" y="41"/>
                    </a:lnTo>
                    <a:lnTo>
                      <a:pt x="47" y="33"/>
                    </a:lnTo>
                    <a:lnTo>
                      <a:pt x="49" y="2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5" name="Freeform 167"/>
              <p:cNvSpPr>
                <a:spLocks/>
              </p:cNvSpPr>
              <p:nvPr/>
            </p:nvSpPr>
            <p:spPr bwMode="auto">
              <a:xfrm>
                <a:off x="4332" y="1257"/>
                <a:ext cx="48" cy="48"/>
              </a:xfrm>
              <a:custGeom>
                <a:avLst/>
                <a:gdLst>
                  <a:gd name="T0" fmla="*/ 48 w 48"/>
                  <a:gd name="T1" fmla="*/ 24 h 48"/>
                  <a:gd name="T2" fmla="*/ 47 w 48"/>
                  <a:gd name="T3" fmla="*/ 15 h 48"/>
                  <a:gd name="T4" fmla="*/ 41 w 48"/>
                  <a:gd name="T5" fmla="*/ 8 h 48"/>
                  <a:gd name="T6" fmla="*/ 33 w 48"/>
                  <a:gd name="T7" fmla="*/ 2 h 48"/>
                  <a:gd name="T8" fmla="*/ 25 w 48"/>
                  <a:gd name="T9" fmla="*/ 0 h 48"/>
                  <a:gd name="T10" fmla="*/ 15 w 48"/>
                  <a:gd name="T11" fmla="*/ 2 h 48"/>
                  <a:gd name="T12" fmla="*/ 7 w 48"/>
                  <a:gd name="T13" fmla="*/ 8 h 48"/>
                  <a:gd name="T14" fmla="*/ 2 w 48"/>
                  <a:gd name="T15" fmla="*/ 15 h 48"/>
                  <a:gd name="T16" fmla="*/ 0 w 48"/>
                  <a:gd name="T17" fmla="*/ 24 h 48"/>
                  <a:gd name="T18" fmla="*/ 2 w 48"/>
                  <a:gd name="T19" fmla="*/ 33 h 48"/>
                  <a:gd name="T20" fmla="*/ 7 w 48"/>
                  <a:gd name="T21" fmla="*/ 41 h 48"/>
                  <a:gd name="T22" fmla="*/ 15 w 48"/>
                  <a:gd name="T23" fmla="*/ 46 h 48"/>
                  <a:gd name="T24" fmla="*/ 25 w 48"/>
                  <a:gd name="T25" fmla="*/ 48 h 48"/>
                  <a:gd name="T26" fmla="*/ 33 w 48"/>
                  <a:gd name="T27" fmla="*/ 46 h 48"/>
                  <a:gd name="T28" fmla="*/ 41 w 48"/>
                  <a:gd name="T29" fmla="*/ 41 h 48"/>
                  <a:gd name="T30" fmla="*/ 47 w 48"/>
                  <a:gd name="T31" fmla="*/ 33 h 48"/>
                  <a:gd name="T32" fmla="*/ 48 w 48"/>
                  <a:gd name="T33" fmla="*/ 24 h 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8"/>
                  <a:gd name="T52" fmla="*/ 0 h 48"/>
                  <a:gd name="T53" fmla="*/ 48 w 48"/>
                  <a:gd name="T54" fmla="*/ 48 h 4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8" h="48">
                    <a:moveTo>
                      <a:pt x="48" y="24"/>
                    </a:moveTo>
                    <a:lnTo>
                      <a:pt x="47" y="15"/>
                    </a:lnTo>
                    <a:lnTo>
                      <a:pt x="41" y="8"/>
                    </a:lnTo>
                    <a:lnTo>
                      <a:pt x="33" y="2"/>
                    </a:lnTo>
                    <a:lnTo>
                      <a:pt x="25" y="0"/>
                    </a:lnTo>
                    <a:lnTo>
                      <a:pt x="15" y="2"/>
                    </a:lnTo>
                    <a:lnTo>
                      <a:pt x="7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7" y="41"/>
                    </a:lnTo>
                    <a:lnTo>
                      <a:pt x="15" y="46"/>
                    </a:lnTo>
                    <a:lnTo>
                      <a:pt x="25" y="48"/>
                    </a:lnTo>
                    <a:lnTo>
                      <a:pt x="33" y="46"/>
                    </a:lnTo>
                    <a:lnTo>
                      <a:pt x="41" y="41"/>
                    </a:lnTo>
                    <a:lnTo>
                      <a:pt x="47" y="33"/>
                    </a:lnTo>
                    <a:lnTo>
                      <a:pt x="48" y="24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6" name="Freeform 168"/>
              <p:cNvSpPr>
                <a:spLocks/>
              </p:cNvSpPr>
              <p:nvPr/>
            </p:nvSpPr>
            <p:spPr bwMode="auto">
              <a:xfrm>
                <a:off x="4332" y="1257"/>
                <a:ext cx="48" cy="48"/>
              </a:xfrm>
              <a:custGeom>
                <a:avLst/>
                <a:gdLst>
                  <a:gd name="T0" fmla="*/ 48 w 48"/>
                  <a:gd name="T1" fmla="*/ 24 h 48"/>
                  <a:gd name="T2" fmla="*/ 47 w 48"/>
                  <a:gd name="T3" fmla="*/ 15 h 48"/>
                  <a:gd name="T4" fmla="*/ 41 w 48"/>
                  <a:gd name="T5" fmla="*/ 8 h 48"/>
                  <a:gd name="T6" fmla="*/ 33 w 48"/>
                  <a:gd name="T7" fmla="*/ 2 h 48"/>
                  <a:gd name="T8" fmla="*/ 25 w 48"/>
                  <a:gd name="T9" fmla="*/ 0 h 48"/>
                  <a:gd name="T10" fmla="*/ 15 w 48"/>
                  <a:gd name="T11" fmla="*/ 2 h 48"/>
                  <a:gd name="T12" fmla="*/ 7 w 48"/>
                  <a:gd name="T13" fmla="*/ 8 h 48"/>
                  <a:gd name="T14" fmla="*/ 2 w 48"/>
                  <a:gd name="T15" fmla="*/ 15 h 48"/>
                  <a:gd name="T16" fmla="*/ 0 w 48"/>
                  <a:gd name="T17" fmla="*/ 24 h 48"/>
                  <a:gd name="T18" fmla="*/ 2 w 48"/>
                  <a:gd name="T19" fmla="*/ 33 h 48"/>
                  <a:gd name="T20" fmla="*/ 7 w 48"/>
                  <a:gd name="T21" fmla="*/ 41 h 48"/>
                  <a:gd name="T22" fmla="*/ 15 w 48"/>
                  <a:gd name="T23" fmla="*/ 46 h 48"/>
                  <a:gd name="T24" fmla="*/ 25 w 48"/>
                  <a:gd name="T25" fmla="*/ 48 h 48"/>
                  <a:gd name="T26" fmla="*/ 33 w 48"/>
                  <a:gd name="T27" fmla="*/ 46 h 48"/>
                  <a:gd name="T28" fmla="*/ 41 w 48"/>
                  <a:gd name="T29" fmla="*/ 41 h 48"/>
                  <a:gd name="T30" fmla="*/ 47 w 48"/>
                  <a:gd name="T31" fmla="*/ 33 h 48"/>
                  <a:gd name="T32" fmla="*/ 48 w 48"/>
                  <a:gd name="T33" fmla="*/ 24 h 4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8"/>
                  <a:gd name="T52" fmla="*/ 0 h 48"/>
                  <a:gd name="T53" fmla="*/ 48 w 48"/>
                  <a:gd name="T54" fmla="*/ 48 h 4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8" h="48">
                    <a:moveTo>
                      <a:pt x="48" y="24"/>
                    </a:moveTo>
                    <a:lnTo>
                      <a:pt x="47" y="15"/>
                    </a:lnTo>
                    <a:lnTo>
                      <a:pt x="41" y="8"/>
                    </a:lnTo>
                    <a:lnTo>
                      <a:pt x="33" y="2"/>
                    </a:lnTo>
                    <a:lnTo>
                      <a:pt x="25" y="0"/>
                    </a:lnTo>
                    <a:lnTo>
                      <a:pt x="15" y="2"/>
                    </a:lnTo>
                    <a:lnTo>
                      <a:pt x="7" y="8"/>
                    </a:lnTo>
                    <a:lnTo>
                      <a:pt x="2" y="15"/>
                    </a:lnTo>
                    <a:lnTo>
                      <a:pt x="0" y="24"/>
                    </a:lnTo>
                    <a:lnTo>
                      <a:pt x="2" y="33"/>
                    </a:lnTo>
                    <a:lnTo>
                      <a:pt x="7" y="41"/>
                    </a:lnTo>
                    <a:lnTo>
                      <a:pt x="15" y="46"/>
                    </a:lnTo>
                    <a:lnTo>
                      <a:pt x="25" y="48"/>
                    </a:lnTo>
                    <a:lnTo>
                      <a:pt x="33" y="46"/>
                    </a:lnTo>
                    <a:lnTo>
                      <a:pt x="41" y="41"/>
                    </a:lnTo>
                    <a:lnTo>
                      <a:pt x="47" y="33"/>
                    </a:lnTo>
                    <a:lnTo>
                      <a:pt x="48" y="24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7" name="Freeform 169"/>
              <p:cNvSpPr>
                <a:spLocks/>
              </p:cNvSpPr>
              <p:nvPr/>
            </p:nvSpPr>
            <p:spPr bwMode="auto">
              <a:xfrm>
                <a:off x="4182" y="2964"/>
                <a:ext cx="45" cy="45"/>
              </a:xfrm>
              <a:custGeom>
                <a:avLst/>
                <a:gdLst>
                  <a:gd name="T0" fmla="*/ 45 w 45"/>
                  <a:gd name="T1" fmla="*/ 22 h 45"/>
                  <a:gd name="T2" fmla="*/ 44 w 45"/>
                  <a:gd name="T3" fmla="*/ 13 h 45"/>
                  <a:gd name="T4" fmla="*/ 39 w 45"/>
                  <a:gd name="T5" fmla="*/ 6 h 45"/>
                  <a:gd name="T6" fmla="*/ 32 w 45"/>
                  <a:gd name="T7" fmla="*/ 2 h 45"/>
                  <a:gd name="T8" fmla="*/ 23 w 45"/>
                  <a:gd name="T9" fmla="*/ 0 h 45"/>
                  <a:gd name="T10" fmla="*/ 14 w 45"/>
                  <a:gd name="T11" fmla="*/ 2 h 45"/>
                  <a:gd name="T12" fmla="*/ 7 w 45"/>
                  <a:gd name="T13" fmla="*/ 6 h 45"/>
                  <a:gd name="T14" fmla="*/ 2 w 45"/>
                  <a:gd name="T15" fmla="*/ 13 h 45"/>
                  <a:gd name="T16" fmla="*/ 0 w 45"/>
                  <a:gd name="T17" fmla="*/ 22 h 45"/>
                  <a:gd name="T18" fmla="*/ 2 w 45"/>
                  <a:gd name="T19" fmla="*/ 31 h 45"/>
                  <a:gd name="T20" fmla="*/ 7 w 45"/>
                  <a:gd name="T21" fmla="*/ 39 h 45"/>
                  <a:gd name="T22" fmla="*/ 14 w 45"/>
                  <a:gd name="T23" fmla="*/ 43 h 45"/>
                  <a:gd name="T24" fmla="*/ 23 w 45"/>
                  <a:gd name="T25" fmla="*/ 45 h 45"/>
                  <a:gd name="T26" fmla="*/ 32 w 45"/>
                  <a:gd name="T27" fmla="*/ 43 h 45"/>
                  <a:gd name="T28" fmla="*/ 39 w 45"/>
                  <a:gd name="T29" fmla="*/ 39 h 45"/>
                  <a:gd name="T30" fmla="*/ 44 w 45"/>
                  <a:gd name="T31" fmla="*/ 31 h 45"/>
                  <a:gd name="T32" fmla="*/ 45 w 45"/>
                  <a:gd name="T33" fmla="*/ 22 h 4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45"/>
                  <a:gd name="T53" fmla="*/ 45 w 45"/>
                  <a:gd name="T54" fmla="*/ 45 h 4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45">
                    <a:moveTo>
                      <a:pt x="45" y="22"/>
                    </a:moveTo>
                    <a:lnTo>
                      <a:pt x="44" y="13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3" y="0"/>
                    </a:lnTo>
                    <a:lnTo>
                      <a:pt x="14" y="2"/>
                    </a:lnTo>
                    <a:lnTo>
                      <a:pt x="7" y="6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2" y="31"/>
                    </a:lnTo>
                    <a:lnTo>
                      <a:pt x="7" y="39"/>
                    </a:lnTo>
                    <a:lnTo>
                      <a:pt x="14" y="43"/>
                    </a:lnTo>
                    <a:lnTo>
                      <a:pt x="23" y="45"/>
                    </a:lnTo>
                    <a:lnTo>
                      <a:pt x="32" y="43"/>
                    </a:lnTo>
                    <a:lnTo>
                      <a:pt x="39" y="39"/>
                    </a:lnTo>
                    <a:lnTo>
                      <a:pt x="44" y="31"/>
                    </a:lnTo>
                    <a:lnTo>
                      <a:pt x="45" y="22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8" name="Freeform 170"/>
              <p:cNvSpPr>
                <a:spLocks/>
              </p:cNvSpPr>
              <p:nvPr/>
            </p:nvSpPr>
            <p:spPr bwMode="auto">
              <a:xfrm>
                <a:off x="4182" y="2964"/>
                <a:ext cx="45" cy="45"/>
              </a:xfrm>
              <a:custGeom>
                <a:avLst/>
                <a:gdLst>
                  <a:gd name="T0" fmla="*/ 45 w 45"/>
                  <a:gd name="T1" fmla="*/ 22 h 45"/>
                  <a:gd name="T2" fmla="*/ 44 w 45"/>
                  <a:gd name="T3" fmla="*/ 13 h 45"/>
                  <a:gd name="T4" fmla="*/ 39 w 45"/>
                  <a:gd name="T5" fmla="*/ 6 h 45"/>
                  <a:gd name="T6" fmla="*/ 32 w 45"/>
                  <a:gd name="T7" fmla="*/ 2 h 45"/>
                  <a:gd name="T8" fmla="*/ 23 w 45"/>
                  <a:gd name="T9" fmla="*/ 0 h 45"/>
                  <a:gd name="T10" fmla="*/ 14 w 45"/>
                  <a:gd name="T11" fmla="*/ 2 h 45"/>
                  <a:gd name="T12" fmla="*/ 7 w 45"/>
                  <a:gd name="T13" fmla="*/ 6 h 45"/>
                  <a:gd name="T14" fmla="*/ 2 w 45"/>
                  <a:gd name="T15" fmla="*/ 13 h 45"/>
                  <a:gd name="T16" fmla="*/ 0 w 45"/>
                  <a:gd name="T17" fmla="*/ 22 h 45"/>
                  <a:gd name="T18" fmla="*/ 2 w 45"/>
                  <a:gd name="T19" fmla="*/ 31 h 45"/>
                  <a:gd name="T20" fmla="*/ 7 w 45"/>
                  <a:gd name="T21" fmla="*/ 39 h 45"/>
                  <a:gd name="T22" fmla="*/ 14 w 45"/>
                  <a:gd name="T23" fmla="*/ 43 h 45"/>
                  <a:gd name="T24" fmla="*/ 23 w 45"/>
                  <a:gd name="T25" fmla="*/ 45 h 45"/>
                  <a:gd name="T26" fmla="*/ 32 w 45"/>
                  <a:gd name="T27" fmla="*/ 43 h 45"/>
                  <a:gd name="T28" fmla="*/ 39 w 45"/>
                  <a:gd name="T29" fmla="*/ 39 h 45"/>
                  <a:gd name="T30" fmla="*/ 44 w 45"/>
                  <a:gd name="T31" fmla="*/ 31 h 45"/>
                  <a:gd name="T32" fmla="*/ 45 w 45"/>
                  <a:gd name="T33" fmla="*/ 22 h 4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5"/>
                  <a:gd name="T52" fmla="*/ 0 h 45"/>
                  <a:gd name="T53" fmla="*/ 45 w 45"/>
                  <a:gd name="T54" fmla="*/ 45 h 4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5" h="45">
                    <a:moveTo>
                      <a:pt x="45" y="22"/>
                    </a:moveTo>
                    <a:lnTo>
                      <a:pt x="44" y="13"/>
                    </a:lnTo>
                    <a:lnTo>
                      <a:pt x="39" y="6"/>
                    </a:lnTo>
                    <a:lnTo>
                      <a:pt x="32" y="2"/>
                    </a:lnTo>
                    <a:lnTo>
                      <a:pt x="23" y="0"/>
                    </a:lnTo>
                    <a:lnTo>
                      <a:pt x="14" y="2"/>
                    </a:lnTo>
                    <a:lnTo>
                      <a:pt x="7" y="6"/>
                    </a:lnTo>
                    <a:lnTo>
                      <a:pt x="2" y="13"/>
                    </a:lnTo>
                    <a:lnTo>
                      <a:pt x="0" y="22"/>
                    </a:lnTo>
                    <a:lnTo>
                      <a:pt x="2" y="31"/>
                    </a:lnTo>
                    <a:lnTo>
                      <a:pt x="7" y="39"/>
                    </a:lnTo>
                    <a:lnTo>
                      <a:pt x="14" y="43"/>
                    </a:lnTo>
                    <a:lnTo>
                      <a:pt x="23" y="45"/>
                    </a:lnTo>
                    <a:lnTo>
                      <a:pt x="32" y="43"/>
                    </a:lnTo>
                    <a:lnTo>
                      <a:pt x="39" y="39"/>
                    </a:lnTo>
                    <a:lnTo>
                      <a:pt x="44" y="31"/>
                    </a:lnTo>
                    <a:lnTo>
                      <a:pt x="45" y="22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19" name="Freeform 171"/>
              <p:cNvSpPr>
                <a:spLocks/>
              </p:cNvSpPr>
              <p:nvPr/>
            </p:nvSpPr>
            <p:spPr bwMode="auto">
              <a:xfrm>
                <a:off x="4410" y="2956"/>
                <a:ext cx="43" cy="43"/>
              </a:xfrm>
              <a:custGeom>
                <a:avLst/>
                <a:gdLst>
                  <a:gd name="T0" fmla="*/ 43 w 43"/>
                  <a:gd name="T1" fmla="*/ 21 h 43"/>
                  <a:gd name="T2" fmla="*/ 42 w 43"/>
                  <a:gd name="T3" fmla="*/ 13 h 43"/>
                  <a:gd name="T4" fmla="*/ 37 w 43"/>
                  <a:gd name="T5" fmla="*/ 6 h 43"/>
                  <a:gd name="T6" fmla="*/ 30 w 43"/>
                  <a:gd name="T7" fmla="*/ 2 h 43"/>
                  <a:gd name="T8" fmla="*/ 21 w 43"/>
                  <a:gd name="T9" fmla="*/ 0 h 43"/>
                  <a:gd name="T10" fmla="*/ 13 w 43"/>
                  <a:gd name="T11" fmla="*/ 2 h 43"/>
                  <a:gd name="T12" fmla="*/ 6 w 43"/>
                  <a:gd name="T13" fmla="*/ 6 h 43"/>
                  <a:gd name="T14" fmla="*/ 2 w 43"/>
                  <a:gd name="T15" fmla="*/ 13 h 43"/>
                  <a:gd name="T16" fmla="*/ 0 w 43"/>
                  <a:gd name="T17" fmla="*/ 21 h 43"/>
                  <a:gd name="T18" fmla="*/ 2 w 43"/>
                  <a:gd name="T19" fmla="*/ 30 h 43"/>
                  <a:gd name="T20" fmla="*/ 6 w 43"/>
                  <a:gd name="T21" fmla="*/ 37 h 43"/>
                  <a:gd name="T22" fmla="*/ 13 w 43"/>
                  <a:gd name="T23" fmla="*/ 42 h 43"/>
                  <a:gd name="T24" fmla="*/ 21 w 43"/>
                  <a:gd name="T25" fmla="*/ 43 h 43"/>
                  <a:gd name="T26" fmla="*/ 30 w 43"/>
                  <a:gd name="T27" fmla="*/ 42 h 43"/>
                  <a:gd name="T28" fmla="*/ 37 w 43"/>
                  <a:gd name="T29" fmla="*/ 37 h 43"/>
                  <a:gd name="T30" fmla="*/ 42 w 43"/>
                  <a:gd name="T31" fmla="*/ 30 h 43"/>
                  <a:gd name="T32" fmla="*/ 43 w 43"/>
                  <a:gd name="T33" fmla="*/ 21 h 4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3"/>
                  <a:gd name="T52" fmla="*/ 0 h 43"/>
                  <a:gd name="T53" fmla="*/ 43 w 43"/>
                  <a:gd name="T54" fmla="*/ 43 h 4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3" h="43">
                    <a:moveTo>
                      <a:pt x="43" y="21"/>
                    </a:moveTo>
                    <a:lnTo>
                      <a:pt x="42" y="13"/>
                    </a:lnTo>
                    <a:lnTo>
                      <a:pt x="37" y="6"/>
                    </a:lnTo>
                    <a:lnTo>
                      <a:pt x="30" y="2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30"/>
                    </a:lnTo>
                    <a:lnTo>
                      <a:pt x="6" y="37"/>
                    </a:lnTo>
                    <a:lnTo>
                      <a:pt x="13" y="42"/>
                    </a:lnTo>
                    <a:lnTo>
                      <a:pt x="21" y="43"/>
                    </a:lnTo>
                    <a:lnTo>
                      <a:pt x="30" y="42"/>
                    </a:lnTo>
                    <a:lnTo>
                      <a:pt x="37" y="37"/>
                    </a:lnTo>
                    <a:lnTo>
                      <a:pt x="42" y="30"/>
                    </a:lnTo>
                    <a:lnTo>
                      <a:pt x="43" y="21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0" name="Freeform 172"/>
              <p:cNvSpPr>
                <a:spLocks/>
              </p:cNvSpPr>
              <p:nvPr/>
            </p:nvSpPr>
            <p:spPr bwMode="auto">
              <a:xfrm>
                <a:off x="4410" y="2956"/>
                <a:ext cx="43" cy="43"/>
              </a:xfrm>
              <a:custGeom>
                <a:avLst/>
                <a:gdLst>
                  <a:gd name="T0" fmla="*/ 43 w 43"/>
                  <a:gd name="T1" fmla="*/ 21 h 43"/>
                  <a:gd name="T2" fmla="*/ 42 w 43"/>
                  <a:gd name="T3" fmla="*/ 13 h 43"/>
                  <a:gd name="T4" fmla="*/ 37 w 43"/>
                  <a:gd name="T5" fmla="*/ 6 h 43"/>
                  <a:gd name="T6" fmla="*/ 30 w 43"/>
                  <a:gd name="T7" fmla="*/ 2 h 43"/>
                  <a:gd name="T8" fmla="*/ 21 w 43"/>
                  <a:gd name="T9" fmla="*/ 0 h 43"/>
                  <a:gd name="T10" fmla="*/ 13 w 43"/>
                  <a:gd name="T11" fmla="*/ 2 h 43"/>
                  <a:gd name="T12" fmla="*/ 6 w 43"/>
                  <a:gd name="T13" fmla="*/ 6 h 43"/>
                  <a:gd name="T14" fmla="*/ 2 w 43"/>
                  <a:gd name="T15" fmla="*/ 13 h 43"/>
                  <a:gd name="T16" fmla="*/ 0 w 43"/>
                  <a:gd name="T17" fmla="*/ 21 h 43"/>
                  <a:gd name="T18" fmla="*/ 2 w 43"/>
                  <a:gd name="T19" fmla="*/ 30 h 43"/>
                  <a:gd name="T20" fmla="*/ 6 w 43"/>
                  <a:gd name="T21" fmla="*/ 37 h 43"/>
                  <a:gd name="T22" fmla="*/ 13 w 43"/>
                  <a:gd name="T23" fmla="*/ 42 h 43"/>
                  <a:gd name="T24" fmla="*/ 21 w 43"/>
                  <a:gd name="T25" fmla="*/ 43 h 43"/>
                  <a:gd name="T26" fmla="*/ 30 w 43"/>
                  <a:gd name="T27" fmla="*/ 42 h 43"/>
                  <a:gd name="T28" fmla="*/ 37 w 43"/>
                  <a:gd name="T29" fmla="*/ 37 h 43"/>
                  <a:gd name="T30" fmla="*/ 42 w 43"/>
                  <a:gd name="T31" fmla="*/ 30 h 43"/>
                  <a:gd name="T32" fmla="*/ 43 w 43"/>
                  <a:gd name="T33" fmla="*/ 21 h 4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3"/>
                  <a:gd name="T52" fmla="*/ 0 h 43"/>
                  <a:gd name="T53" fmla="*/ 43 w 43"/>
                  <a:gd name="T54" fmla="*/ 43 h 4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3" h="43">
                    <a:moveTo>
                      <a:pt x="43" y="21"/>
                    </a:moveTo>
                    <a:lnTo>
                      <a:pt x="42" y="13"/>
                    </a:lnTo>
                    <a:lnTo>
                      <a:pt x="37" y="6"/>
                    </a:lnTo>
                    <a:lnTo>
                      <a:pt x="30" y="2"/>
                    </a:lnTo>
                    <a:lnTo>
                      <a:pt x="21" y="0"/>
                    </a:lnTo>
                    <a:lnTo>
                      <a:pt x="13" y="2"/>
                    </a:lnTo>
                    <a:lnTo>
                      <a:pt x="6" y="6"/>
                    </a:lnTo>
                    <a:lnTo>
                      <a:pt x="2" y="13"/>
                    </a:lnTo>
                    <a:lnTo>
                      <a:pt x="0" y="21"/>
                    </a:lnTo>
                    <a:lnTo>
                      <a:pt x="2" y="30"/>
                    </a:lnTo>
                    <a:lnTo>
                      <a:pt x="6" y="37"/>
                    </a:lnTo>
                    <a:lnTo>
                      <a:pt x="13" y="42"/>
                    </a:lnTo>
                    <a:lnTo>
                      <a:pt x="21" y="43"/>
                    </a:lnTo>
                    <a:lnTo>
                      <a:pt x="30" y="42"/>
                    </a:lnTo>
                    <a:lnTo>
                      <a:pt x="37" y="37"/>
                    </a:lnTo>
                    <a:lnTo>
                      <a:pt x="42" y="30"/>
                    </a:lnTo>
                    <a:lnTo>
                      <a:pt x="43" y="21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1" name="Freeform 173"/>
              <p:cNvSpPr>
                <a:spLocks/>
              </p:cNvSpPr>
              <p:nvPr/>
            </p:nvSpPr>
            <p:spPr bwMode="auto">
              <a:xfrm>
                <a:off x="4159" y="2965"/>
                <a:ext cx="43" cy="43"/>
              </a:xfrm>
              <a:custGeom>
                <a:avLst/>
                <a:gdLst>
                  <a:gd name="T0" fmla="*/ 43 w 43"/>
                  <a:gd name="T1" fmla="*/ 22 h 43"/>
                  <a:gd name="T2" fmla="*/ 41 w 43"/>
                  <a:gd name="T3" fmla="*/ 13 h 43"/>
                  <a:gd name="T4" fmla="*/ 37 w 43"/>
                  <a:gd name="T5" fmla="*/ 6 h 43"/>
                  <a:gd name="T6" fmla="*/ 30 w 43"/>
                  <a:gd name="T7" fmla="*/ 1 h 43"/>
                  <a:gd name="T8" fmla="*/ 22 w 43"/>
                  <a:gd name="T9" fmla="*/ 0 h 43"/>
                  <a:gd name="T10" fmla="*/ 13 w 43"/>
                  <a:gd name="T11" fmla="*/ 1 h 43"/>
                  <a:gd name="T12" fmla="*/ 6 w 43"/>
                  <a:gd name="T13" fmla="*/ 6 h 43"/>
                  <a:gd name="T14" fmla="*/ 1 w 43"/>
                  <a:gd name="T15" fmla="*/ 13 h 43"/>
                  <a:gd name="T16" fmla="*/ 0 w 43"/>
                  <a:gd name="T17" fmla="*/ 22 h 43"/>
                  <a:gd name="T18" fmla="*/ 1 w 43"/>
                  <a:gd name="T19" fmla="*/ 30 h 43"/>
                  <a:gd name="T20" fmla="*/ 6 w 43"/>
                  <a:gd name="T21" fmla="*/ 37 h 43"/>
                  <a:gd name="T22" fmla="*/ 13 w 43"/>
                  <a:gd name="T23" fmla="*/ 41 h 43"/>
                  <a:gd name="T24" fmla="*/ 22 w 43"/>
                  <a:gd name="T25" fmla="*/ 43 h 43"/>
                  <a:gd name="T26" fmla="*/ 30 w 43"/>
                  <a:gd name="T27" fmla="*/ 41 h 43"/>
                  <a:gd name="T28" fmla="*/ 37 w 43"/>
                  <a:gd name="T29" fmla="*/ 37 h 43"/>
                  <a:gd name="T30" fmla="*/ 41 w 43"/>
                  <a:gd name="T31" fmla="*/ 30 h 43"/>
                  <a:gd name="T32" fmla="*/ 43 w 43"/>
                  <a:gd name="T33" fmla="*/ 22 h 4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3"/>
                  <a:gd name="T52" fmla="*/ 0 h 43"/>
                  <a:gd name="T53" fmla="*/ 43 w 43"/>
                  <a:gd name="T54" fmla="*/ 43 h 4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3" h="43">
                    <a:moveTo>
                      <a:pt x="43" y="22"/>
                    </a:moveTo>
                    <a:lnTo>
                      <a:pt x="41" y="13"/>
                    </a:lnTo>
                    <a:lnTo>
                      <a:pt x="37" y="6"/>
                    </a:lnTo>
                    <a:lnTo>
                      <a:pt x="30" y="1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6" y="6"/>
                    </a:lnTo>
                    <a:lnTo>
                      <a:pt x="1" y="13"/>
                    </a:lnTo>
                    <a:lnTo>
                      <a:pt x="0" y="22"/>
                    </a:lnTo>
                    <a:lnTo>
                      <a:pt x="1" y="30"/>
                    </a:lnTo>
                    <a:lnTo>
                      <a:pt x="6" y="37"/>
                    </a:lnTo>
                    <a:lnTo>
                      <a:pt x="13" y="41"/>
                    </a:lnTo>
                    <a:lnTo>
                      <a:pt x="22" y="43"/>
                    </a:lnTo>
                    <a:lnTo>
                      <a:pt x="30" y="41"/>
                    </a:lnTo>
                    <a:lnTo>
                      <a:pt x="37" y="37"/>
                    </a:lnTo>
                    <a:lnTo>
                      <a:pt x="41" y="30"/>
                    </a:lnTo>
                    <a:lnTo>
                      <a:pt x="43" y="22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2" name="Freeform 174"/>
              <p:cNvSpPr>
                <a:spLocks/>
              </p:cNvSpPr>
              <p:nvPr/>
            </p:nvSpPr>
            <p:spPr bwMode="auto">
              <a:xfrm>
                <a:off x="4159" y="2965"/>
                <a:ext cx="43" cy="43"/>
              </a:xfrm>
              <a:custGeom>
                <a:avLst/>
                <a:gdLst>
                  <a:gd name="T0" fmla="*/ 43 w 43"/>
                  <a:gd name="T1" fmla="*/ 22 h 43"/>
                  <a:gd name="T2" fmla="*/ 41 w 43"/>
                  <a:gd name="T3" fmla="*/ 13 h 43"/>
                  <a:gd name="T4" fmla="*/ 37 w 43"/>
                  <a:gd name="T5" fmla="*/ 6 h 43"/>
                  <a:gd name="T6" fmla="*/ 30 w 43"/>
                  <a:gd name="T7" fmla="*/ 1 h 43"/>
                  <a:gd name="T8" fmla="*/ 22 w 43"/>
                  <a:gd name="T9" fmla="*/ 0 h 43"/>
                  <a:gd name="T10" fmla="*/ 13 w 43"/>
                  <a:gd name="T11" fmla="*/ 1 h 43"/>
                  <a:gd name="T12" fmla="*/ 6 w 43"/>
                  <a:gd name="T13" fmla="*/ 6 h 43"/>
                  <a:gd name="T14" fmla="*/ 1 w 43"/>
                  <a:gd name="T15" fmla="*/ 13 h 43"/>
                  <a:gd name="T16" fmla="*/ 0 w 43"/>
                  <a:gd name="T17" fmla="*/ 22 h 43"/>
                  <a:gd name="T18" fmla="*/ 1 w 43"/>
                  <a:gd name="T19" fmla="*/ 30 h 43"/>
                  <a:gd name="T20" fmla="*/ 6 w 43"/>
                  <a:gd name="T21" fmla="*/ 37 h 43"/>
                  <a:gd name="T22" fmla="*/ 13 w 43"/>
                  <a:gd name="T23" fmla="*/ 41 h 43"/>
                  <a:gd name="T24" fmla="*/ 22 w 43"/>
                  <a:gd name="T25" fmla="*/ 43 h 43"/>
                  <a:gd name="T26" fmla="*/ 30 w 43"/>
                  <a:gd name="T27" fmla="*/ 41 h 43"/>
                  <a:gd name="T28" fmla="*/ 37 w 43"/>
                  <a:gd name="T29" fmla="*/ 37 h 43"/>
                  <a:gd name="T30" fmla="*/ 41 w 43"/>
                  <a:gd name="T31" fmla="*/ 30 h 43"/>
                  <a:gd name="T32" fmla="*/ 43 w 43"/>
                  <a:gd name="T33" fmla="*/ 22 h 4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3"/>
                  <a:gd name="T52" fmla="*/ 0 h 43"/>
                  <a:gd name="T53" fmla="*/ 43 w 43"/>
                  <a:gd name="T54" fmla="*/ 43 h 4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3" h="43">
                    <a:moveTo>
                      <a:pt x="43" y="22"/>
                    </a:moveTo>
                    <a:lnTo>
                      <a:pt x="41" y="13"/>
                    </a:lnTo>
                    <a:lnTo>
                      <a:pt x="37" y="6"/>
                    </a:lnTo>
                    <a:lnTo>
                      <a:pt x="30" y="1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6" y="6"/>
                    </a:lnTo>
                    <a:lnTo>
                      <a:pt x="1" y="13"/>
                    </a:lnTo>
                    <a:lnTo>
                      <a:pt x="0" y="22"/>
                    </a:lnTo>
                    <a:lnTo>
                      <a:pt x="1" y="30"/>
                    </a:lnTo>
                    <a:lnTo>
                      <a:pt x="6" y="37"/>
                    </a:lnTo>
                    <a:lnTo>
                      <a:pt x="13" y="41"/>
                    </a:lnTo>
                    <a:lnTo>
                      <a:pt x="22" y="43"/>
                    </a:lnTo>
                    <a:lnTo>
                      <a:pt x="30" y="41"/>
                    </a:lnTo>
                    <a:lnTo>
                      <a:pt x="37" y="37"/>
                    </a:lnTo>
                    <a:lnTo>
                      <a:pt x="41" y="30"/>
                    </a:lnTo>
                    <a:lnTo>
                      <a:pt x="43" y="22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3" name="Freeform 175"/>
              <p:cNvSpPr>
                <a:spLocks/>
              </p:cNvSpPr>
              <p:nvPr/>
            </p:nvSpPr>
            <p:spPr bwMode="auto">
              <a:xfrm>
                <a:off x="4281" y="2984"/>
                <a:ext cx="43" cy="42"/>
              </a:xfrm>
              <a:custGeom>
                <a:avLst/>
                <a:gdLst>
                  <a:gd name="T0" fmla="*/ 43 w 43"/>
                  <a:gd name="T1" fmla="*/ 21 h 42"/>
                  <a:gd name="T2" fmla="*/ 41 w 43"/>
                  <a:gd name="T3" fmla="*/ 12 h 42"/>
                  <a:gd name="T4" fmla="*/ 36 w 43"/>
                  <a:gd name="T5" fmla="*/ 6 h 42"/>
                  <a:gd name="T6" fmla="*/ 30 w 43"/>
                  <a:gd name="T7" fmla="*/ 1 h 42"/>
                  <a:gd name="T8" fmla="*/ 22 w 43"/>
                  <a:gd name="T9" fmla="*/ 0 h 42"/>
                  <a:gd name="T10" fmla="*/ 13 w 43"/>
                  <a:gd name="T11" fmla="*/ 1 h 42"/>
                  <a:gd name="T12" fmla="*/ 6 w 43"/>
                  <a:gd name="T13" fmla="*/ 6 h 42"/>
                  <a:gd name="T14" fmla="*/ 1 w 43"/>
                  <a:gd name="T15" fmla="*/ 12 h 42"/>
                  <a:gd name="T16" fmla="*/ 0 w 43"/>
                  <a:gd name="T17" fmla="*/ 21 h 42"/>
                  <a:gd name="T18" fmla="*/ 1 w 43"/>
                  <a:gd name="T19" fmla="*/ 30 h 42"/>
                  <a:gd name="T20" fmla="*/ 6 w 43"/>
                  <a:gd name="T21" fmla="*/ 36 h 42"/>
                  <a:gd name="T22" fmla="*/ 13 w 43"/>
                  <a:gd name="T23" fmla="*/ 41 h 42"/>
                  <a:gd name="T24" fmla="*/ 22 w 43"/>
                  <a:gd name="T25" fmla="*/ 42 h 42"/>
                  <a:gd name="T26" fmla="*/ 30 w 43"/>
                  <a:gd name="T27" fmla="*/ 41 h 42"/>
                  <a:gd name="T28" fmla="*/ 36 w 43"/>
                  <a:gd name="T29" fmla="*/ 36 h 42"/>
                  <a:gd name="T30" fmla="*/ 41 w 43"/>
                  <a:gd name="T31" fmla="*/ 30 h 42"/>
                  <a:gd name="T32" fmla="*/ 43 w 43"/>
                  <a:gd name="T33" fmla="*/ 21 h 4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3"/>
                  <a:gd name="T52" fmla="*/ 0 h 42"/>
                  <a:gd name="T53" fmla="*/ 43 w 43"/>
                  <a:gd name="T54" fmla="*/ 42 h 4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3" h="42">
                    <a:moveTo>
                      <a:pt x="43" y="21"/>
                    </a:moveTo>
                    <a:lnTo>
                      <a:pt x="41" y="12"/>
                    </a:lnTo>
                    <a:lnTo>
                      <a:pt x="36" y="6"/>
                    </a:lnTo>
                    <a:lnTo>
                      <a:pt x="30" y="1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6" y="6"/>
                    </a:lnTo>
                    <a:lnTo>
                      <a:pt x="1" y="12"/>
                    </a:lnTo>
                    <a:lnTo>
                      <a:pt x="0" y="21"/>
                    </a:lnTo>
                    <a:lnTo>
                      <a:pt x="1" y="30"/>
                    </a:lnTo>
                    <a:lnTo>
                      <a:pt x="6" y="36"/>
                    </a:lnTo>
                    <a:lnTo>
                      <a:pt x="13" y="41"/>
                    </a:lnTo>
                    <a:lnTo>
                      <a:pt x="22" y="42"/>
                    </a:lnTo>
                    <a:lnTo>
                      <a:pt x="30" y="41"/>
                    </a:lnTo>
                    <a:lnTo>
                      <a:pt x="36" y="36"/>
                    </a:lnTo>
                    <a:lnTo>
                      <a:pt x="41" y="30"/>
                    </a:lnTo>
                    <a:lnTo>
                      <a:pt x="43" y="21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4" name="Freeform 176"/>
              <p:cNvSpPr>
                <a:spLocks/>
              </p:cNvSpPr>
              <p:nvPr/>
            </p:nvSpPr>
            <p:spPr bwMode="auto">
              <a:xfrm>
                <a:off x="4281" y="2984"/>
                <a:ext cx="43" cy="42"/>
              </a:xfrm>
              <a:custGeom>
                <a:avLst/>
                <a:gdLst>
                  <a:gd name="T0" fmla="*/ 43 w 43"/>
                  <a:gd name="T1" fmla="*/ 21 h 42"/>
                  <a:gd name="T2" fmla="*/ 41 w 43"/>
                  <a:gd name="T3" fmla="*/ 12 h 42"/>
                  <a:gd name="T4" fmla="*/ 36 w 43"/>
                  <a:gd name="T5" fmla="*/ 6 h 42"/>
                  <a:gd name="T6" fmla="*/ 30 w 43"/>
                  <a:gd name="T7" fmla="*/ 1 h 42"/>
                  <a:gd name="T8" fmla="*/ 22 w 43"/>
                  <a:gd name="T9" fmla="*/ 0 h 42"/>
                  <a:gd name="T10" fmla="*/ 13 w 43"/>
                  <a:gd name="T11" fmla="*/ 1 h 42"/>
                  <a:gd name="T12" fmla="*/ 6 w 43"/>
                  <a:gd name="T13" fmla="*/ 6 h 42"/>
                  <a:gd name="T14" fmla="*/ 1 w 43"/>
                  <a:gd name="T15" fmla="*/ 12 h 42"/>
                  <a:gd name="T16" fmla="*/ 0 w 43"/>
                  <a:gd name="T17" fmla="*/ 21 h 42"/>
                  <a:gd name="T18" fmla="*/ 1 w 43"/>
                  <a:gd name="T19" fmla="*/ 30 h 42"/>
                  <a:gd name="T20" fmla="*/ 6 w 43"/>
                  <a:gd name="T21" fmla="*/ 36 h 42"/>
                  <a:gd name="T22" fmla="*/ 13 w 43"/>
                  <a:gd name="T23" fmla="*/ 41 h 42"/>
                  <a:gd name="T24" fmla="*/ 22 w 43"/>
                  <a:gd name="T25" fmla="*/ 42 h 42"/>
                  <a:gd name="T26" fmla="*/ 30 w 43"/>
                  <a:gd name="T27" fmla="*/ 41 h 42"/>
                  <a:gd name="T28" fmla="*/ 36 w 43"/>
                  <a:gd name="T29" fmla="*/ 36 h 42"/>
                  <a:gd name="T30" fmla="*/ 41 w 43"/>
                  <a:gd name="T31" fmla="*/ 30 h 42"/>
                  <a:gd name="T32" fmla="*/ 43 w 43"/>
                  <a:gd name="T33" fmla="*/ 21 h 4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3"/>
                  <a:gd name="T52" fmla="*/ 0 h 42"/>
                  <a:gd name="T53" fmla="*/ 43 w 43"/>
                  <a:gd name="T54" fmla="*/ 42 h 4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3" h="42">
                    <a:moveTo>
                      <a:pt x="43" y="21"/>
                    </a:moveTo>
                    <a:lnTo>
                      <a:pt x="41" y="12"/>
                    </a:lnTo>
                    <a:lnTo>
                      <a:pt x="36" y="6"/>
                    </a:lnTo>
                    <a:lnTo>
                      <a:pt x="30" y="1"/>
                    </a:lnTo>
                    <a:lnTo>
                      <a:pt x="22" y="0"/>
                    </a:lnTo>
                    <a:lnTo>
                      <a:pt x="13" y="1"/>
                    </a:lnTo>
                    <a:lnTo>
                      <a:pt x="6" y="6"/>
                    </a:lnTo>
                    <a:lnTo>
                      <a:pt x="1" y="12"/>
                    </a:lnTo>
                    <a:lnTo>
                      <a:pt x="0" y="21"/>
                    </a:lnTo>
                    <a:lnTo>
                      <a:pt x="1" y="30"/>
                    </a:lnTo>
                    <a:lnTo>
                      <a:pt x="6" y="36"/>
                    </a:lnTo>
                    <a:lnTo>
                      <a:pt x="13" y="41"/>
                    </a:lnTo>
                    <a:lnTo>
                      <a:pt x="22" y="42"/>
                    </a:lnTo>
                    <a:lnTo>
                      <a:pt x="30" y="41"/>
                    </a:lnTo>
                    <a:lnTo>
                      <a:pt x="36" y="36"/>
                    </a:lnTo>
                    <a:lnTo>
                      <a:pt x="41" y="30"/>
                    </a:lnTo>
                    <a:lnTo>
                      <a:pt x="43" y="21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5" name="Freeform 177"/>
              <p:cNvSpPr>
                <a:spLocks/>
              </p:cNvSpPr>
              <p:nvPr/>
            </p:nvSpPr>
            <p:spPr bwMode="auto">
              <a:xfrm>
                <a:off x="4283" y="1059"/>
                <a:ext cx="40" cy="40"/>
              </a:xfrm>
              <a:custGeom>
                <a:avLst/>
                <a:gdLst>
                  <a:gd name="T0" fmla="*/ 40 w 40"/>
                  <a:gd name="T1" fmla="*/ 20 h 40"/>
                  <a:gd name="T2" fmla="*/ 38 w 40"/>
                  <a:gd name="T3" fmla="*/ 12 h 40"/>
                  <a:gd name="T4" fmla="*/ 34 w 40"/>
                  <a:gd name="T5" fmla="*/ 6 h 40"/>
                  <a:gd name="T6" fmla="*/ 27 w 40"/>
                  <a:gd name="T7" fmla="*/ 2 h 40"/>
                  <a:gd name="T8" fmla="*/ 20 w 40"/>
                  <a:gd name="T9" fmla="*/ 0 h 40"/>
                  <a:gd name="T10" fmla="*/ 12 w 40"/>
                  <a:gd name="T11" fmla="*/ 2 h 40"/>
                  <a:gd name="T12" fmla="*/ 6 w 40"/>
                  <a:gd name="T13" fmla="*/ 6 h 40"/>
                  <a:gd name="T14" fmla="*/ 1 w 40"/>
                  <a:gd name="T15" fmla="*/ 12 h 40"/>
                  <a:gd name="T16" fmla="*/ 0 w 40"/>
                  <a:gd name="T17" fmla="*/ 20 h 40"/>
                  <a:gd name="T18" fmla="*/ 1 w 40"/>
                  <a:gd name="T19" fmla="*/ 28 h 40"/>
                  <a:gd name="T20" fmla="*/ 6 w 40"/>
                  <a:gd name="T21" fmla="*/ 34 h 40"/>
                  <a:gd name="T22" fmla="*/ 12 w 40"/>
                  <a:gd name="T23" fmla="*/ 38 h 40"/>
                  <a:gd name="T24" fmla="*/ 20 w 40"/>
                  <a:gd name="T25" fmla="*/ 40 h 40"/>
                  <a:gd name="T26" fmla="*/ 27 w 40"/>
                  <a:gd name="T27" fmla="*/ 38 h 40"/>
                  <a:gd name="T28" fmla="*/ 34 w 40"/>
                  <a:gd name="T29" fmla="*/ 34 h 40"/>
                  <a:gd name="T30" fmla="*/ 38 w 40"/>
                  <a:gd name="T31" fmla="*/ 28 h 40"/>
                  <a:gd name="T32" fmla="*/ 40 w 40"/>
                  <a:gd name="T33" fmla="*/ 20 h 4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40"/>
                  <a:gd name="T53" fmla="*/ 40 w 40"/>
                  <a:gd name="T54" fmla="*/ 40 h 4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40">
                    <a:moveTo>
                      <a:pt x="40" y="20"/>
                    </a:moveTo>
                    <a:lnTo>
                      <a:pt x="38" y="12"/>
                    </a:lnTo>
                    <a:lnTo>
                      <a:pt x="34" y="6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1" y="28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7" y="38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6" name="Freeform 178"/>
              <p:cNvSpPr>
                <a:spLocks/>
              </p:cNvSpPr>
              <p:nvPr/>
            </p:nvSpPr>
            <p:spPr bwMode="auto">
              <a:xfrm>
                <a:off x="4283" y="1059"/>
                <a:ext cx="40" cy="40"/>
              </a:xfrm>
              <a:custGeom>
                <a:avLst/>
                <a:gdLst>
                  <a:gd name="T0" fmla="*/ 40 w 40"/>
                  <a:gd name="T1" fmla="*/ 20 h 40"/>
                  <a:gd name="T2" fmla="*/ 38 w 40"/>
                  <a:gd name="T3" fmla="*/ 12 h 40"/>
                  <a:gd name="T4" fmla="*/ 34 w 40"/>
                  <a:gd name="T5" fmla="*/ 6 h 40"/>
                  <a:gd name="T6" fmla="*/ 27 w 40"/>
                  <a:gd name="T7" fmla="*/ 2 h 40"/>
                  <a:gd name="T8" fmla="*/ 20 w 40"/>
                  <a:gd name="T9" fmla="*/ 0 h 40"/>
                  <a:gd name="T10" fmla="*/ 12 w 40"/>
                  <a:gd name="T11" fmla="*/ 2 h 40"/>
                  <a:gd name="T12" fmla="*/ 6 w 40"/>
                  <a:gd name="T13" fmla="*/ 6 h 40"/>
                  <a:gd name="T14" fmla="*/ 1 w 40"/>
                  <a:gd name="T15" fmla="*/ 12 h 40"/>
                  <a:gd name="T16" fmla="*/ 0 w 40"/>
                  <a:gd name="T17" fmla="*/ 20 h 40"/>
                  <a:gd name="T18" fmla="*/ 1 w 40"/>
                  <a:gd name="T19" fmla="*/ 28 h 40"/>
                  <a:gd name="T20" fmla="*/ 6 w 40"/>
                  <a:gd name="T21" fmla="*/ 34 h 40"/>
                  <a:gd name="T22" fmla="*/ 12 w 40"/>
                  <a:gd name="T23" fmla="*/ 38 h 40"/>
                  <a:gd name="T24" fmla="*/ 20 w 40"/>
                  <a:gd name="T25" fmla="*/ 40 h 40"/>
                  <a:gd name="T26" fmla="*/ 27 w 40"/>
                  <a:gd name="T27" fmla="*/ 38 h 40"/>
                  <a:gd name="T28" fmla="*/ 34 w 40"/>
                  <a:gd name="T29" fmla="*/ 34 h 40"/>
                  <a:gd name="T30" fmla="*/ 38 w 40"/>
                  <a:gd name="T31" fmla="*/ 28 h 40"/>
                  <a:gd name="T32" fmla="*/ 40 w 40"/>
                  <a:gd name="T33" fmla="*/ 20 h 4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40"/>
                  <a:gd name="T53" fmla="*/ 40 w 40"/>
                  <a:gd name="T54" fmla="*/ 40 h 4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40">
                    <a:moveTo>
                      <a:pt x="40" y="20"/>
                    </a:moveTo>
                    <a:lnTo>
                      <a:pt x="38" y="12"/>
                    </a:lnTo>
                    <a:lnTo>
                      <a:pt x="34" y="6"/>
                    </a:lnTo>
                    <a:lnTo>
                      <a:pt x="27" y="2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6" y="6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1" y="28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7" y="38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7" name="Freeform 179"/>
              <p:cNvSpPr>
                <a:spLocks/>
              </p:cNvSpPr>
              <p:nvPr/>
            </p:nvSpPr>
            <p:spPr bwMode="auto">
              <a:xfrm>
                <a:off x="4391" y="2996"/>
                <a:ext cx="40" cy="40"/>
              </a:xfrm>
              <a:custGeom>
                <a:avLst/>
                <a:gdLst>
                  <a:gd name="T0" fmla="*/ 40 w 40"/>
                  <a:gd name="T1" fmla="*/ 20 h 40"/>
                  <a:gd name="T2" fmla="*/ 38 w 40"/>
                  <a:gd name="T3" fmla="*/ 13 h 40"/>
                  <a:gd name="T4" fmla="*/ 34 w 40"/>
                  <a:gd name="T5" fmla="*/ 7 h 40"/>
                  <a:gd name="T6" fmla="*/ 28 w 40"/>
                  <a:gd name="T7" fmla="*/ 2 h 40"/>
                  <a:gd name="T8" fmla="*/ 20 w 40"/>
                  <a:gd name="T9" fmla="*/ 0 h 40"/>
                  <a:gd name="T10" fmla="*/ 12 w 40"/>
                  <a:gd name="T11" fmla="*/ 2 h 40"/>
                  <a:gd name="T12" fmla="*/ 6 w 40"/>
                  <a:gd name="T13" fmla="*/ 7 h 40"/>
                  <a:gd name="T14" fmla="*/ 2 w 40"/>
                  <a:gd name="T15" fmla="*/ 13 h 40"/>
                  <a:gd name="T16" fmla="*/ 0 w 40"/>
                  <a:gd name="T17" fmla="*/ 20 h 40"/>
                  <a:gd name="T18" fmla="*/ 2 w 40"/>
                  <a:gd name="T19" fmla="*/ 28 h 40"/>
                  <a:gd name="T20" fmla="*/ 6 w 40"/>
                  <a:gd name="T21" fmla="*/ 34 h 40"/>
                  <a:gd name="T22" fmla="*/ 12 w 40"/>
                  <a:gd name="T23" fmla="*/ 38 h 40"/>
                  <a:gd name="T24" fmla="*/ 20 w 40"/>
                  <a:gd name="T25" fmla="*/ 40 h 40"/>
                  <a:gd name="T26" fmla="*/ 28 w 40"/>
                  <a:gd name="T27" fmla="*/ 38 h 40"/>
                  <a:gd name="T28" fmla="*/ 34 w 40"/>
                  <a:gd name="T29" fmla="*/ 34 h 40"/>
                  <a:gd name="T30" fmla="*/ 38 w 40"/>
                  <a:gd name="T31" fmla="*/ 28 h 40"/>
                  <a:gd name="T32" fmla="*/ 40 w 40"/>
                  <a:gd name="T33" fmla="*/ 20 h 4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40"/>
                  <a:gd name="T53" fmla="*/ 40 w 40"/>
                  <a:gd name="T54" fmla="*/ 40 h 4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40">
                    <a:moveTo>
                      <a:pt x="40" y="20"/>
                    </a:moveTo>
                    <a:lnTo>
                      <a:pt x="38" y="13"/>
                    </a:lnTo>
                    <a:lnTo>
                      <a:pt x="34" y="7"/>
                    </a:lnTo>
                    <a:lnTo>
                      <a:pt x="28" y="2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8" name="Freeform 180"/>
              <p:cNvSpPr>
                <a:spLocks/>
              </p:cNvSpPr>
              <p:nvPr/>
            </p:nvSpPr>
            <p:spPr bwMode="auto">
              <a:xfrm>
                <a:off x="4391" y="2996"/>
                <a:ext cx="40" cy="40"/>
              </a:xfrm>
              <a:custGeom>
                <a:avLst/>
                <a:gdLst>
                  <a:gd name="T0" fmla="*/ 40 w 40"/>
                  <a:gd name="T1" fmla="*/ 20 h 40"/>
                  <a:gd name="T2" fmla="*/ 38 w 40"/>
                  <a:gd name="T3" fmla="*/ 13 h 40"/>
                  <a:gd name="T4" fmla="*/ 34 w 40"/>
                  <a:gd name="T5" fmla="*/ 7 h 40"/>
                  <a:gd name="T6" fmla="*/ 28 w 40"/>
                  <a:gd name="T7" fmla="*/ 2 h 40"/>
                  <a:gd name="T8" fmla="*/ 20 w 40"/>
                  <a:gd name="T9" fmla="*/ 0 h 40"/>
                  <a:gd name="T10" fmla="*/ 12 w 40"/>
                  <a:gd name="T11" fmla="*/ 2 h 40"/>
                  <a:gd name="T12" fmla="*/ 6 w 40"/>
                  <a:gd name="T13" fmla="*/ 7 h 40"/>
                  <a:gd name="T14" fmla="*/ 2 w 40"/>
                  <a:gd name="T15" fmla="*/ 13 h 40"/>
                  <a:gd name="T16" fmla="*/ 0 w 40"/>
                  <a:gd name="T17" fmla="*/ 20 h 40"/>
                  <a:gd name="T18" fmla="*/ 2 w 40"/>
                  <a:gd name="T19" fmla="*/ 28 h 40"/>
                  <a:gd name="T20" fmla="*/ 6 w 40"/>
                  <a:gd name="T21" fmla="*/ 34 h 40"/>
                  <a:gd name="T22" fmla="*/ 12 w 40"/>
                  <a:gd name="T23" fmla="*/ 38 h 40"/>
                  <a:gd name="T24" fmla="*/ 20 w 40"/>
                  <a:gd name="T25" fmla="*/ 40 h 40"/>
                  <a:gd name="T26" fmla="*/ 28 w 40"/>
                  <a:gd name="T27" fmla="*/ 38 h 40"/>
                  <a:gd name="T28" fmla="*/ 34 w 40"/>
                  <a:gd name="T29" fmla="*/ 34 h 40"/>
                  <a:gd name="T30" fmla="*/ 38 w 40"/>
                  <a:gd name="T31" fmla="*/ 28 h 40"/>
                  <a:gd name="T32" fmla="*/ 40 w 40"/>
                  <a:gd name="T33" fmla="*/ 20 h 4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0"/>
                  <a:gd name="T52" fmla="*/ 0 h 40"/>
                  <a:gd name="T53" fmla="*/ 40 w 40"/>
                  <a:gd name="T54" fmla="*/ 40 h 4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0" h="40">
                    <a:moveTo>
                      <a:pt x="40" y="20"/>
                    </a:moveTo>
                    <a:lnTo>
                      <a:pt x="38" y="13"/>
                    </a:lnTo>
                    <a:lnTo>
                      <a:pt x="34" y="7"/>
                    </a:lnTo>
                    <a:lnTo>
                      <a:pt x="28" y="2"/>
                    </a:lnTo>
                    <a:lnTo>
                      <a:pt x="20" y="0"/>
                    </a:lnTo>
                    <a:lnTo>
                      <a:pt x="12" y="2"/>
                    </a:lnTo>
                    <a:lnTo>
                      <a:pt x="6" y="7"/>
                    </a:lnTo>
                    <a:lnTo>
                      <a:pt x="2" y="13"/>
                    </a:lnTo>
                    <a:lnTo>
                      <a:pt x="0" y="20"/>
                    </a:lnTo>
                    <a:lnTo>
                      <a:pt x="2" y="28"/>
                    </a:lnTo>
                    <a:lnTo>
                      <a:pt x="6" y="34"/>
                    </a:lnTo>
                    <a:lnTo>
                      <a:pt x="12" y="38"/>
                    </a:lnTo>
                    <a:lnTo>
                      <a:pt x="20" y="40"/>
                    </a:lnTo>
                    <a:lnTo>
                      <a:pt x="28" y="38"/>
                    </a:lnTo>
                    <a:lnTo>
                      <a:pt x="34" y="34"/>
                    </a:lnTo>
                    <a:lnTo>
                      <a:pt x="38" y="28"/>
                    </a:lnTo>
                    <a:lnTo>
                      <a:pt x="40" y="2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29" name="Freeform 181"/>
              <p:cNvSpPr>
                <a:spLocks/>
              </p:cNvSpPr>
              <p:nvPr/>
            </p:nvSpPr>
            <p:spPr bwMode="auto">
              <a:xfrm>
                <a:off x="4334" y="3025"/>
                <a:ext cx="38" cy="37"/>
              </a:xfrm>
              <a:custGeom>
                <a:avLst/>
                <a:gdLst>
                  <a:gd name="T0" fmla="*/ 38 w 38"/>
                  <a:gd name="T1" fmla="*/ 18 h 37"/>
                  <a:gd name="T2" fmla="*/ 37 w 38"/>
                  <a:gd name="T3" fmla="*/ 11 h 37"/>
                  <a:gd name="T4" fmla="*/ 33 w 38"/>
                  <a:gd name="T5" fmla="*/ 5 h 37"/>
                  <a:gd name="T6" fmla="*/ 27 w 38"/>
                  <a:gd name="T7" fmla="*/ 1 h 37"/>
                  <a:gd name="T8" fmla="*/ 20 w 38"/>
                  <a:gd name="T9" fmla="*/ 0 h 37"/>
                  <a:gd name="T10" fmla="*/ 12 w 38"/>
                  <a:gd name="T11" fmla="*/ 1 h 37"/>
                  <a:gd name="T12" fmla="*/ 5 w 38"/>
                  <a:gd name="T13" fmla="*/ 5 h 37"/>
                  <a:gd name="T14" fmla="*/ 2 w 38"/>
                  <a:gd name="T15" fmla="*/ 11 h 37"/>
                  <a:gd name="T16" fmla="*/ 0 w 38"/>
                  <a:gd name="T17" fmla="*/ 18 h 37"/>
                  <a:gd name="T18" fmla="*/ 2 w 38"/>
                  <a:gd name="T19" fmla="*/ 25 h 37"/>
                  <a:gd name="T20" fmla="*/ 5 w 38"/>
                  <a:gd name="T21" fmla="*/ 32 h 37"/>
                  <a:gd name="T22" fmla="*/ 12 w 38"/>
                  <a:gd name="T23" fmla="*/ 36 h 37"/>
                  <a:gd name="T24" fmla="*/ 20 w 38"/>
                  <a:gd name="T25" fmla="*/ 37 h 37"/>
                  <a:gd name="T26" fmla="*/ 27 w 38"/>
                  <a:gd name="T27" fmla="*/ 36 h 37"/>
                  <a:gd name="T28" fmla="*/ 33 w 38"/>
                  <a:gd name="T29" fmla="*/ 32 h 37"/>
                  <a:gd name="T30" fmla="*/ 37 w 38"/>
                  <a:gd name="T31" fmla="*/ 25 h 37"/>
                  <a:gd name="T32" fmla="*/ 38 w 38"/>
                  <a:gd name="T33" fmla="*/ 18 h 3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8"/>
                  <a:gd name="T52" fmla="*/ 0 h 37"/>
                  <a:gd name="T53" fmla="*/ 38 w 38"/>
                  <a:gd name="T54" fmla="*/ 37 h 3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8" h="37">
                    <a:moveTo>
                      <a:pt x="38" y="18"/>
                    </a:moveTo>
                    <a:lnTo>
                      <a:pt x="37" y="11"/>
                    </a:lnTo>
                    <a:lnTo>
                      <a:pt x="33" y="5"/>
                    </a:lnTo>
                    <a:lnTo>
                      <a:pt x="27" y="1"/>
                    </a:lnTo>
                    <a:lnTo>
                      <a:pt x="20" y="0"/>
                    </a:lnTo>
                    <a:lnTo>
                      <a:pt x="12" y="1"/>
                    </a:lnTo>
                    <a:lnTo>
                      <a:pt x="5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5" y="32"/>
                    </a:lnTo>
                    <a:lnTo>
                      <a:pt x="12" y="36"/>
                    </a:lnTo>
                    <a:lnTo>
                      <a:pt x="20" y="37"/>
                    </a:lnTo>
                    <a:lnTo>
                      <a:pt x="27" y="36"/>
                    </a:lnTo>
                    <a:lnTo>
                      <a:pt x="33" y="32"/>
                    </a:lnTo>
                    <a:lnTo>
                      <a:pt x="37" y="25"/>
                    </a:lnTo>
                    <a:lnTo>
                      <a:pt x="38" y="1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0" name="Freeform 182"/>
              <p:cNvSpPr>
                <a:spLocks/>
              </p:cNvSpPr>
              <p:nvPr/>
            </p:nvSpPr>
            <p:spPr bwMode="auto">
              <a:xfrm>
                <a:off x="4334" y="3025"/>
                <a:ext cx="38" cy="37"/>
              </a:xfrm>
              <a:custGeom>
                <a:avLst/>
                <a:gdLst>
                  <a:gd name="T0" fmla="*/ 38 w 38"/>
                  <a:gd name="T1" fmla="*/ 18 h 37"/>
                  <a:gd name="T2" fmla="*/ 37 w 38"/>
                  <a:gd name="T3" fmla="*/ 11 h 37"/>
                  <a:gd name="T4" fmla="*/ 33 w 38"/>
                  <a:gd name="T5" fmla="*/ 5 h 37"/>
                  <a:gd name="T6" fmla="*/ 27 w 38"/>
                  <a:gd name="T7" fmla="*/ 1 h 37"/>
                  <a:gd name="T8" fmla="*/ 20 w 38"/>
                  <a:gd name="T9" fmla="*/ 0 h 37"/>
                  <a:gd name="T10" fmla="*/ 12 w 38"/>
                  <a:gd name="T11" fmla="*/ 1 h 37"/>
                  <a:gd name="T12" fmla="*/ 5 w 38"/>
                  <a:gd name="T13" fmla="*/ 5 h 37"/>
                  <a:gd name="T14" fmla="*/ 2 w 38"/>
                  <a:gd name="T15" fmla="*/ 11 h 37"/>
                  <a:gd name="T16" fmla="*/ 0 w 38"/>
                  <a:gd name="T17" fmla="*/ 18 h 37"/>
                  <a:gd name="T18" fmla="*/ 2 w 38"/>
                  <a:gd name="T19" fmla="*/ 25 h 37"/>
                  <a:gd name="T20" fmla="*/ 5 w 38"/>
                  <a:gd name="T21" fmla="*/ 32 h 37"/>
                  <a:gd name="T22" fmla="*/ 12 w 38"/>
                  <a:gd name="T23" fmla="*/ 36 h 37"/>
                  <a:gd name="T24" fmla="*/ 20 w 38"/>
                  <a:gd name="T25" fmla="*/ 37 h 37"/>
                  <a:gd name="T26" fmla="*/ 27 w 38"/>
                  <a:gd name="T27" fmla="*/ 36 h 37"/>
                  <a:gd name="T28" fmla="*/ 33 w 38"/>
                  <a:gd name="T29" fmla="*/ 32 h 37"/>
                  <a:gd name="T30" fmla="*/ 37 w 38"/>
                  <a:gd name="T31" fmla="*/ 25 h 37"/>
                  <a:gd name="T32" fmla="*/ 38 w 38"/>
                  <a:gd name="T33" fmla="*/ 18 h 3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8"/>
                  <a:gd name="T52" fmla="*/ 0 h 37"/>
                  <a:gd name="T53" fmla="*/ 38 w 38"/>
                  <a:gd name="T54" fmla="*/ 37 h 3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8" h="37">
                    <a:moveTo>
                      <a:pt x="38" y="18"/>
                    </a:moveTo>
                    <a:lnTo>
                      <a:pt x="37" y="11"/>
                    </a:lnTo>
                    <a:lnTo>
                      <a:pt x="33" y="5"/>
                    </a:lnTo>
                    <a:lnTo>
                      <a:pt x="27" y="1"/>
                    </a:lnTo>
                    <a:lnTo>
                      <a:pt x="20" y="0"/>
                    </a:lnTo>
                    <a:lnTo>
                      <a:pt x="12" y="1"/>
                    </a:lnTo>
                    <a:lnTo>
                      <a:pt x="5" y="5"/>
                    </a:lnTo>
                    <a:lnTo>
                      <a:pt x="2" y="11"/>
                    </a:lnTo>
                    <a:lnTo>
                      <a:pt x="0" y="18"/>
                    </a:lnTo>
                    <a:lnTo>
                      <a:pt x="2" y="25"/>
                    </a:lnTo>
                    <a:lnTo>
                      <a:pt x="5" y="32"/>
                    </a:lnTo>
                    <a:lnTo>
                      <a:pt x="12" y="36"/>
                    </a:lnTo>
                    <a:lnTo>
                      <a:pt x="20" y="37"/>
                    </a:lnTo>
                    <a:lnTo>
                      <a:pt x="27" y="36"/>
                    </a:lnTo>
                    <a:lnTo>
                      <a:pt x="33" y="32"/>
                    </a:lnTo>
                    <a:lnTo>
                      <a:pt x="37" y="25"/>
                    </a:lnTo>
                    <a:lnTo>
                      <a:pt x="38" y="1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1" name="Freeform 183"/>
              <p:cNvSpPr>
                <a:spLocks/>
              </p:cNvSpPr>
              <p:nvPr/>
            </p:nvSpPr>
            <p:spPr bwMode="auto">
              <a:xfrm>
                <a:off x="4236" y="3023"/>
                <a:ext cx="38" cy="38"/>
              </a:xfrm>
              <a:custGeom>
                <a:avLst/>
                <a:gdLst>
                  <a:gd name="T0" fmla="*/ 38 w 38"/>
                  <a:gd name="T1" fmla="*/ 20 h 38"/>
                  <a:gd name="T2" fmla="*/ 37 w 38"/>
                  <a:gd name="T3" fmla="*/ 12 h 38"/>
                  <a:gd name="T4" fmla="*/ 33 w 38"/>
                  <a:gd name="T5" fmla="*/ 5 h 38"/>
                  <a:gd name="T6" fmla="*/ 26 w 38"/>
                  <a:gd name="T7" fmla="*/ 2 h 38"/>
                  <a:gd name="T8" fmla="*/ 19 w 38"/>
                  <a:gd name="T9" fmla="*/ 0 h 38"/>
                  <a:gd name="T10" fmla="*/ 12 w 38"/>
                  <a:gd name="T11" fmla="*/ 2 h 38"/>
                  <a:gd name="T12" fmla="*/ 5 w 38"/>
                  <a:gd name="T13" fmla="*/ 5 h 38"/>
                  <a:gd name="T14" fmla="*/ 1 w 38"/>
                  <a:gd name="T15" fmla="*/ 12 h 38"/>
                  <a:gd name="T16" fmla="*/ 0 w 38"/>
                  <a:gd name="T17" fmla="*/ 20 h 38"/>
                  <a:gd name="T18" fmla="*/ 1 w 38"/>
                  <a:gd name="T19" fmla="*/ 27 h 38"/>
                  <a:gd name="T20" fmla="*/ 5 w 38"/>
                  <a:gd name="T21" fmla="*/ 33 h 38"/>
                  <a:gd name="T22" fmla="*/ 12 w 38"/>
                  <a:gd name="T23" fmla="*/ 37 h 38"/>
                  <a:gd name="T24" fmla="*/ 19 w 38"/>
                  <a:gd name="T25" fmla="*/ 38 h 38"/>
                  <a:gd name="T26" fmla="*/ 26 w 38"/>
                  <a:gd name="T27" fmla="*/ 37 h 38"/>
                  <a:gd name="T28" fmla="*/ 33 w 38"/>
                  <a:gd name="T29" fmla="*/ 33 h 38"/>
                  <a:gd name="T30" fmla="*/ 37 w 38"/>
                  <a:gd name="T31" fmla="*/ 27 h 38"/>
                  <a:gd name="T32" fmla="*/ 38 w 38"/>
                  <a:gd name="T33" fmla="*/ 20 h 3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8"/>
                  <a:gd name="T52" fmla="*/ 0 h 38"/>
                  <a:gd name="T53" fmla="*/ 38 w 38"/>
                  <a:gd name="T54" fmla="*/ 38 h 3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8" h="38">
                    <a:moveTo>
                      <a:pt x="38" y="20"/>
                    </a:moveTo>
                    <a:lnTo>
                      <a:pt x="37" y="12"/>
                    </a:lnTo>
                    <a:lnTo>
                      <a:pt x="33" y="5"/>
                    </a:lnTo>
                    <a:lnTo>
                      <a:pt x="26" y="2"/>
                    </a:lnTo>
                    <a:lnTo>
                      <a:pt x="19" y="0"/>
                    </a:lnTo>
                    <a:lnTo>
                      <a:pt x="12" y="2"/>
                    </a:lnTo>
                    <a:lnTo>
                      <a:pt x="5" y="5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1" y="27"/>
                    </a:lnTo>
                    <a:lnTo>
                      <a:pt x="5" y="33"/>
                    </a:lnTo>
                    <a:lnTo>
                      <a:pt x="12" y="37"/>
                    </a:lnTo>
                    <a:lnTo>
                      <a:pt x="19" y="38"/>
                    </a:lnTo>
                    <a:lnTo>
                      <a:pt x="26" y="37"/>
                    </a:lnTo>
                    <a:lnTo>
                      <a:pt x="33" y="33"/>
                    </a:lnTo>
                    <a:lnTo>
                      <a:pt x="37" y="27"/>
                    </a:lnTo>
                    <a:lnTo>
                      <a:pt x="38" y="20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2" name="Freeform 184"/>
              <p:cNvSpPr>
                <a:spLocks/>
              </p:cNvSpPr>
              <p:nvPr/>
            </p:nvSpPr>
            <p:spPr bwMode="auto">
              <a:xfrm>
                <a:off x="4236" y="3023"/>
                <a:ext cx="38" cy="38"/>
              </a:xfrm>
              <a:custGeom>
                <a:avLst/>
                <a:gdLst>
                  <a:gd name="T0" fmla="*/ 38 w 38"/>
                  <a:gd name="T1" fmla="*/ 20 h 38"/>
                  <a:gd name="T2" fmla="*/ 37 w 38"/>
                  <a:gd name="T3" fmla="*/ 12 h 38"/>
                  <a:gd name="T4" fmla="*/ 33 w 38"/>
                  <a:gd name="T5" fmla="*/ 5 h 38"/>
                  <a:gd name="T6" fmla="*/ 26 w 38"/>
                  <a:gd name="T7" fmla="*/ 2 h 38"/>
                  <a:gd name="T8" fmla="*/ 19 w 38"/>
                  <a:gd name="T9" fmla="*/ 0 h 38"/>
                  <a:gd name="T10" fmla="*/ 12 w 38"/>
                  <a:gd name="T11" fmla="*/ 2 h 38"/>
                  <a:gd name="T12" fmla="*/ 5 w 38"/>
                  <a:gd name="T13" fmla="*/ 5 h 38"/>
                  <a:gd name="T14" fmla="*/ 1 w 38"/>
                  <a:gd name="T15" fmla="*/ 12 h 38"/>
                  <a:gd name="T16" fmla="*/ 0 w 38"/>
                  <a:gd name="T17" fmla="*/ 20 h 38"/>
                  <a:gd name="T18" fmla="*/ 1 w 38"/>
                  <a:gd name="T19" fmla="*/ 27 h 38"/>
                  <a:gd name="T20" fmla="*/ 5 w 38"/>
                  <a:gd name="T21" fmla="*/ 33 h 38"/>
                  <a:gd name="T22" fmla="*/ 12 w 38"/>
                  <a:gd name="T23" fmla="*/ 37 h 38"/>
                  <a:gd name="T24" fmla="*/ 19 w 38"/>
                  <a:gd name="T25" fmla="*/ 38 h 38"/>
                  <a:gd name="T26" fmla="*/ 26 w 38"/>
                  <a:gd name="T27" fmla="*/ 37 h 38"/>
                  <a:gd name="T28" fmla="*/ 33 w 38"/>
                  <a:gd name="T29" fmla="*/ 33 h 38"/>
                  <a:gd name="T30" fmla="*/ 37 w 38"/>
                  <a:gd name="T31" fmla="*/ 27 h 38"/>
                  <a:gd name="T32" fmla="*/ 38 w 38"/>
                  <a:gd name="T33" fmla="*/ 20 h 3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8"/>
                  <a:gd name="T52" fmla="*/ 0 h 38"/>
                  <a:gd name="T53" fmla="*/ 38 w 38"/>
                  <a:gd name="T54" fmla="*/ 38 h 3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8" h="38">
                    <a:moveTo>
                      <a:pt x="38" y="20"/>
                    </a:moveTo>
                    <a:lnTo>
                      <a:pt x="37" y="12"/>
                    </a:lnTo>
                    <a:lnTo>
                      <a:pt x="33" y="5"/>
                    </a:lnTo>
                    <a:lnTo>
                      <a:pt x="26" y="2"/>
                    </a:lnTo>
                    <a:lnTo>
                      <a:pt x="19" y="0"/>
                    </a:lnTo>
                    <a:lnTo>
                      <a:pt x="12" y="2"/>
                    </a:lnTo>
                    <a:lnTo>
                      <a:pt x="5" y="5"/>
                    </a:lnTo>
                    <a:lnTo>
                      <a:pt x="1" y="12"/>
                    </a:lnTo>
                    <a:lnTo>
                      <a:pt x="0" y="20"/>
                    </a:lnTo>
                    <a:lnTo>
                      <a:pt x="1" y="27"/>
                    </a:lnTo>
                    <a:lnTo>
                      <a:pt x="5" y="33"/>
                    </a:lnTo>
                    <a:lnTo>
                      <a:pt x="12" y="37"/>
                    </a:lnTo>
                    <a:lnTo>
                      <a:pt x="19" y="38"/>
                    </a:lnTo>
                    <a:lnTo>
                      <a:pt x="26" y="37"/>
                    </a:lnTo>
                    <a:lnTo>
                      <a:pt x="33" y="33"/>
                    </a:lnTo>
                    <a:lnTo>
                      <a:pt x="37" y="27"/>
                    </a:lnTo>
                    <a:lnTo>
                      <a:pt x="38" y="20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3" name="Freeform 185"/>
              <p:cNvSpPr>
                <a:spLocks/>
              </p:cNvSpPr>
              <p:nvPr/>
            </p:nvSpPr>
            <p:spPr bwMode="auto">
              <a:xfrm>
                <a:off x="4049" y="2827"/>
                <a:ext cx="35" cy="36"/>
              </a:xfrm>
              <a:custGeom>
                <a:avLst/>
                <a:gdLst>
                  <a:gd name="T0" fmla="*/ 35 w 35"/>
                  <a:gd name="T1" fmla="*/ 18 h 36"/>
                  <a:gd name="T2" fmla="*/ 34 w 35"/>
                  <a:gd name="T3" fmla="*/ 11 h 36"/>
                  <a:gd name="T4" fmla="*/ 30 w 35"/>
                  <a:gd name="T5" fmla="*/ 6 h 36"/>
                  <a:gd name="T6" fmla="*/ 24 w 35"/>
                  <a:gd name="T7" fmla="*/ 2 h 36"/>
                  <a:gd name="T8" fmla="*/ 17 w 35"/>
                  <a:gd name="T9" fmla="*/ 0 h 36"/>
                  <a:gd name="T10" fmla="*/ 10 w 35"/>
                  <a:gd name="T11" fmla="*/ 2 h 36"/>
                  <a:gd name="T12" fmla="*/ 4 w 35"/>
                  <a:gd name="T13" fmla="*/ 6 h 36"/>
                  <a:gd name="T14" fmla="*/ 1 w 35"/>
                  <a:gd name="T15" fmla="*/ 11 h 36"/>
                  <a:gd name="T16" fmla="*/ 0 w 35"/>
                  <a:gd name="T17" fmla="*/ 18 h 36"/>
                  <a:gd name="T18" fmla="*/ 1 w 35"/>
                  <a:gd name="T19" fmla="*/ 25 h 36"/>
                  <a:gd name="T20" fmla="*/ 4 w 35"/>
                  <a:gd name="T21" fmla="*/ 31 h 36"/>
                  <a:gd name="T22" fmla="*/ 10 w 35"/>
                  <a:gd name="T23" fmla="*/ 34 h 36"/>
                  <a:gd name="T24" fmla="*/ 17 w 35"/>
                  <a:gd name="T25" fmla="*/ 36 h 36"/>
                  <a:gd name="T26" fmla="*/ 24 w 35"/>
                  <a:gd name="T27" fmla="*/ 34 h 36"/>
                  <a:gd name="T28" fmla="*/ 30 w 35"/>
                  <a:gd name="T29" fmla="*/ 31 h 36"/>
                  <a:gd name="T30" fmla="*/ 34 w 35"/>
                  <a:gd name="T31" fmla="*/ 25 h 36"/>
                  <a:gd name="T32" fmla="*/ 35 w 35"/>
                  <a:gd name="T33" fmla="*/ 18 h 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5"/>
                  <a:gd name="T52" fmla="*/ 0 h 36"/>
                  <a:gd name="T53" fmla="*/ 35 w 35"/>
                  <a:gd name="T54" fmla="*/ 36 h 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5" h="36">
                    <a:moveTo>
                      <a:pt x="35" y="18"/>
                    </a:moveTo>
                    <a:lnTo>
                      <a:pt x="34" y="11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7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1" y="11"/>
                    </a:lnTo>
                    <a:lnTo>
                      <a:pt x="0" y="18"/>
                    </a:lnTo>
                    <a:lnTo>
                      <a:pt x="1" y="25"/>
                    </a:lnTo>
                    <a:lnTo>
                      <a:pt x="4" y="31"/>
                    </a:lnTo>
                    <a:lnTo>
                      <a:pt x="10" y="34"/>
                    </a:lnTo>
                    <a:lnTo>
                      <a:pt x="17" y="36"/>
                    </a:lnTo>
                    <a:lnTo>
                      <a:pt x="24" y="34"/>
                    </a:lnTo>
                    <a:lnTo>
                      <a:pt x="30" y="31"/>
                    </a:lnTo>
                    <a:lnTo>
                      <a:pt x="34" y="25"/>
                    </a:lnTo>
                    <a:lnTo>
                      <a:pt x="35" y="18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4" name="Freeform 186"/>
              <p:cNvSpPr>
                <a:spLocks/>
              </p:cNvSpPr>
              <p:nvPr/>
            </p:nvSpPr>
            <p:spPr bwMode="auto">
              <a:xfrm>
                <a:off x="4049" y="2827"/>
                <a:ext cx="35" cy="36"/>
              </a:xfrm>
              <a:custGeom>
                <a:avLst/>
                <a:gdLst>
                  <a:gd name="T0" fmla="*/ 35 w 35"/>
                  <a:gd name="T1" fmla="*/ 18 h 36"/>
                  <a:gd name="T2" fmla="*/ 34 w 35"/>
                  <a:gd name="T3" fmla="*/ 11 h 36"/>
                  <a:gd name="T4" fmla="*/ 30 w 35"/>
                  <a:gd name="T5" fmla="*/ 6 h 36"/>
                  <a:gd name="T6" fmla="*/ 24 w 35"/>
                  <a:gd name="T7" fmla="*/ 2 h 36"/>
                  <a:gd name="T8" fmla="*/ 17 w 35"/>
                  <a:gd name="T9" fmla="*/ 0 h 36"/>
                  <a:gd name="T10" fmla="*/ 10 w 35"/>
                  <a:gd name="T11" fmla="*/ 2 h 36"/>
                  <a:gd name="T12" fmla="*/ 4 w 35"/>
                  <a:gd name="T13" fmla="*/ 6 h 36"/>
                  <a:gd name="T14" fmla="*/ 1 w 35"/>
                  <a:gd name="T15" fmla="*/ 11 h 36"/>
                  <a:gd name="T16" fmla="*/ 0 w 35"/>
                  <a:gd name="T17" fmla="*/ 18 h 36"/>
                  <a:gd name="T18" fmla="*/ 1 w 35"/>
                  <a:gd name="T19" fmla="*/ 25 h 36"/>
                  <a:gd name="T20" fmla="*/ 4 w 35"/>
                  <a:gd name="T21" fmla="*/ 31 h 36"/>
                  <a:gd name="T22" fmla="*/ 10 w 35"/>
                  <a:gd name="T23" fmla="*/ 34 h 36"/>
                  <a:gd name="T24" fmla="*/ 17 w 35"/>
                  <a:gd name="T25" fmla="*/ 36 h 36"/>
                  <a:gd name="T26" fmla="*/ 24 w 35"/>
                  <a:gd name="T27" fmla="*/ 34 h 36"/>
                  <a:gd name="T28" fmla="*/ 30 w 35"/>
                  <a:gd name="T29" fmla="*/ 31 h 36"/>
                  <a:gd name="T30" fmla="*/ 34 w 35"/>
                  <a:gd name="T31" fmla="*/ 25 h 36"/>
                  <a:gd name="T32" fmla="*/ 35 w 35"/>
                  <a:gd name="T33" fmla="*/ 18 h 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5"/>
                  <a:gd name="T52" fmla="*/ 0 h 36"/>
                  <a:gd name="T53" fmla="*/ 35 w 35"/>
                  <a:gd name="T54" fmla="*/ 36 h 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5" h="36">
                    <a:moveTo>
                      <a:pt x="35" y="18"/>
                    </a:moveTo>
                    <a:lnTo>
                      <a:pt x="34" y="11"/>
                    </a:lnTo>
                    <a:lnTo>
                      <a:pt x="30" y="6"/>
                    </a:lnTo>
                    <a:lnTo>
                      <a:pt x="24" y="2"/>
                    </a:lnTo>
                    <a:lnTo>
                      <a:pt x="17" y="0"/>
                    </a:lnTo>
                    <a:lnTo>
                      <a:pt x="10" y="2"/>
                    </a:lnTo>
                    <a:lnTo>
                      <a:pt x="4" y="6"/>
                    </a:lnTo>
                    <a:lnTo>
                      <a:pt x="1" y="11"/>
                    </a:lnTo>
                    <a:lnTo>
                      <a:pt x="0" y="18"/>
                    </a:lnTo>
                    <a:lnTo>
                      <a:pt x="1" y="25"/>
                    </a:lnTo>
                    <a:lnTo>
                      <a:pt x="4" y="31"/>
                    </a:lnTo>
                    <a:lnTo>
                      <a:pt x="10" y="34"/>
                    </a:lnTo>
                    <a:lnTo>
                      <a:pt x="17" y="36"/>
                    </a:lnTo>
                    <a:lnTo>
                      <a:pt x="24" y="34"/>
                    </a:lnTo>
                    <a:lnTo>
                      <a:pt x="30" y="31"/>
                    </a:lnTo>
                    <a:lnTo>
                      <a:pt x="34" y="25"/>
                    </a:lnTo>
                    <a:lnTo>
                      <a:pt x="35" y="18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5" name="Freeform 187"/>
              <p:cNvSpPr>
                <a:spLocks/>
              </p:cNvSpPr>
              <p:nvPr/>
            </p:nvSpPr>
            <p:spPr bwMode="auto">
              <a:xfrm>
                <a:off x="3799" y="2674"/>
                <a:ext cx="34" cy="35"/>
              </a:xfrm>
              <a:custGeom>
                <a:avLst/>
                <a:gdLst>
                  <a:gd name="T0" fmla="*/ 34 w 34"/>
                  <a:gd name="T1" fmla="*/ 17 h 35"/>
                  <a:gd name="T2" fmla="*/ 33 w 34"/>
                  <a:gd name="T3" fmla="*/ 11 h 35"/>
                  <a:gd name="T4" fmla="*/ 29 w 34"/>
                  <a:gd name="T5" fmla="*/ 6 h 35"/>
                  <a:gd name="T6" fmla="*/ 23 w 34"/>
                  <a:gd name="T7" fmla="*/ 2 h 35"/>
                  <a:gd name="T8" fmla="*/ 17 w 34"/>
                  <a:gd name="T9" fmla="*/ 0 h 35"/>
                  <a:gd name="T10" fmla="*/ 10 w 34"/>
                  <a:gd name="T11" fmla="*/ 2 h 35"/>
                  <a:gd name="T12" fmla="*/ 5 w 34"/>
                  <a:gd name="T13" fmla="*/ 6 h 35"/>
                  <a:gd name="T14" fmla="*/ 1 w 34"/>
                  <a:gd name="T15" fmla="*/ 11 h 35"/>
                  <a:gd name="T16" fmla="*/ 0 w 34"/>
                  <a:gd name="T17" fmla="*/ 17 h 35"/>
                  <a:gd name="T18" fmla="*/ 1 w 34"/>
                  <a:gd name="T19" fmla="*/ 24 h 35"/>
                  <a:gd name="T20" fmla="*/ 5 w 34"/>
                  <a:gd name="T21" fmla="*/ 30 h 35"/>
                  <a:gd name="T22" fmla="*/ 10 w 34"/>
                  <a:gd name="T23" fmla="*/ 33 h 35"/>
                  <a:gd name="T24" fmla="*/ 17 w 34"/>
                  <a:gd name="T25" fmla="*/ 35 h 35"/>
                  <a:gd name="T26" fmla="*/ 23 w 34"/>
                  <a:gd name="T27" fmla="*/ 33 h 35"/>
                  <a:gd name="T28" fmla="*/ 29 w 34"/>
                  <a:gd name="T29" fmla="*/ 30 h 35"/>
                  <a:gd name="T30" fmla="*/ 33 w 34"/>
                  <a:gd name="T31" fmla="*/ 24 h 35"/>
                  <a:gd name="T32" fmla="*/ 34 w 34"/>
                  <a:gd name="T33" fmla="*/ 17 h 3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35"/>
                  <a:gd name="T53" fmla="*/ 34 w 34"/>
                  <a:gd name="T54" fmla="*/ 35 h 3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35">
                    <a:moveTo>
                      <a:pt x="34" y="17"/>
                    </a:moveTo>
                    <a:lnTo>
                      <a:pt x="33" y="11"/>
                    </a:lnTo>
                    <a:lnTo>
                      <a:pt x="29" y="6"/>
                    </a:lnTo>
                    <a:lnTo>
                      <a:pt x="23" y="2"/>
                    </a:lnTo>
                    <a:lnTo>
                      <a:pt x="17" y="0"/>
                    </a:lnTo>
                    <a:lnTo>
                      <a:pt x="10" y="2"/>
                    </a:lnTo>
                    <a:lnTo>
                      <a:pt x="5" y="6"/>
                    </a:lnTo>
                    <a:lnTo>
                      <a:pt x="1" y="11"/>
                    </a:lnTo>
                    <a:lnTo>
                      <a:pt x="0" y="17"/>
                    </a:lnTo>
                    <a:lnTo>
                      <a:pt x="1" y="24"/>
                    </a:lnTo>
                    <a:lnTo>
                      <a:pt x="5" y="30"/>
                    </a:lnTo>
                    <a:lnTo>
                      <a:pt x="10" y="33"/>
                    </a:lnTo>
                    <a:lnTo>
                      <a:pt x="17" y="35"/>
                    </a:lnTo>
                    <a:lnTo>
                      <a:pt x="23" y="33"/>
                    </a:lnTo>
                    <a:lnTo>
                      <a:pt x="29" y="30"/>
                    </a:lnTo>
                    <a:lnTo>
                      <a:pt x="33" y="24"/>
                    </a:lnTo>
                    <a:lnTo>
                      <a:pt x="34" y="1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6" name="Freeform 188"/>
              <p:cNvSpPr>
                <a:spLocks/>
              </p:cNvSpPr>
              <p:nvPr/>
            </p:nvSpPr>
            <p:spPr bwMode="auto">
              <a:xfrm>
                <a:off x="3799" y="2674"/>
                <a:ext cx="34" cy="35"/>
              </a:xfrm>
              <a:custGeom>
                <a:avLst/>
                <a:gdLst>
                  <a:gd name="T0" fmla="*/ 34 w 34"/>
                  <a:gd name="T1" fmla="*/ 17 h 35"/>
                  <a:gd name="T2" fmla="*/ 33 w 34"/>
                  <a:gd name="T3" fmla="*/ 11 h 35"/>
                  <a:gd name="T4" fmla="*/ 29 w 34"/>
                  <a:gd name="T5" fmla="*/ 6 h 35"/>
                  <a:gd name="T6" fmla="*/ 23 w 34"/>
                  <a:gd name="T7" fmla="*/ 2 h 35"/>
                  <a:gd name="T8" fmla="*/ 17 w 34"/>
                  <a:gd name="T9" fmla="*/ 0 h 35"/>
                  <a:gd name="T10" fmla="*/ 10 w 34"/>
                  <a:gd name="T11" fmla="*/ 2 h 35"/>
                  <a:gd name="T12" fmla="*/ 5 w 34"/>
                  <a:gd name="T13" fmla="*/ 6 h 35"/>
                  <a:gd name="T14" fmla="*/ 1 w 34"/>
                  <a:gd name="T15" fmla="*/ 11 h 35"/>
                  <a:gd name="T16" fmla="*/ 0 w 34"/>
                  <a:gd name="T17" fmla="*/ 17 h 35"/>
                  <a:gd name="T18" fmla="*/ 1 w 34"/>
                  <a:gd name="T19" fmla="*/ 24 h 35"/>
                  <a:gd name="T20" fmla="*/ 5 w 34"/>
                  <a:gd name="T21" fmla="*/ 30 h 35"/>
                  <a:gd name="T22" fmla="*/ 10 w 34"/>
                  <a:gd name="T23" fmla="*/ 33 h 35"/>
                  <a:gd name="T24" fmla="*/ 17 w 34"/>
                  <a:gd name="T25" fmla="*/ 35 h 35"/>
                  <a:gd name="T26" fmla="*/ 23 w 34"/>
                  <a:gd name="T27" fmla="*/ 33 h 35"/>
                  <a:gd name="T28" fmla="*/ 29 w 34"/>
                  <a:gd name="T29" fmla="*/ 30 h 35"/>
                  <a:gd name="T30" fmla="*/ 33 w 34"/>
                  <a:gd name="T31" fmla="*/ 24 h 35"/>
                  <a:gd name="T32" fmla="*/ 34 w 34"/>
                  <a:gd name="T33" fmla="*/ 17 h 3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4"/>
                  <a:gd name="T52" fmla="*/ 0 h 35"/>
                  <a:gd name="T53" fmla="*/ 34 w 34"/>
                  <a:gd name="T54" fmla="*/ 35 h 3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4" h="35">
                    <a:moveTo>
                      <a:pt x="34" y="17"/>
                    </a:moveTo>
                    <a:lnTo>
                      <a:pt x="33" y="11"/>
                    </a:lnTo>
                    <a:lnTo>
                      <a:pt x="29" y="6"/>
                    </a:lnTo>
                    <a:lnTo>
                      <a:pt x="23" y="2"/>
                    </a:lnTo>
                    <a:lnTo>
                      <a:pt x="17" y="0"/>
                    </a:lnTo>
                    <a:lnTo>
                      <a:pt x="10" y="2"/>
                    </a:lnTo>
                    <a:lnTo>
                      <a:pt x="5" y="6"/>
                    </a:lnTo>
                    <a:lnTo>
                      <a:pt x="1" y="11"/>
                    </a:lnTo>
                    <a:lnTo>
                      <a:pt x="0" y="17"/>
                    </a:lnTo>
                    <a:lnTo>
                      <a:pt x="1" y="24"/>
                    </a:lnTo>
                    <a:lnTo>
                      <a:pt x="5" y="30"/>
                    </a:lnTo>
                    <a:lnTo>
                      <a:pt x="10" y="33"/>
                    </a:lnTo>
                    <a:lnTo>
                      <a:pt x="17" y="35"/>
                    </a:lnTo>
                    <a:lnTo>
                      <a:pt x="23" y="33"/>
                    </a:lnTo>
                    <a:lnTo>
                      <a:pt x="29" y="30"/>
                    </a:lnTo>
                    <a:lnTo>
                      <a:pt x="33" y="24"/>
                    </a:lnTo>
                    <a:lnTo>
                      <a:pt x="34" y="1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7" name="Freeform 189"/>
              <p:cNvSpPr>
                <a:spLocks/>
              </p:cNvSpPr>
              <p:nvPr/>
            </p:nvSpPr>
            <p:spPr bwMode="auto">
              <a:xfrm>
                <a:off x="4781" y="1162"/>
                <a:ext cx="33" cy="33"/>
              </a:xfrm>
              <a:custGeom>
                <a:avLst/>
                <a:gdLst>
                  <a:gd name="T0" fmla="*/ 33 w 33"/>
                  <a:gd name="T1" fmla="*/ 16 h 33"/>
                  <a:gd name="T2" fmla="*/ 31 w 33"/>
                  <a:gd name="T3" fmla="*/ 8 h 33"/>
                  <a:gd name="T4" fmla="*/ 24 w 33"/>
                  <a:gd name="T5" fmla="*/ 2 h 33"/>
                  <a:gd name="T6" fmla="*/ 17 w 33"/>
                  <a:gd name="T7" fmla="*/ 0 h 33"/>
                  <a:gd name="T8" fmla="*/ 10 w 33"/>
                  <a:gd name="T9" fmla="*/ 1 h 33"/>
                  <a:gd name="T10" fmla="*/ 5 w 33"/>
                  <a:gd name="T11" fmla="*/ 4 h 33"/>
                  <a:gd name="T12" fmla="*/ 2 w 33"/>
                  <a:gd name="T13" fmla="*/ 10 h 33"/>
                  <a:gd name="T14" fmla="*/ 0 w 33"/>
                  <a:gd name="T15" fmla="*/ 16 h 33"/>
                  <a:gd name="T16" fmla="*/ 2 w 33"/>
                  <a:gd name="T17" fmla="*/ 22 h 33"/>
                  <a:gd name="T18" fmla="*/ 5 w 33"/>
                  <a:gd name="T19" fmla="*/ 28 h 33"/>
                  <a:gd name="T20" fmla="*/ 10 w 33"/>
                  <a:gd name="T21" fmla="*/ 31 h 33"/>
                  <a:gd name="T22" fmla="*/ 17 w 33"/>
                  <a:gd name="T23" fmla="*/ 33 h 33"/>
                  <a:gd name="T24" fmla="*/ 23 w 33"/>
                  <a:gd name="T25" fmla="*/ 31 h 33"/>
                  <a:gd name="T26" fmla="*/ 28 w 33"/>
                  <a:gd name="T27" fmla="*/ 28 h 33"/>
                  <a:gd name="T28" fmla="*/ 31 w 33"/>
                  <a:gd name="T29" fmla="*/ 22 h 33"/>
                  <a:gd name="T30" fmla="*/ 33 w 33"/>
                  <a:gd name="T31" fmla="*/ 16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3"/>
                  <a:gd name="T49" fmla="*/ 0 h 33"/>
                  <a:gd name="T50" fmla="*/ 33 w 33"/>
                  <a:gd name="T51" fmla="*/ 33 h 3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3" h="33">
                    <a:moveTo>
                      <a:pt x="33" y="16"/>
                    </a:moveTo>
                    <a:lnTo>
                      <a:pt x="31" y="8"/>
                    </a:lnTo>
                    <a:lnTo>
                      <a:pt x="24" y="2"/>
                    </a:lnTo>
                    <a:lnTo>
                      <a:pt x="17" y="0"/>
                    </a:lnTo>
                    <a:lnTo>
                      <a:pt x="10" y="1"/>
                    </a:lnTo>
                    <a:lnTo>
                      <a:pt x="5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5" y="28"/>
                    </a:lnTo>
                    <a:lnTo>
                      <a:pt x="10" y="31"/>
                    </a:lnTo>
                    <a:lnTo>
                      <a:pt x="17" y="33"/>
                    </a:lnTo>
                    <a:lnTo>
                      <a:pt x="23" y="31"/>
                    </a:lnTo>
                    <a:lnTo>
                      <a:pt x="28" y="28"/>
                    </a:lnTo>
                    <a:lnTo>
                      <a:pt x="31" y="22"/>
                    </a:lnTo>
                    <a:lnTo>
                      <a:pt x="33" y="1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8" name="Freeform 190"/>
              <p:cNvSpPr>
                <a:spLocks/>
              </p:cNvSpPr>
              <p:nvPr/>
            </p:nvSpPr>
            <p:spPr bwMode="auto">
              <a:xfrm>
                <a:off x="4781" y="1162"/>
                <a:ext cx="33" cy="33"/>
              </a:xfrm>
              <a:custGeom>
                <a:avLst/>
                <a:gdLst>
                  <a:gd name="T0" fmla="*/ 33 w 33"/>
                  <a:gd name="T1" fmla="*/ 16 h 33"/>
                  <a:gd name="T2" fmla="*/ 31 w 33"/>
                  <a:gd name="T3" fmla="*/ 8 h 33"/>
                  <a:gd name="T4" fmla="*/ 24 w 33"/>
                  <a:gd name="T5" fmla="*/ 2 h 33"/>
                  <a:gd name="T6" fmla="*/ 17 w 33"/>
                  <a:gd name="T7" fmla="*/ 0 h 33"/>
                  <a:gd name="T8" fmla="*/ 10 w 33"/>
                  <a:gd name="T9" fmla="*/ 1 h 33"/>
                  <a:gd name="T10" fmla="*/ 5 w 33"/>
                  <a:gd name="T11" fmla="*/ 4 h 33"/>
                  <a:gd name="T12" fmla="*/ 2 w 33"/>
                  <a:gd name="T13" fmla="*/ 10 h 33"/>
                  <a:gd name="T14" fmla="*/ 0 w 33"/>
                  <a:gd name="T15" fmla="*/ 16 h 33"/>
                  <a:gd name="T16" fmla="*/ 2 w 33"/>
                  <a:gd name="T17" fmla="*/ 22 h 33"/>
                  <a:gd name="T18" fmla="*/ 5 w 33"/>
                  <a:gd name="T19" fmla="*/ 28 h 33"/>
                  <a:gd name="T20" fmla="*/ 10 w 33"/>
                  <a:gd name="T21" fmla="*/ 31 h 33"/>
                  <a:gd name="T22" fmla="*/ 17 w 33"/>
                  <a:gd name="T23" fmla="*/ 33 h 33"/>
                  <a:gd name="T24" fmla="*/ 23 w 33"/>
                  <a:gd name="T25" fmla="*/ 31 h 33"/>
                  <a:gd name="T26" fmla="*/ 28 w 33"/>
                  <a:gd name="T27" fmla="*/ 28 h 33"/>
                  <a:gd name="T28" fmla="*/ 31 w 33"/>
                  <a:gd name="T29" fmla="*/ 22 h 33"/>
                  <a:gd name="T30" fmla="*/ 33 w 33"/>
                  <a:gd name="T31" fmla="*/ 16 h 3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3"/>
                  <a:gd name="T49" fmla="*/ 0 h 33"/>
                  <a:gd name="T50" fmla="*/ 33 w 33"/>
                  <a:gd name="T51" fmla="*/ 33 h 3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3" h="33">
                    <a:moveTo>
                      <a:pt x="33" y="16"/>
                    </a:moveTo>
                    <a:lnTo>
                      <a:pt x="31" y="8"/>
                    </a:lnTo>
                    <a:lnTo>
                      <a:pt x="24" y="2"/>
                    </a:lnTo>
                    <a:lnTo>
                      <a:pt x="17" y="0"/>
                    </a:lnTo>
                    <a:lnTo>
                      <a:pt x="10" y="1"/>
                    </a:lnTo>
                    <a:lnTo>
                      <a:pt x="5" y="4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5" y="28"/>
                    </a:lnTo>
                    <a:lnTo>
                      <a:pt x="10" y="31"/>
                    </a:lnTo>
                    <a:lnTo>
                      <a:pt x="17" y="33"/>
                    </a:lnTo>
                    <a:lnTo>
                      <a:pt x="23" y="31"/>
                    </a:lnTo>
                    <a:lnTo>
                      <a:pt x="28" y="28"/>
                    </a:lnTo>
                    <a:lnTo>
                      <a:pt x="31" y="22"/>
                    </a:lnTo>
                    <a:lnTo>
                      <a:pt x="33" y="1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39" name="Freeform 191"/>
              <p:cNvSpPr>
                <a:spLocks/>
              </p:cNvSpPr>
              <p:nvPr/>
            </p:nvSpPr>
            <p:spPr bwMode="auto">
              <a:xfrm>
                <a:off x="4892" y="1651"/>
                <a:ext cx="33" cy="33"/>
              </a:xfrm>
              <a:custGeom>
                <a:avLst/>
                <a:gdLst>
                  <a:gd name="T0" fmla="*/ 33 w 33"/>
                  <a:gd name="T1" fmla="*/ 17 h 33"/>
                  <a:gd name="T2" fmla="*/ 30 w 33"/>
                  <a:gd name="T3" fmla="*/ 9 h 33"/>
                  <a:gd name="T4" fmla="*/ 24 w 33"/>
                  <a:gd name="T5" fmla="*/ 2 h 33"/>
                  <a:gd name="T6" fmla="*/ 16 w 33"/>
                  <a:gd name="T7" fmla="*/ 0 h 33"/>
                  <a:gd name="T8" fmla="*/ 8 w 33"/>
                  <a:gd name="T9" fmla="*/ 2 h 33"/>
                  <a:gd name="T10" fmla="*/ 2 w 33"/>
                  <a:gd name="T11" fmla="*/ 9 h 33"/>
                  <a:gd name="T12" fmla="*/ 0 w 33"/>
                  <a:gd name="T13" fmla="*/ 17 h 33"/>
                  <a:gd name="T14" fmla="*/ 1 w 33"/>
                  <a:gd name="T15" fmla="*/ 23 h 33"/>
                  <a:gd name="T16" fmla="*/ 5 w 33"/>
                  <a:gd name="T17" fmla="*/ 28 h 33"/>
                  <a:gd name="T18" fmla="*/ 10 w 33"/>
                  <a:gd name="T19" fmla="*/ 32 h 33"/>
                  <a:gd name="T20" fmla="*/ 16 w 33"/>
                  <a:gd name="T21" fmla="*/ 33 h 33"/>
                  <a:gd name="T22" fmla="*/ 23 w 33"/>
                  <a:gd name="T23" fmla="*/ 32 h 33"/>
                  <a:gd name="T24" fmla="*/ 28 w 33"/>
                  <a:gd name="T25" fmla="*/ 28 h 33"/>
                  <a:gd name="T26" fmla="*/ 31 w 33"/>
                  <a:gd name="T27" fmla="*/ 23 h 33"/>
                  <a:gd name="T28" fmla="*/ 33 w 33"/>
                  <a:gd name="T29" fmla="*/ 17 h 3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3"/>
                  <a:gd name="T46" fmla="*/ 0 h 33"/>
                  <a:gd name="T47" fmla="*/ 33 w 33"/>
                  <a:gd name="T48" fmla="*/ 33 h 3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3" h="33">
                    <a:moveTo>
                      <a:pt x="33" y="17"/>
                    </a:moveTo>
                    <a:lnTo>
                      <a:pt x="30" y="9"/>
                    </a:lnTo>
                    <a:lnTo>
                      <a:pt x="24" y="2"/>
                    </a:lnTo>
                    <a:lnTo>
                      <a:pt x="16" y="0"/>
                    </a:lnTo>
                    <a:lnTo>
                      <a:pt x="8" y="2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1" y="23"/>
                    </a:lnTo>
                    <a:lnTo>
                      <a:pt x="5" y="28"/>
                    </a:lnTo>
                    <a:lnTo>
                      <a:pt x="10" y="32"/>
                    </a:lnTo>
                    <a:lnTo>
                      <a:pt x="16" y="33"/>
                    </a:lnTo>
                    <a:lnTo>
                      <a:pt x="23" y="32"/>
                    </a:lnTo>
                    <a:lnTo>
                      <a:pt x="28" y="28"/>
                    </a:lnTo>
                    <a:lnTo>
                      <a:pt x="31" y="23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0" name="Freeform 192"/>
              <p:cNvSpPr>
                <a:spLocks/>
              </p:cNvSpPr>
              <p:nvPr/>
            </p:nvSpPr>
            <p:spPr bwMode="auto">
              <a:xfrm>
                <a:off x="4892" y="1651"/>
                <a:ext cx="33" cy="33"/>
              </a:xfrm>
              <a:custGeom>
                <a:avLst/>
                <a:gdLst>
                  <a:gd name="T0" fmla="*/ 33 w 33"/>
                  <a:gd name="T1" fmla="*/ 17 h 33"/>
                  <a:gd name="T2" fmla="*/ 30 w 33"/>
                  <a:gd name="T3" fmla="*/ 9 h 33"/>
                  <a:gd name="T4" fmla="*/ 24 w 33"/>
                  <a:gd name="T5" fmla="*/ 2 h 33"/>
                  <a:gd name="T6" fmla="*/ 16 w 33"/>
                  <a:gd name="T7" fmla="*/ 0 h 33"/>
                  <a:gd name="T8" fmla="*/ 8 w 33"/>
                  <a:gd name="T9" fmla="*/ 2 h 33"/>
                  <a:gd name="T10" fmla="*/ 2 w 33"/>
                  <a:gd name="T11" fmla="*/ 9 h 33"/>
                  <a:gd name="T12" fmla="*/ 0 w 33"/>
                  <a:gd name="T13" fmla="*/ 17 h 33"/>
                  <a:gd name="T14" fmla="*/ 1 w 33"/>
                  <a:gd name="T15" fmla="*/ 23 h 33"/>
                  <a:gd name="T16" fmla="*/ 5 w 33"/>
                  <a:gd name="T17" fmla="*/ 28 h 33"/>
                  <a:gd name="T18" fmla="*/ 10 w 33"/>
                  <a:gd name="T19" fmla="*/ 32 h 33"/>
                  <a:gd name="T20" fmla="*/ 16 w 33"/>
                  <a:gd name="T21" fmla="*/ 33 h 33"/>
                  <a:gd name="T22" fmla="*/ 23 w 33"/>
                  <a:gd name="T23" fmla="*/ 32 h 33"/>
                  <a:gd name="T24" fmla="*/ 28 w 33"/>
                  <a:gd name="T25" fmla="*/ 28 h 33"/>
                  <a:gd name="T26" fmla="*/ 31 w 33"/>
                  <a:gd name="T27" fmla="*/ 23 h 33"/>
                  <a:gd name="T28" fmla="*/ 33 w 33"/>
                  <a:gd name="T29" fmla="*/ 17 h 3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3"/>
                  <a:gd name="T46" fmla="*/ 0 h 33"/>
                  <a:gd name="T47" fmla="*/ 33 w 33"/>
                  <a:gd name="T48" fmla="*/ 33 h 3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3" h="33">
                    <a:moveTo>
                      <a:pt x="33" y="17"/>
                    </a:moveTo>
                    <a:lnTo>
                      <a:pt x="30" y="9"/>
                    </a:lnTo>
                    <a:lnTo>
                      <a:pt x="24" y="2"/>
                    </a:lnTo>
                    <a:lnTo>
                      <a:pt x="16" y="0"/>
                    </a:lnTo>
                    <a:lnTo>
                      <a:pt x="8" y="2"/>
                    </a:lnTo>
                    <a:lnTo>
                      <a:pt x="2" y="9"/>
                    </a:lnTo>
                    <a:lnTo>
                      <a:pt x="0" y="17"/>
                    </a:lnTo>
                    <a:lnTo>
                      <a:pt x="1" y="23"/>
                    </a:lnTo>
                    <a:lnTo>
                      <a:pt x="5" y="28"/>
                    </a:lnTo>
                    <a:lnTo>
                      <a:pt x="10" y="32"/>
                    </a:lnTo>
                    <a:lnTo>
                      <a:pt x="16" y="33"/>
                    </a:lnTo>
                    <a:lnTo>
                      <a:pt x="23" y="32"/>
                    </a:lnTo>
                    <a:lnTo>
                      <a:pt x="28" y="28"/>
                    </a:lnTo>
                    <a:lnTo>
                      <a:pt x="31" y="23"/>
                    </a:lnTo>
                    <a:lnTo>
                      <a:pt x="33" y="1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1" name="Freeform 193"/>
              <p:cNvSpPr>
                <a:spLocks/>
              </p:cNvSpPr>
              <p:nvPr/>
            </p:nvSpPr>
            <p:spPr bwMode="auto">
              <a:xfrm>
                <a:off x="3716" y="2689"/>
                <a:ext cx="33" cy="32"/>
              </a:xfrm>
              <a:custGeom>
                <a:avLst/>
                <a:gdLst>
                  <a:gd name="T0" fmla="*/ 33 w 33"/>
                  <a:gd name="T1" fmla="*/ 17 h 32"/>
                  <a:gd name="T2" fmla="*/ 32 w 33"/>
                  <a:gd name="T3" fmla="*/ 10 h 32"/>
                  <a:gd name="T4" fmla="*/ 29 w 33"/>
                  <a:gd name="T5" fmla="*/ 5 h 32"/>
                  <a:gd name="T6" fmla="*/ 23 w 33"/>
                  <a:gd name="T7" fmla="*/ 2 h 32"/>
                  <a:gd name="T8" fmla="*/ 17 w 33"/>
                  <a:gd name="T9" fmla="*/ 0 h 32"/>
                  <a:gd name="T10" fmla="*/ 11 w 33"/>
                  <a:gd name="T11" fmla="*/ 2 h 32"/>
                  <a:gd name="T12" fmla="*/ 5 w 33"/>
                  <a:gd name="T13" fmla="*/ 5 h 32"/>
                  <a:gd name="T14" fmla="*/ 2 w 33"/>
                  <a:gd name="T15" fmla="*/ 10 h 32"/>
                  <a:gd name="T16" fmla="*/ 0 w 33"/>
                  <a:gd name="T17" fmla="*/ 17 h 32"/>
                  <a:gd name="T18" fmla="*/ 2 w 33"/>
                  <a:gd name="T19" fmla="*/ 23 h 32"/>
                  <a:gd name="T20" fmla="*/ 5 w 33"/>
                  <a:gd name="T21" fmla="*/ 28 h 32"/>
                  <a:gd name="T22" fmla="*/ 11 w 33"/>
                  <a:gd name="T23" fmla="*/ 31 h 32"/>
                  <a:gd name="T24" fmla="*/ 17 w 33"/>
                  <a:gd name="T25" fmla="*/ 32 h 32"/>
                  <a:gd name="T26" fmla="*/ 23 w 33"/>
                  <a:gd name="T27" fmla="*/ 31 h 32"/>
                  <a:gd name="T28" fmla="*/ 29 w 33"/>
                  <a:gd name="T29" fmla="*/ 28 h 32"/>
                  <a:gd name="T30" fmla="*/ 32 w 33"/>
                  <a:gd name="T31" fmla="*/ 23 h 32"/>
                  <a:gd name="T32" fmla="*/ 33 w 33"/>
                  <a:gd name="T33" fmla="*/ 17 h 3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3"/>
                  <a:gd name="T52" fmla="*/ 0 h 32"/>
                  <a:gd name="T53" fmla="*/ 33 w 33"/>
                  <a:gd name="T54" fmla="*/ 32 h 3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3" h="32">
                    <a:moveTo>
                      <a:pt x="33" y="17"/>
                    </a:moveTo>
                    <a:lnTo>
                      <a:pt x="32" y="10"/>
                    </a:lnTo>
                    <a:lnTo>
                      <a:pt x="29" y="5"/>
                    </a:lnTo>
                    <a:lnTo>
                      <a:pt x="23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5" y="5"/>
                    </a:lnTo>
                    <a:lnTo>
                      <a:pt x="2" y="10"/>
                    </a:lnTo>
                    <a:lnTo>
                      <a:pt x="0" y="17"/>
                    </a:lnTo>
                    <a:lnTo>
                      <a:pt x="2" y="23"/>
                    </a:lnTo>
                    <a:lnTo>
                      <a:pt x="5" y="28"/>
                    </a:lnTo>
                    <a:lnTo>
                      <a:pt x="11" y="31"/>
                    </a:lnTo>
                    <a:lnTo>
                      <a:pt x="17" y="32"/>
                    </a:lnTo>
                    <a:lnTo>
                      <a:pt x="23" y="31"/>
                    </a:lnTo>
                    <a:lnTo>
                      <a:pt x="29" y="28"/>
                    </a:lnTo>
                    <a:lnTo>
                      <a:pt x="32" y="23"/>
                    </a:lnTo>
                    <a:lnTo>
                      <a:pt x="33" y="1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2" name="Freeform 194"/>
              <p:cNvSpPr>
                <a:spLocks/>
              </p:cNvSpPr>
              <p:nvPr/>
            </p:nvSpPr>
            <p:spPr bwMode="auto">
              <a:xfrm>
                <a:off x="3716" y="2689"/>
                <a:ext cx="33" cy="32"/>
              </a:xfrm>
              <a:custGeom>
                <a:avLst/>
                <a:gdLst>
                  <a:gd name="T0" fmla="*/ 33 w 33"/>
                  <a:gd name="T1" fmla="*/ 17 h 32"/>
                  <a:gd name="T2" fmla="*/ 32 w 33"/>
                  <a:gd name="T3" fmla="*/ 10 h 32"/>
                  <a:gd name="T4" fmla="*/ 29 w 33"/>
                  <a:gd name="T5" fmla="*/ 5 h 32"/>
                  <a:gd name="T6" fmla="*/ 23 w 33"/>
                  <a:gd name="T7" fmla="*/ 2 h 32"/>
                  <a:gd name="T8" fmla="*/ 17 w 33"/>
                  <a:gd name="T9" fmla="*/ 0 h 32"/>
                  <a:gd name="T10" fmla="*/ 11 w 33"/>
                  <a:gd name="T11" fmla="*/ 2 h 32"/>
                  <a:gd name="T12" fmla="*/ 5 w 33"/>
                  <a:gd name="T13" fmla="*/ 5 h 32"/>
                  <a:gd name="T14" fmla="*/ 2 w 33"/>
                  <a:gd name="T15" fmla="*/ 10 h 32"/>
                  <a:gd name="T16" fmla="*/ 0 w 33"/>
                  <a:gd name="T17" fmla="*/ 17 h 32"/>
                  <a:gd name="T18" fmla="*/ 2 w 33"/>
                  <a:gd name="T19" fmla="*/ 23 h 32"/>
                  <a:gd name="T20" fmla="*/ 5 w 33"/>
                  <a:gd name="T21" fmla="*/ 28 h 32"/>
                  <a:gd name="T22" fmla="*/ 11 w 33"/>
                  <a:gd name="T23" fmla="*/ 31 h 32"/>
                  <a:gd name="T24" fmla="*/ 17 w 33"/>
                  <a:gd name="T25" fmla="*/ 32 h 32"/>
                  <a:gd name="T26" fmla="*/ 23 w 33"/>
                  <a:gd name="T27" fmla="*/ 31 h 32"/>
                  <a:gd name="T28" fmla="*/ 29 w 33"/>
                  <a:gd name="T29" fmla="*/ 28 h 32"/>
                  <a:gd name="T30" fmla="*/ 32 w 33"/>
                  <a:gd name="T31" fmla="*/ 23 h 32"/>
                  <a:gd name="T32" fmla="*/ 33 w 33"/>
                  <a:gd name="T33" fmla="*/ 17 h 32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3"/>
                  <a:gd name="T52" fmla="*/ 0 h 32"/>
                  <a:gd name="T53" fmla="*/ 33 w 33"/>
                  <a:gd name="T54" fmla="*/ 32 h 32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3" h="32">
                    <a:moveTo>
                      <a:pt x="33" y="17"/>
                    </a:moveTo>
                    <a:lnTo>
                      <a:pt x="32" y="10"/>
                    </a:lnTo>
                    <a:lnTo>
                      <a:pt x="29" y="5"/>
                    </a:lnTo>
                    <a:lnTo>
                      <a:pt x="23" y="2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5" y="5"/>
                    </a:lnTo>
                    <a:lnTo>
                      <a:pt x="2" y="10"/>
                    </a:lnTo>
                    <a:lnTo>
                      <a:pt x="0" y="17"/>
                    </a:lnTo>
                    <a:lnTo>
                      <a:pt x="2" y="23"/>
                    </a:lnTo>
                    <a:lnTo>
                      <a:pt x="5" y="28"/>
                    </a:lnTo>
                    <a:lnTo>
                      <a:pt x="11" y="31"/>
                    </a:lnTo>
                    <a:lnTo>
                      <a:pt x="17" y="32"/>
                    </a:lnTo>
                    <a:lnTo>
                      <a:pt x="23" y="31"/>
                    </a:lnTo>
                    <a:lnTo>
                      <a:pt x="29" y="28"/>
                    </a:lnTo>
                    <a:lnTo>
                      <a:pt x="32" y="23"/>
                    </a:lnTo>
                    <a:lnTo>
                      <a:pt x="33" y="1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3" name="Freeform 195"/>
              <p:cNvSpPr>
                <a:spLocks/>
              </p:cNvSpPr>
              <p:nvPr/>
            </p:nvSpPr>
            <p:spPr bwMode="auto">
              <a:xfrm>
                <a:off x="4451" y="2998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29 w 31"/>
                  <a:gd name="T3" fmla="*/ 8 h 31"/>
                  <a:gd name="T4" fmla="*/ 24 w 31"/>
                  <a:gd name="T5" fmla="*/ 2 h 31"/>
                  <a:gd name="T6" fmla="*/ 16 w 31"/>
                  <a:gd name="T7" fmla="*/ 0 h 31"/>
                  <a:gd name="T8" fmla="*/ 8 w 31"/>
                  <a:gd name="T9" fmla="*/ 2 h 31"/>
                  <a:gd name="T10" fmla="*/ 2 w 31"/>
                  <a:gd name="T11" fmla="*/ 8 h 31"/>
                  <a:gd name="T12" fmla="*/ 0 w 31"/>
                  <a:gd name="T13" fmla="*/ 16 h 31"/>
                  <a:gd name="T14" fmla="*/ 2 w 31"/>
                  <a:gd name="T15" fmla="*/ 23 h 31"/>
                  <a:gd name="T16" fmla="*/ 8 w 31"/>
                  <a:gd name="T17" fmla="*/ 29 h 31"/>
                  <a:gd name="T18" fmla="*/ 16 w 31"/>
                  <a:gd name="T19" fmla="*/ 31 h 31"/>
                  <a:gd name="T20" fmla="*/ 24 w 31"/>
                  <a:gd name="T21" fmla="*/ 29 h 31"/>
                  <a:gd name="T22" fmla="*/ 29 w 31"/>
                  <a:gd name="T23" fmla="*/ 23 h 31"/>
                  <a:gd name="T24" fmla="*/ 31 w 31"/>
                  <a:gd name="T25" fmla="*/ 16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1"/>
                  <a:gd name="T40" fmla="*/ 0 h 31"/>
                  <a:gd name="T41" fmla="*/ 31 w 31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1" h="31">
                    <a:moveTo>
                      <a:pt x="31" y="16"/>
                    </a:moveTo>
                    <a:lnTo>
                      <a:pt x="29" y="8"/>
                    </a:lnTo>
                    <a:lnTo>
                      <a:pt x="24" y="2"/>
                    </a:lnTo>
                    <a:lnTo>
                      <a:pt x="16" y="0"/>
                    </a:lnTo>
                    <a:lnTo>
                      <a:pt x="8" y="2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2" y="23"/>
                    </a:lnTo>
                    <a:lnTo>
                      <a:pt x="8" y="29"/>
                    </a:lnTo>
                    <a:lnTo>
                      <a:pt x="16" y="31"/>
                    </a:lnTo>
                    <a:lnTo>
                      <a:pt x="24" y="29"/>
                    </a:lnTo>
                    <a:lnTo>
                      <a:pt x="29" y="23"/>
                    </a:lnTo>
                    <a:lnTo>
                      <a:pt x="31" y="1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4" name="Freeform 196"/>
              <p:cNvSpPr>
                <a:spLocks/>
              </p:cNvSpPr>
              <p:nvPr/>
            </p:nvSpPr>
            <p:spPr bwMode="auto">
              <a:xfrm>
                <a:off x="4451" y="2998"/>
                <a:ext cx="31" cy="31"/>
              </a:xfrm>
              <a:custGeom>
                <a:avLst/>
                <a:gdLst>
                  <a:gd name="T0" fmla="*/ 31 w 31"/>
                  <a:gd name="T1" fmla="*/ 16 h 31"/>
                  <a:gd name="T2" fmla="*/ 29 w 31"/>
                  <a:gd name="T3" fmla="*/ 8 h 31"/>
                  <a:gd name="T4" fmla="*/ 24 w 31"/>
                  <a:gd name="T5" fmla="*/ 2 h 31"/>
                  <a:gd name="T6" fmla="*/ 16 w 31"/>
                  <a:gd name="T7" fmla="*/ 0 h 31"/>
                  <a:gd name="T8" fmla="*/ 8 w 31"/>
                  <a:gd name="T9" fmla="*/ 2 h 31"/>
                  <a:gd name="T10" fmla="*/ 2 w 31"/>
                  <a:gd name="T11" fmla="*/ 8 h 31"/>
                  <a:gd name="T12" fmla="*/ 0 w 31"/>
                  <a:gd name="T13" fmla="*/ 16 h 31"/>
                  <a:gd name="T14" fmla="*/ 2 w 31"/>
                  <a:gd name="T15" fmla="*/ 23 h 31"/>
                  <a:gd name="T16" fmla="*/ 8 w 31"/>
                  <a:gd name="T17" fmla="*/ 29 h 31"/>
                  <a:gd name="T18" fmla="*/ 16 w 31"/>
                  <a:gd name="T19" fmla="*/ 31 h 31"/>
                  <a:gd name="T20" fmla="*/ 24 w 31"/>
                  <a:gd name="T21" fmla="*/ 29 h 31"/>
                  <a:gd name="T22" fmla="*/ 29 w 31"/>
                  <a:gd name="T23" fmla="*/ 23 h 31"/>
                  <a:gd name="T24" fmla="*/ 31 w 31"/>
                  <a:gd name="T25" fmla="*/ 16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1"/>
                  <a:gd name="T40" fmla="*/ 0 h 31"/>
                  <a:gd name="T41" fmla="*/ 31 w 31"/>
                  <a:gd name="T42" fmla="*/ 31 h 3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1" h="31">
                    <a:moveTo>
                      <a:pt x="31" y="16"/>
                    </a:moveTo>
                    <a:lnTo>
                      <a:pt x="29" y="8"/>
                    </a:lnTo>
                    <a:lnTo>
                      <a:pt x="24" y="2"/>
                    </a:lnTo>
                    <a:lnTo>
                      <a:pt x="16" y="0"/>
                    </a:lnTo>
                    <a:lnTo>
                      <a:pt x="8" y="2"/>
                    </a:lnTo>
                    <a:lnTo>
                      <a:pt x="2" y="8"/>
                    </a:lnTo>
                    <a:lnTo>
                      <a:pt x="0" y="16"/>
                    </a:lnTo>
                    <a:lnTo>
                      <a:pt x="2" y="23"/>
                    </a:lnTo>
                    <a:lnTo>
                      <a:pt x="8" y="29"/>
                    </a:lnTo>
                    <a:lnTo>
                      <a:pt x="16" y="31"/>
                    </a:lnTo>
                    <a:lnTo>
                      <a:pt x="24" y="29"/>
                    </a:lnTo>
                    <a:lnTo>
                      <a:pt x="29" y="23"/>
                    </a:lnTo>
                    <a:lnTo>
                      <a:pt x="31" y="1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5" name="Freeform 197"/>
              <p:cNvSpPr>
                <a:spLocks/>
              </p:cNvSpPr>
              <p:nvPr/>
            </p:nvSpPr>
            <p:spPr bwMode="auto">
              <a:xfrm>
                <a:off x="4670" y="1093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29 w 32"/>
                  <a:gd name="T3" fmla="*/ 8 h 31"/>
                  <a:gd name="T4" fmla="*/ 24 w 32"/>
                  <a:gd name="T5" fmla="*/ 3 h 31"/>
                  <a:gd name="T6" fmla="*/ 16 w 32"/>
                  <a:gd name="T7" fmla="*/ 0 h 31"/>
                  <a:gd name="T8" fmla="*/ 8 w 32"/>
                  <a:gd name="T9" fmla="*/ 3 h 31"/>
                  <a:gd name="T10" fmla="*/ 3 w 32"/>
                  <a:gd name="T11" fmla="*/ 8 h 31"/>
                  <a:gd name="T12" fmla="*/ 0 w 32"/>
                  <a:gd name="T13" fmla="*/ 16 h 31"/>
                  <a:gd name="T14" fmla="*/ 2 w 32"/>
                  <a:gd name="T15" fmla="*/ 22 h 31"/>
                  <a:gd name="T16" fmla="*/ 5 w 32"/>
                  <a:gd name="T17" fmla="*/ 27 h 31"/>
                  <a:gd name="T18" fmla="*/ 10 w 32"/>
                  <a:gd name="T19" fmla="*/ 30 h 31"/>
                  <a:gd name="T20" fmla="*/ 16 w 32"/>
                  <a:gd name="T21" fmla="*/ 31 h 31"/>
                  <a:gd name="T22" fmla="*/ 22 w 32"/>
                  <a:gd name="T23" fmla="*/ 30 h 31"/>
                  <a:gd name="T24" fmla="*/ 27 w 32"/>
                  <a:gd name="T25" fmla="*/ 27 h 31"/>
                  <a:gd name="T26" fmla="*/ 30 w 32"/>
                  <a:gd name="T27" fmla="*/ 22 h 31"/>
                  <a:gd name="T28" fmla="*/ 32 w 32"/>
                  <a:gd name="T29" fmla="*/ 1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2"/>
                  <a:gd name="T46" fmla="*/ 0 h 31"/>
                  <a:gd name="T47" fmla="*/ 32 w 32"/>
                  <a:gd name="T48" fmla="*/ 31 h 3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2" h="31">
                    <a:moveTo>
                      <a:pt x="32" y="16"/>
                    </a:moveTo>
                    <a:lnTo>
                      <a:pt x="29" y="8"/>
                    </a:lnTo>
                    <a:lnTo>
                      <a:pt x="24" y="3"/>
                    </a:lnTo>
                    <a:lnTo>
                      <a:pt x="16" y="0"/>
                    </a:lnTo>
                    <a:lnTo>
                      <a:pt x="8" y="3"/>
                    </a:lnTo>
                    <a:lnTo>
                      <a:pt x="3" y="8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5" y="27"/>
                    </a:lnTo>
                    <a:lnTo>
                      <a:pt x="10" y="30"/>
                    </a:lnTo>
                    <a:lnTo>
                      <a:pt x="16" y="31"/>
                    </a:lnTo>
                    <a:lnTo>
                      <a:pt x="22" y="30"/>
                    </a:lnTo>
                    <a:lnTo>
                      <a:pt x="27" y="27"/>
                    </a:lnTo>
                    <a:lnTo>
                      <a:pt x="30" y="22"/>
                    </a:lnTo>
                    <a:lnTo>
                      <a:pt x="32" y="1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6" name="Freeform 198"/>
              <p:cNvSpPr>
                <a:spLocks/>
              </p:cNvSpPr>
              <p:nvPr/>
            </p:nvSpPr>
            <p:spPr bwMode="auto">
              <a:xfrm>
                <a:off x="4670" y="1093"/>
                <a:ext cx="32" cy="31"/>
              </a:xfrm>
              <a:custGeom>
                <a:avLst/>
                <a:gdLst>
                  <a:gd name="T0" fmla="*/ 32 w 32"/>
                  <a:gd name="T1" fmla="*/ 16 h 31"/>
                  <a:gd name="T2" fmla="*/ 29 w 32"/>
                  <a:gd name="T3" fmla="*/ 8 h 31"/>
                  <a:gd name="T4" fmla="*/ 24 w 32"/>
                  <a:gd name="T5" fmla="*/ 3 h 31"/>
                  <a:gd name="T6" fmla="*/ 16 w 32"/>
                  <a:gd name="T7" fmla="*/ 0 h 31"/>
                  <a:gd name="T8" fmla="*/ 8 w 32"/>
                  <a:gd name="T9" fmla="*/ 3 h 31"/>
                  <a:gd name="T10" fmla="*/ 3 w 32"/>
                  <a:gd name="T11" fmla="*/ 8 h 31"/>
                  <a:gd name="T12" fmla="*/ 0 w 32"/>
                  <a:gd name="T13" fmla="*/ 16 h 31"/>
                  <a:gd name="T14" fmla="*/ 2 w 32"/>
                  <a:gd name="T15" fmla="*/ 22 h 31"/>
                  <a:gd name="T16" fmla="*/ 5 w 32"/>
                  <a:gd name="T17" fmla="*/ 27 h 31"/>
                  <a:gd name="T18" fmla="*/ 10 w 32"/>
                  <a:gd name="T19" fmla="*/ 30 h 31"/>
                  <a:gd name="T20" fmla="*/ 16 w 32"/>
                  <a:gd name="T21" fmla="*/ 31 h 31"/>
                  <a:gd name="T22" fmla="*/ 22 w 32"/>
                  <a:gd name="T23" fmla="*/ 30 h 31"/>
                  <a:gd name="T24" fmla="*/ 27 w 32"/>
                  <a:gd name="T25" fmla="*/ 27 h 31"/>
                  <a:gd name="T26" fmla="*/ 30 w 32"/>
                  <a:gd name="T27" fmla="*/ 22 h 31"/>
                  <a:gd name="T28" fmla="*/ 32 w 32"/>
                  <a:gd name="T29" fmla="*/ 16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2"/>
                  <a:gd name="T46" fmla="*/ 0 h 31"/>
                  <a:gd name="T47" fmla="*/ 32 w 32"/>
                  <a:gd name="T48" fmla="*/ 31 h 3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2" h="31">
                    <a:moveTo>
                      <a:pt x="32" y="16"/>
                    </a:moveTo>
                    <a:lnTo>
                      <a:pt x="29" y="8"/>
                    </a:lnTo>
                    <a:lnTo>
                      <a:pt x="24" y="3"/>
                    </a:lnTo>
                    <a:lnTo>
                      <a:pt x="16" y="0"/>
                    </a:lnTo>
                    <a:lnTo>
                      <a:pt x="8" y="3"/>
                    </a:lnTo>
                    <a:lnTo>
                      <a:pt x="3" y="8"/>
                    </a:lnTo>
                    <a:lnTo>
                      <a:pt x="0" y="16"/>
                    </a:lnTo>
                    <a:lnTo>
                      <a:pt x="2" y="22"/>
                    </a:lnTo>
                    <a:lnTo>
                      <a:pt x="5" y="27"/>
                    </a:lnTo>
                    <a:lnTo>
                      <a:pt x="10" y="30"/>
                    </a:lnTo>
                    <a:lnTo>
                      <a:pt x="16" y="31"/>
                    </a:lnTo>
                    <a:lnTo>
                      <a:pt x="22" y="30"/>
                    </a:lnTo>
                    <a:lnTo>
                      <a:pt x="27" y="27"/>
                    </a:lnTo>
                    <a:lnTo>
                      <a:pt x="30" y="22"/>
                    </a:lnTo>
                    <a:lnTo>
                      <a:pt x="32" y="1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7" name="Freeform 199"/>
              <p:cNvSpPr>
                <a:spLocks/>
              </p:cNvSpPr>
              <p:nvPr/>
            </p:nvSpPr>
            <p:spPr bwMode="auto">
              <a:xfrm>
                <a:off x="4928" y="1250"/>
                <a:ext cx="30" cy="29"/>
              </a:xfrm>
              <a:custGeom>
                <a:avLst/>
                <a:gdLst>
                  <a:gd name="T0" fmla="*/ 30 w 30"/>
                  <a:gd name="T1" fmla="*/ 15 h 29"/>
                  <a:gd name="T2" fmla="*/ 27 w 30"/>
                  <a:gd name="T3" fmla="*/ 8 h 29"/>
                  <a:gd name="T4" fmla="*/ 22 w 30"/>
                  <a:gd name="T5" fmla="*/ 3 h 29"/>
                  <a:gd name="T6" fmla="*/ 15 w 30"/>
                  <a:gd name="T7" fmla="*/ 0 h 29"/>
                  <a:gd name="T8" fmla="*/ 8 w 30"/>
                  <a:gd name="T9" fmla="*/ 3 h 29"/>
                  <a:gd name="T10" fmla="*/ 2 w 30"/>
                  <a:gd name="T11" fmla="*/ 8 h 29"/>
                  <a:gd name="T12" fmla="*/ 0 w 30"/>
                  <a:gd name="T13" fmla="*/ 15 h 29"/>
                  <a:gd name="T14" fmla="*/ 2 w 30"/>
                  <a:gd name="T15" fmla="*/ 22 h 29"/>
                  <a:gd name="T16" fmla="*/ 8 w 30"/>
                  <a:gd name="T17" fmla="*/ 28 h 29"/>
                  <a:gd name="T18" fmla="*/ 15 w 30"/>
                  <a:gd name="T19" fmla="*/ 29 h 29"/>
                  <a:gd name="T20" fmla="*/ 22 w 30"/>
                  <a:gd name="T21" fmla="*/ 28 h 29"/>
                  <a:gd name="T22" fmla="*/ 27 w 30"/>
                  <a:gd name="T23" fmla="*/ 22 h 29"/>
                  <a:gd name="T24" fmla="*/ 30 w 30"/>
                  <a:gd name="T25" fmla="*/ 15 h 2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0"/>
                  <a:gd name="T40" fmla="*/ 0 h 29"/>
                  <a:gd name="T41" fmla="*/ 30 w 30"/>
                  <a:gd name="T42" fmla="*/ 29 h 2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0" h="29">
                    <a:moveTo>
                      <a:pt x="30" y="15"/>
                    </a:moveTo>
                    <a:lnTo>
                      <a:pt x="27" y="8"/>
                    </a:lnTo>
                    <a:lnTo>
                      <a:pt x="22" y="3"/>
                    </a:lnTo>
                    <a:lnTo>
                      <a:pt x="15" y="0"/>
                    </a:lnTo>
                    <a:lnTo>
                      <a:pt x="8" y="3"/>
                    </a:lnTo>
                    <a:lnTo>
                      <a:pt x="2" y="8"/>
                    </a:lnTo>
                    <a:lnTo>
                      <a:pt x="0" y="15"/>
                    </a:lnTo>
                    <a:lnTo>
                      <a:pt x="2" y="22"/>
                    </a:lnTo>
                    <a:lnTo>
                      <a:pt x="8" y="28"/>
                    </a:lnTo>
                    <a:lnTo>
                      <a:pt x="15" y="29"/>
                    </a:lnTo>
                    <a:lnTo>
                      <a:pt x="22" y="28"/>
                    </a:lnTo>
                    <a:lnTo>
                      <a:pt x="27" y="22"/>
                    </a:lnTo>
                    <a:lnTo>
                      <a:pt x="30" y="1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8" name="Freeform 200"/>
              <p:cNvSpPr>
                <a:spLocks/>
              </p:cNvSpPr>
              <p:nvPr/>
            </p:nvSpPr>
            <p:spPr bwMode="auto">
              <a:xfrm>
                <a:off x="4928" y="1250"/>
                <a:ext cx="30" cy="29"/>
              </a:xfrm>
              <a:custGeom>
                <a:avLst/>
                <a:gdLst>
                  <a:gd name="T0" fmla="*/ 30 w 30"/>
                  <a:gd name="T1" fmla="*/ 15 h 29"/>
                  <a:gd name="T2" fmla="*/ 27 w 30"/>
                  <a:gd name="T3" fmla="*/ 8 h 29"/>
                  <a:gd name="T4" fmla="*/ 22 w 30"/>
                  <a:gd name="T5" fmla="*/ 3 h 29"/>
                  <a:gd name="T6" fmla="*/ 15 w 30"/>
                  <a:gd name="T7" fmla="*/ 0 h 29"/>
                  <a:gd name="T8" fmla="*/ 8 w 30"/>
                  <a:gd name="T9" fmla="*/ 3 h 29"/>
                  <a:gd name="T10" fmla="*/ 2 w 30"/>
                  <a:gd name="T11" fmla="*/ 8 h 29"/>
                  <a:gd name="T12" fmla="*/ 0 w 30"/>
                  <a:gd name="T13" fmla="*/ 15 h 29"/>
                  <a:gd name="T14" fmla="*/ 2 w 30"/>
                  <a:gd name="T15" fmla="*/ 22 h 29"/>
                  <a:gd name="T16" fmla="*/ 8 w 30"/>
                  <a:gd name="T17" fmla="*/ 28 h 29"/>
                  <a:gd name="T18" fmla="*/ 15 w 30"/>
                  <a:gd name="T19" fmla="*/ 29 h 29"/>
                  <a:gd name="T20" fmla="*/ 22 w 30"/>
                  <a:gd name="T21" fmla="*/ 28 h 29"/>
                  <a:gd name="T22" fmla="*/ 27 w 30"/>
                  <a:gd name="T23" fmla="*/ 22 h 29"/>
                  <a:gd name="T24" fmla="*/ 30 w 30"/>
                  <a:gd name="T25" fmla="*/ 15 h 2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0"/>
                  <a:gd name="T40" fmla="*/ 0 h 29"/>
                  <a:gd name="T41" fmla="*/ 30 w 30"/>
                  <a:gd name="T42" fmla="*/ 29 h 2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0" h="29">
                    <a:moveTo>
                      <a:pt x="30" y="15"/>
                    </a:moveTo>
                    <a:lnTo>
                      <a:pt x="27" y="8"/>
                    </a:lnTo>
                    <a:lnTo>
                      <a:pt x="22" y="3"/>
                    </a:lnTo>
                    <a:lnTo>
                      <a:pt x="15" y="0"/>
                    </a:lnTo>
                    <a:lnTo>
                      <a:pt x="8" y="3"/>
                    </a:lnTo>
                    <a:lnTo>
                      <a:pt x="2" y="8"/>
                    </a:lnTo>
                    <a:lnTo>
                      <a:pt x="0" y="15"/>
                    </a:lnTo>
                    <a:lnTo>
                      <a:pt x="2" y="22"/>
                    </a:lnTo>
                    <a:lnTo>
                      <a:pt x="8" y="28"/>
                    </a:lnTo>
                    <a:lnTo>
                      <a:pt x="15" y="29"/>
                    </a:lnTo>
                    <a:lnTo>
                      <a:pt x="22" y="28"/>
                    </a:lnTo>
                    <a:lnTo>
                      <a:pt x="27" y="22"/>
                    </a:lnTo>
                    <a:lnTo>
                      <a:pt x="30" y="1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49" name="Freeform 201"/>
              <p:cNvSpPr>
                <a:spLocks/>
              </p:cNvSpPr>
              <p:nvPr/>
            </p:nvSpPr>
            <p:spPr bwMode="auto">
              <a:xfrm>
                <a:off x="4281" y="2900"/>
                <a:ext cx="29" cy="29"/>
              </a:xfrm>
              <a:custGeom>
                <a:avLst/>
                <a:gdLst>
                  <a:gd name="T0" fmla="*/ 29 w 29"/>
                  <a:gd name="T1" fmla="*/ 15 h 29"/>
                  <a:gd name="T2" fmla="*/ 27 w 29"/>
                  <a:gd name="T3" fmla="*/ 7 h 29"/>
                  <a:gd name="T4" fmla="*/ 22 w 29"/>
                  <a:gd name="T5" fmla="*/ 2 h 29"/>
                  <a:gd name="T6" fmla="*/ 14 w 29"/>
                  <a:gd name="T7" fmla="*/ 0 h 29"/>
                  <a:gd name="T8" fmla="*/ 7 w 29"/>
                  <a:gd name="T9" fmla="*/ 2 h 29"/>
                  <a:gd name="T10" fmla="*/ 2 w 29"/>
                  <a:gd name="T11" fmla="*/ 7 h 29"/>
                  <a:gd name="T12" fmla="*/ 0 w 29"/>
                  <a:gd name="T13" fmla="*/ 15 h 29"/>
                  <a:gd name="T14" fmla="*/ 2 w 29"/>
                  <a:gd name="T15" fmla="*/ 22 h 29"/>
                  <a:gd name="T16" fmla="*/ 7 w 29"/>
                  <a:gd name="T17" fmla="*/ 27 h 29"/>
                  <a:gd name="T18" fmla="*/ 14 w 29"/>
                  <a:gd name="T19" fmla="*/ 29 h 29"/>
                  <a:gd name="T20" fmla="*/ 22 w 29"/>
                  <a:gd name="T21" fmla="*/ 27 h 29"/>
                  <a:gd name="T22" fmla="*/ 27 w 29"/>
                  <a:gd name="T23" fmla="*/ 22 h 29"/>
                  <a:gd name="T24" fmla="*/ 29 w 29"/>
                  <a:gd name="T25" fmla="*/ 15 h 2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9"/>
                  <a:gd name="T40" fmla="*/ 0 h 29"/>
                  <a:gd name="T41" fmla="*/ 29 w 29"/>
                  <a:gd name="T42" fmla="*/ 29 h 2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9" h="29">
                    <a:moveTo>
                      <a:pt x="29" y="15"/>
                    </a:moveTo>
                    <a:lnTo>
                      <a:pt x="27" y="7"/>
                    </a:lnTo>
                    <a:lnTo>
                      <a:pt x="22" y="2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7"/>
                    </a:lnTo>
                    <a:lnTo>
                      <a:pt x="0" y="15"/>
                    </a:lnTo>
                    <a:lnTo>
                      <a:pt x="2" y="22"/>
                    </a:lnTo>
                    <a:lnTo>
                      <a:pt x="7" y="27"/>
                    </a:lnTo>
                    <a:lnTo>
                      <a:pt x="14" y="29"/>
                    </a:lnTo>
                    <a:lnTo>
                      <a:pt x="22" y="27"/>
                    </a:lnTo>
                    <a:lnTo>
                      <a:pt x="27" y="22"/>
                    </a:lnTo>
                    <a:lnTo>
                      <a:pt x="29" y="1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0" name="Freeform 202"/>
              <p:cNvSpPr>
                <a:spLocks/>
              </p:cNvSpPr>
              <p:nvPr/>
            </p:nvSpPr>
            <p:spPr bwMode="auto">
              <a:xfrm>
                <a:off x="4281" y="2900"/>
                <a:ext cx="29" cy="29"/>
              </a:xfrm>
              <a:custGeom>
                <a:avLst/>
                <a:gdLst>
                  <a:gd name="T0" fmla="*/ 29 w 29"/>
                  <a:gd name="T1" fmla="*/ 15 h 29"/>
                  <a:gd name="T2" fmla="*/ 27 w 29"/>
                  <a:gd name="T3" fmla="*/ 7 h 29"/>
                  <a:gd name="T4" fmla="*/ 22 w 29"/>
                  <a:gd name="T5" fmla="*/ 2 h 29"/>
                  <a:gd name="T6" fmla="*/ 14 w 29"/>
                  <a:gd name="T7" fmla="*/ 0 h 29"/>
                  <a:gd name="T8" fmla="*/ 7 w 29"/>
                  <a:gd name="T9" fmla="*/ 2 h 29"/>
                  <a:gd name="T10" fmla="*/ 2 w 29"/>
                  <a:gd name="T11" fmla="*/ 7 h 29"/>
                  <a:gd name="T12" fmla="*/ 0 w 29"/>
                  <a:gd name="T13" fmla="*/ 15 h 29"/>
                  <a:gd name="T14" fmla="*/ 2 w 29"/>
                  <a:gd name="T15" fmla="*/ 22 h 29"/>
                  <a:gd name="T16" fmla="*/ 7 w 29"/>
                  <a:gd name="T17" fmla="*/ 27 h 29"/>
                  <a:gd name="T18" fmla="*/ 14 w 29"/>
                  <a:gd name="T19" fmla="*/ 29 h 29"/>
                  <a:gd name="T20" fmla="*/ 22 w 29"/>
                  <a:gd name="T21" fmla="*/ 27 h 29"/>
                  <a:gd name="T22" fmla="*/ 27 w 29"/>
                  <a:gd name="T23" fmla="*/ 22 h 29"/>
                  <a:gd name="T24" fmla="*/ 29 w 29"/>
                  <a:gd name="T25" fmla="*/ 15 h 2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9"/>
                  <a:gd name="T40" fmla="*/ 0 h 29"/>
                  <a:gd name="T41" fmla="*/ 29 w 29"/>
                  <a:gd name="T42" fmla="*/ 29 h 2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9" h="29">
                    <a:moveTo>
                      <a:pt x="29" y="15"/>
                    </a:moveTo>
                    <a:lnTo>
                      <a:pt x="27" y="7"/>
                    </a:lnTo>
                    <a:lnTo>
                      <a:pt x="22" y="2"/>
                    </a:lnTo>
                    <a:lnTo>
                      <a:pt x="14" y="0"/>
                    </a:lnTo>
                    <a:lnTo>
                      <a:pt x="7" y="2"/>
                    </a:lnTo>
                    <a:lnTo>
                      <a:pt x="2" y="7"/>
                    </a:lnTo>
                    <a:lnTo>
                      <a:pt x="0" y="15"/>
                    </a:lnTo>
                    <a:lnTo>
                      <a:pt x="2" y="22"/>
                    </a:lnTo>
                    <a:lnTo>
                      <a:pt x="7" y="27"/>
                    </a:lnTo>
                    <a:lnTo>
                      <a:pt x="14" y="29"/>
                    </a:lnTo>
                    <a:lnTo>
                      <a:pt x="22" y="27"/>
                    </a:lnTo>
                    <a:lnTo>
                      <a:pt x="27" y="22"/>
                    </a:lnTo>
                    <a:lnTo>
                      <a:pt x="29" y="1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1" name="Freeform 203"/>
              <p:cNvSpPr>
                <a:spLocks/>
              </p:cNvSpPr>
              <p:nvPr/>
            </p:nvSpPr>
            <p:spPr bwMode="auto">
              <a:xfrm>
                <a:off x="4671" y="1180"/>
                <a:ext cx="28" cy="26"/>
              </a:xfrm>
              <a:custGeom>
                <a:avLst/>
                <a:gdLst>
                  <a:gd name="T0" fmla="*/ 28 w 28"/>
                  <a:gd name="T1" fmla="*/ 13 h 26"/>
                  <a:gd name="T2" fmla="*/ 26 w 28"/>
                  <a:gd name="T3" fmla="*/ 6 h 26"/>
                  <a:gd name="T4" fmla="*/ 20 w 28"/>
                  <a:gd name="T5" fmla="*/ 1 h 26"/>
                  <a:gd name="T6" fmla="*/ 14 w 28"/>
                  <a:gd name="T7" fmla="*/ 0 h 26"/>
                  <a:gd name="T8" fmla="*/ 7 w 28"/>
                  <a:gd name="T9" fmla="*/ 1 h 26"/>
                  <a:gd name="T10" fmla="*/ 2 w 28"/>
                  <a:gd name="T11" fmla="*/ 6 h 26"/>
                  <a:gd name="T12" fmla="*/ 0 w 28"/>
                  <a:gd name="T13" fmla="*/ 13 h 26"/>
                  <a:gd name="T14" fmla="*/ 2 w 28"/>
                  <a:gd name="T15" fmla="*/ 20 h 26"/>
                  <a:gd name="T16" fmla="*/ 7 w 28"/>
                  <a:gd name="T17" fmla="*/ 25 h 26"/>
                  <a:gd name="T18" fmla="*/ 14 w 28"/>
                  <a:gd name="T19" fmla="*/ 26 h 26"/>
                  <a:gd name="T20" fmla="*/ 20 w 28"/>
                  <a:gd name="T21" fmla="*/ 25 h 26"/>
                  <a:gd name="T22" fmla="*/ 26 w 28"/>
                  <a:gd name="T23" fmla="*/ 20 h 26"/>
                  <a:gd name="T24" fmla="*/ 28 w 28"/>
                  <a:gd name="T25" fmla="*/ 13 h 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8"/>
                  <a:gd name="T40" fmla="*/ 0 h 26"/>
                  <a:gd name="T41" fmla="*/ 28 w 28"/>
                  <a:gd name="T42" fmla="*/ 26 h 2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8" h="26">
                    <a:moveTo>
                      <a:pt x="28" y="13"/>
                    </a:moveTo>
                    <a:lnTo>
                      <a:pt x="26" y="6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7" y="1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2" y="20"/>
                    </a:lnTo>
                    <a:lnTo>
                      <a:pt x="7" y="25"/>
                    </a:lnTo>
                    <a:lnTo>
                      <a:pt x="14" y="26"/>
                    </a:lnTo>
                    <a:lnTo>
                      <a:pt x="20" y="25"/>
                    </a:lnTo>
                    <a:lnTo>
                      <a:pt x="26" y="20"/>
                    </a:lnTo>
                    <a:lnTo>
                      <a:pt x="28" y="1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2" name="Freeform 204"/>
              <p:cNvSpPr>
                <a:spLocks/>
              </p:cNvSpPr>
              <p:nvPr/>
            </p:nvSpPr>
            <p:spPr bwMode="auto">
              <a:xfrm>
                <a:off x="4671" y="1180"/>
                <a:ext cx="28" cy="26"/>
              </a:xfrm>
              <a:custGeom>
                <a:avLst/>
                <a:gdLst>
                  <a:gd name="T0" fmla="*/ 28 w 28"/>
                  <a:gd name="T1" fmla="*/ 13 h 26"/>
                  <a:gd name="T2" fmla="*/ 26 w 28"/>
                  <a:gd name="T3" fmla="*/ 6 h 26"/>
                  <a:gd name="T4" fmla="*/ 20 w 28"/>
                  <a:gd name="T5" fmla="*/ 1 h 26"/>
                  <a:gd name="T6" fmla="*/ 14 w 28"/>
                  <a:gd name="T7" fmla="*/ 0 h 26"/>
                  <a:gd name="T8" fmla="*/ 7 w 28"/>
                  <a:gd name="T9" fmla="*/ 1 h 26"/>
                  <a:gd name="T10" fmla="*/ 2 w 28"/>
                  <a:gd name="T11" fmla="*/ 6 h 26"/>
                  <a:gd name="T12" fmla="*/ 0 w 28"/>
                  <a:gd name="T13" fmla="*/ 13 h 26"/>
                  <a:gd name="T14" fmla="*/ 2 w 28"/>
                  <a:gd name="T15" fmla="*/ 20 h 26"/>
                  <a:gd name="T16" fmla="*/ 7 w 28"/>
                  <a:gd name="T17" fmla="*/ 25 h 26"/>
                  <a:gd name="T18" fmla="*/ 14 w 28"/>
                  <a:gd name="T19" fmla="*/ 26 h 26"/>
                  <a:gd name="T20" fmla="*/ 20 w 28"/>
                  <a:gd name="T21" fmla="*/ 25 h 26"/>
                  <a:gd name="T22" fmla="*/ 26 w 28"/>
                  <a:gd name="T23" fmla="*/ 20 h 26"/>
                  <a:gd name="T24" fmla="*/ 28 w 28"/>
                  <a:gd name="T25" fmla="*/ 13 h 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8"/>
                  <a:gd name="T40" fmla="*/ 0 h 26"/>
                  <a:gd name="T41" fmla="*/ 28 w 28"/>
                  <a:gd name="T42" fmla="*/ 26 h 2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8" h="26">
                    <a:moveTo>
                      <a:pt x="28" y="13"/>
                    </a:moveTo>
                    <a:lnTo>
                      <a:pt x="26" y="6"/>
                    </a:lnTo>
                    <a:lnTo>
                      <a:pt x="20" y="1"/>
                    </a:lnTo>
                    <a:lnTo>
                      <a:pt x="14" y="0"/>
                    </a:lnTo>
                    <a:lnTo>
                      <a:pt x="7" y="1"/>
                    </a:lnTo>
                    <a:lnTo>
                      <a:pt x="2" y="6"/>
                    </a:lnTo>
                    <a:lnTo>
                      <a:pt x="0" y="13"/>
                    </a:lnTo>
                    <a:lnTo>
                      <a:pt x="2" y="20"/>
                    </a:lnTo>
                    <a:lnTo>
                      <a:pt x="7" y="25"/>
                    </a:lnTo>
                    <a:lnTo>
                      <a:pt x="14" y="26"/>
                    </a:lnTo>
                    <a:lnTo>
                      <a:pt x="20" y="25"/>
                    </a:lnTo>
                    <a:lnTo>
                      <a:pt x="26" y="20"/>
                    </a:lnTo>
                    <a:lnTo>
                      <a:pt x="28" y="1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3" name="Freeform 205"/>
              <p:cNvSpPr>
                <a:spLocks/>
              </p:cNvSpPr>
              <p:nvPr/>
            </p:nvSpPr>
            <p:spPr bwMode="auto">
              <a:xfrm>
                <a:off x="5021" y="2805"/>
                <a:ext cx="26" cy="26"/>
              </a:xfrm>
              <a:custGeom>
                <a:avLst/>
                <a:gdLst>
                  <a:gd name="T0" fmla="*/ 26 w 26"/>
                  <a:gd name="T1" fmla="*/ 13 h 26"/>
                  <a:gd name="T2" fmla="*/ 25 w 26"/>
                  <a:gd name="T3" fmla="*/ 7 h 26"/>
                  <a:gd name="T4" fmla="*/ 19 w 26"/>
                  <a:gd name="T5" fmla="*/ 1 h 26"/>
                  <a:gd name="T6" fmla="*/ 13 w 26"/>
                  <a:gd name="T7" fmla="*/ 0 h 26"/>
                  <a:gd name="T8" fmla="*/ 6 w 26"/>
                  <a:gd name="T9" fmla="*/ 1 h 26"/>
                  <a:gd name="T10" fmla="*/ 1 w 26"/>
                  <a:gd name="T11" fmla="*/ 7 h 26"/>
                  <a:gd name="T12" fmla="*/ 0 w 26"/>
                  <a:gd name="T13" fmla="*/ 13 h 26"/>
                  <a:gd name="T14" fmla="*/ 1 w 26"/>
                  <a:gd name="T15" fmla="*/ 19 h 26"/>
                  <a:gd name="T16" fmla="*/ 6 w 26"/>
                  <a:gd name="T17" fmla="*/ 25 h 26"/>
                  <a:gd name="T18" fmla="*/ 13 w 26"/>
                  <a:gd name="T19" fmla="*/ 26 h 26"/>
                  <a:gd name="T20" fmla="*/ 19 w 26"/>
                  <a:gd name="T21" fmla="*/ 25 h 26"/>
                  <a:gd name="T22" fmla="*/ 25 w 26"/>
                  <a:gd name="T23" fmla="*/ 19 h 26"/>
                  <a:gd name="T24" fmla="*/ 26 w 26"/>
                  <a:gd name="T25" fmla="*/ 13 h 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6"/>
                  <a:gd name="T40" fmla="*/ 0 h 26"/>
                  <a:gd name="T41" fmla="*/ 26 w 26"/>
                  <a:gd name="T42" fmla="*/ 26 h 2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6" h="26">
                    <a:moveTo>
                      <a:pt x="26" y="13"/>
                    </a:moveTo>
                    <a:lnTo>
                      <a:pt x="25" y="7"/>
                    </a:lnTo>
                    <a:lnTo>
                      <a:pt x="19" y="1"/>
                    </a:lnTo>
                    <a:lnTo>
                      <a:pt x="13" y="0"/>
                    </a:lnTo>
                    <a:lnTo>
                      <a:pt x="6" y="1"/>
                    </a:lnTo>
                    <a:lnTo>
                      <a:pt x="1" y="7"/>
                    </a:lnTo>
                    <a:lnTo>
                      <a:pt x="0" y="13"/>
                    </a:lnTo>
                    <a:lnTo>
                      <a:pt x="1" y="19"/>
                    </a:lnTo>
                    <a:lnTo>
                      <a:pt x="6" y="25"/>
                    </a:lnTo>
                    <a:lnTo>
                      <a:pt x="13" y="26"/>
                    </a:lnTo>
                    <a:lnTo>
                      <a:pt x="19" y="25"/>
                    </a:lnTo>
                    <a:lnTo>
                      <a:pt x="25" y="19"/>
                    </a:lnTo>
                    <a:lnTo>
                      <a:pt x="26" y="13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4" name="Freeform 206"/>
              <p:cNvSpPr>
                <a:spLocks/>
              </p:cNvSpPr>
              <p:nvPr/>
            </p:nvSpPr>
            <p:spPr bwMode="auto">
              <a:xfrm>
                <a:off x="5021" y="2805"/>
                <a:ext cx="26" cy="26"/>
              </a:xfrm>
              <a:custGeom>
                <a:avLst/>
                <a:gdLst>
                  <a:gd name="T0" fmla="*/ 26 w 26"/>
                  <a:gd name="T1" fmla="*/ 13 h 26"/>
                  <a:gd name="T2" fmla="*/ 25 w 26"/>
                  <a:gd name="T3" fmla="*/ 7 h 26"/>
                  <a:gd name="T4" fmla="*/ 19 w 26"/>
                  <a:gd name="T5" fmla="*/ 1 h 26"/>
                  <a:gd name="T6" fmla="*/ 13 w 26"/>
                  <a:gd name="T7" fmla="*/ 0 h 26"/>
                  <a:gd name="T8" fmla="*/ 6 w 26"/>
                  <a:gd name="T9" fmla="*/ 1 h 26"/>
                  <a:gd name="T10" fmla="*/ 1 w 26"/>
                  <a:gd name="T11" fmla="*/ 7 h 26"/>
                  <a:gd name="T12" fmla="*/ 0 w 26"/>
                  <a:gd name="T13" fmla="*/ 13 h 26"/>
                  <a:gd name="T14" fmla="*/ 1 w 26"/>
                  <a:gd name="T15" fmla="*/ 19 h 26"/>
                  <a:gd name="T16" fmla="*/ 6 w 26"/>
                  <a:gd name="T17" fmla="*/ 25 h 26"/>
                  <a:gd name="T18" fmla="*/ 13 w 26"/>
                  <a:gd name="T19" fmla="*/ 26 h 26"/>
                  <a:gd name="T20" fmla="*/ 19 w 26"/>
                  <a:gd name="T21" fmla="*/ 25 h 26"/>
                  <a:gd name="T22" fmla="*/ 25 w 26"/>
                  <a:gd name="T23" fmla="*/ 19 h 26"/>
                  <a:gd name="T24" fmla="*/ 26 w 26"/>
                  <a:gd name="T25" fmla="*/ 13 h 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6"/>
                  <a:gd name="T40" fmla="*/ 0 h 26"/>
                  <a:gd name="T41" fmla="*/ 26 w 26"/>
                  <a:gd name="T42" fmla="*/ 26 h 2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6" h="26">
                    <a:moveTo>
                      <a:pt x="26" y="13"/>
                    </a:moveTo>
                    <a:lnTo>
                      <a:pt x="25" y="7"/>
                    </a:lnTo>
                    <a:lnTo>
                      <a:pt x="19" y="1"/>
                    </a:lnTo>
                    <a:lnTo>
                      <a:pt x="13" y="0"/>
                    </a:lnTo>
                    <a:lnTo>
                      <a:pt x="6" y="1"/>
                    </a:lnTo>
                    <a:lnTo>
                      <a:pt x="1" y="7"/>
                    </a:lnTo>
                    <a:lnTo>
                      <a:pt x="0" y="13"/>
                    </a:lnTo>
                    <a:lnTo>
                      <a:pt x="1" y="19"/>
                    </a:lnTo>
                    <a:lnTo>
                      <a:pt x="6" y="25"/>
                    </a:lnTo>
                    <a:lnTo>
                      <a:pt x="13" y="26"/>
                    </a:lnTo>
                    <a:lnTo>
                      <a:pt x="19" y="25"/>
                    </a:lnTo>
                    <a:lnTo>
                      <a:pt x="25" y="19"/>
                    </a:lnTo>
                    <a:lnTo>
                      <a:pt x="26" y="13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5" name="Freeform 207"/>
              <p:cNvSpPr>
                <a:spLocks/>
              </p:cNvSpPr>
              <p:nvPr/>
            </p:nvSpPr>
            <p:spPr bwMode="auto">
              <a:xfrm>
                <a:off x="4778" y="1134"/>
                <a:ext cx="67" cy="68"/>
              </a:xfrm>
              <a:custGeom>
                <a:avLst/>
                <a:gdLst>
                  <a:gd name="T0" fmla="*/ 67 w 67"/>
                  <a:gd name="T1" fmla="*/ 35 h 68"/>
                  <a:gd name="T2" fmla="*/ 66 w 67"/>
                  <a:gd name="T3" fmla="*/ 24 h 68"/>
                  <a:gd name="T4" fmla="*/ 61 w 67"/>
                  <a:gd name="T5" fmla="*/ 14 h 68"/>
                  <a:gd name="T6" fmla="*/ 54 w 67"/>
                  <a:gd name="T7" fmla="*/ 7 h 68"/>
                  <a:gd name="T8" fmla="*/ 45 w 67"/>
                  <a:gd name="T9" fmla="*/ 2 h 68"/>
                  <a:gd name="T10" fmla="*/ 34 w 67"/>
                  <a:gd name="T11" fmla="*/ 0 h 68"/>
                  <a:gd name="T12" fmla="*/ 23 w 67"/>
                  <a:gd name="T13" fmla="*/ 2 h 68"/>
                  <a:gd name="T14" fmla="*/ 13 w 67"/>
                  <a:gd name="T15" fmla="*/ 7 h 68"/>
                  <a:gd name="T16" fmla="*/ 6 w 67"/>
                  <a:gd name="T17" fmla="*/ 14 h 68"/>
                  <a:gd name="T18" fmla="*/ 1 w 67"/>
                  <a:gd name="T19" fmla="*/ 24 h 68"/>
                  <a:gd name="T20" fmla="*/ 0 w 67"/>
                  <a:gd name="T21" fmla="*/ 35 h 68"/>
                  <a:gd name="T22" fmla="*/ 1 w 67"/>
                  <a:gd name="T23" fmla="*/ 45 h 68"/>
                  <a:gd name="T24" fmla="*/ 6 w 67"/>
                  <a:gd name="T25" fmla="*/ 54 h 68"/>
                  <a:gd name="T26" fmla="*/ 13 w 67"/>
                  <a:gd name="T27" fmla="*/ 61 h 68"/>
                  <a:gd name="T28" fmla="*/ 23 w 67"/>
                  <a:gd name="T29" fmla="*/ 67 h 68"/>
                  <a:gd name="T30" fmla="*/ 34 w 67"/>
                  <a:gd name="T31" fmla="*/ 68 h 68"/>
                  <a:gd name="T32" fmla="*/ 45 w 67"/>
                  <a:gd name="T33" fmla="*/ 67 h 68"/>
                  <a:gd name="T34" fmla="*/ 54 w 67"/>
                  <a:gd name="T35" fmla="*/ 61 h 68"/>
                  <a:gd name="T36" fmla="*/ 61 w 67"/>
                  <a:gd name="T37" fmla="*/ 54 h 68"/>
                  <a:gd name="T38" fmla="*/ 66 w 67"/>
                  <a:gd name="T39" fmla="*/ 45 h 68"/>
                  <a:gd name="T40" fmla="*/ 67 w 67"/>
                  <a:gd name="T41" fmla="*/ 35 h 6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7"/>
                  <a:gd name="T64" fmla="*/ 0 h 68"/>
                  <a:gd name="T65" fmla="*/ 67 w 67"/>
                  <a:gd name="T66" fmla="*/ 68 h 6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7" h="68">
                    <a:moveTo>
                      <a:pt x="67" y="35"/>
                    </a:moveTo>
                    <a:lnTo>
                      <a:pt x="66" y="24"/>
                    </a:lnTo>
                    <a:lnTo>
                      <a:pt x="61" y="14"/>
                    </a:lnTo>
                    <a:lnTo>
                      <a:pt x="54" y="7"/>
                    </a:lnTo>
                    <a:lnTo>
                      <a:pt x="45" y="2"/>
                    </a:lnTo>
                    <a:lnTo>
                      <a:pt x="34" y="0"/>
                    </a:lnTo>
                    <a:lnTo>
                      <a:pt x="23" y="2"/>
                    </a:lnTo>
                    <a:lnTo>
                      <a:pt x="13" y="7"/>
                    </a:lnTo>
                    <a:lnTo>
                      <a:pt x="6" y="14"/>
                    </a:lnTo>
                    <a:lnTo>
                      <a:pt x="1" y="24"/>
                    </a:lnTo>
                    <a:lnTo>
                      <a:pt x="0" y="35"/>
                    </a:lnTo>
                    <a:lnTo>
                      <a:pt x="1" y="45"/>
                    </a:lnTo>
                    <a:lnTo>
                      <a:pt x="6" y="54"/>
                    </a:lnTo>
                    <a:lnTo>
                      <a:pt x="13" y="61"/>
                    </a:lnTo>
                    <a:lnTo>
                      <a:pt x="23" y="67"/>
                    </a:lnTo>
                    <a:lnTo>
                      <a:pt x="34" y="68"/>
                    </a:lnTo>
                    <a:lnTo>
                      <a:pt x="45" y="67"/>
                    </a:lnTo>
                    <a:lnTo>
                      <a:pt x="54" y="61"/>
                    </a:lnTo>
                    <a:lnTo>
                      <a:pt x="61" y="54"/>
                    </a:lnTo>
                    <a:lnTo>
                      <a:pt x="66" y="45"/>
                    </a:lnTo>
                    <a:lnTo>
                      <a:pt x="67" y="35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6" name="Freeform 208"/>
              <p:cNvSpPr>
                <a:spLocks/>
              </p:cNvSpPr>
              <p:nvPr/>
            </p:nvSpPr>
            <p:spPr bwMode="auto">
              <a:xfrm>
                <a:off x="4778" y="1134"/>
                <a:ext cx="67" cy="68"/>
              </a:xfrm>
              <a:custGeom>
                <a:avLst/>
                <a:gdLst>
                  <a:gd name="T0" fmla="*/ 67 w 67"/>
                  <a:gd name="T1" fmla="*/ 35 h 68"/>
                  <a:gd name="T2" fmla="*/ 66 w 67"/>
                  <a:gd name="T3" fmla="*/ 24 h 68"/>
                  <a:gd name="T4" fmla="*/ 61 w 67"/>
                  <a:gd name="T5" fmla="*/ 14 h 68"/>
                  <a:gd name="T6" fmla="*/ 54 w 67"/>
                  <a:gd name="T7" fmla="*/ 7 h 68"/>
                  <a:gd name="T8" fmla="*/ 45 w 67"/>
                  <a:gd name="T9" fmla="*/ 2 h 68"/>
                  <a:gd name="T10" fmla="*/ 34 w 67"/>
                  <a:gd name="T11" fmla="*/ 0 h 68"/>
                  <a:gd name="T12" fmla="*/ 23 w 67"/>
                  <a:gd name="T13" fmla="*/ 2 h 68"/>
                  <a:gd name="T14" fmla="*/ 13 w 67"/>
                  <a:gd name="T15" fmla="*/ 7 h 68"/>
                  <a:gd name="T16" fmla="*/ 6 w 67"/>
                  <a:gd name="T17" fmla="*/ 14 h 68"/>
                  <a:gd name="T18" fmla="*/ 1 w 67"/>
                  <a:gd name="T19" fmla="*/ 24 h 68"/>
                  <a:gd name="T20" fmla="*/ 0 w 67"/>
                  <a:gd name="T21" fmla="*/ 35 h 68"/>
                  <a:gd name="T22" fmla="*/ 1 w 67"/>
                  <a:gd name="T23" fmla="*/ 45 h 68"/>
                  <a:gd name="T24" fmla="*/ 6 w 67"/>
                  <a:gd name="T25" fmla="*/ 54 h 68"/>
                  <a:gd name="T26" fmla="*/ 13 w 67"/>
                  <a:gd name="T27" fmla="*/ 61 h 68"/>
                  <a:gd name="T28" fmla="*/ 23 w 67"/>
                  <a:gd name="T29" fmla="*/ 67 h 68"/>
                  <a:gd name="T30" fmla="*/ 34 w 67"/>
                  <a:gd name="T31" fmla="*/ 68 h 68"/>
                  <a:gd name="T32" fmla="*/ 45 w 67"/>
                  <a:gd name="T33" fmla="*/ 67 h 68"/>
                  <a:gd name="T34" fmla="*/ 54 w 67"/>
                  <a:gd name="T35" fmla="*/ 61 h 68"/>
                  <a:gd name="T36" fmla="*/ 61 w 67"/>
                  <a:gd name="T37" fmla="*/ 54 h 68"/>
                  <a:gd name="T38" fmla="*/ 66 w 67"/>
                  <a:gd name="T39" fmla="*/ 45 h 68"/>
                  <a:gd name="T40" fmla="*/ 67 w 67"/>
                  <a:gd name="T41" fmla="*/ 35 h 6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7"/>
                  <a:gd name="T64" fmla="*/ 0 h 68"/>
                  <a:gd name="T65" fmla="*/ 67 w 67"/>
                  <a:gd name="T66" fmla="*/ 68 h 6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7" h="68">
                    <a:moveTo>
                      <a:pt x="67" y="35"/>
                    </a:moveTo>
                    <a:lnTo>
                      <a:pt x="66" y="24"/>
                    </a:lnTo>
                    <a:lnTo>
                      <a:pt x="61" y="14"/>
                    </a:lnTo>
                    <a:lnTo>
                      <a:pt x="54" y="7"/>
                    </a:lnTo>
                    <a:lnTo>
                      <a:pt x="45" y="2"/>
                    </a:lnTo>
                    <a:lnTo>
                      <a:pt x="34" y="0"/>
                    </a:lnTo>
                    <a:lnTo>
                      <a:pt x="23" y="2"/>
                    </a:lnTo>
                    <a:lnTo>
                      <a:pt x="13" y="7"/>
                    </a:lnTo>
                    <a:lnTo>
                      <a:pt x="6" y="14"/>
                    </a:lnTo>
                    <a:lnTo>
                      <a:pt x="1" y="24"/>
                    </a:lnTo>
                    <a:lnTo>
                      <a:pt x="0" y="35"/>
                    </a:lnTo>
                    <a:lnTo>
                      <a:pt x="1" y="45"/>
                    </a:lnTo>
                    <a:lnTo>
                      <a:pt x="6" y="54"/>
                    </a:lnTo>
                    <a:lnTo>
                      <a:pt x="13" y="61"/>
                    </a:lnTo>
                    <a:lnTo>
                      <a:pt x="23" y="67"/>
                    </a:lnTo>
                    <a:lnTo>
                      <a:pt x="34" y="68"/>
                    </a:lnTo>
                    <a:lnTo>
                      <a:pt x="45" y="67"/>
                    </a:lnTo>
                    <a:lnTo>
                      <a:pt x="54" y="61"/>
                    </a:lnTo>
                    <a:lnTo>
                      <a:pt x="61" y="54"/>
                    </a:lnTo>
                    <a:lnTo>
                      <a:pt x="66" y="45"/>
                    </a:lnTo>
                    <a:lnTo>
                      <a:pt x="67" y="35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7" name="Freeform 209"/>
              <p:cNvSpPr>
                <a:spLocks/>
              </p:cNvSpPr>
              <p:nvPr/>
            </p:nvSpPr>
            <p:spPr bwMode="auto">
              <a:xfrm>
                <a:off x="4914" y="1256"/>
                <a:ext cx="62" cy="62"/>
              </a:xfrm>
              <a:custGeom>
                <a:avLst/>
                <a:gdLst>
                  <a:gd name="T0" fmla="*/ 62 w 62"/>
                  <a:gd name="T1" fmla="*/ 31 h 62"/>
                  <a:gd name="T2" fmla="*/ 60 w 62"/>
                  <a:gd name="T3" fmla="*/ 21 h 62"/>
                  <a:gd name="T4" fmla="*/ 56 w 62"/>
                  <a:gd name="T5" fmla="*/ 12 h 62"/>
                  <a:gd name="T6" fmla="*/ 49 w 62"/>
                  <a:gd name="T7" fmla="*/ 6 h 62"/>
                  <a:gd name="T8" fmla="*/ 41 w 62"/>
                  <a:gd name="T9" fmla="*/ 1 h 62"/>
                  <a:gd name="T10" fmla="*/ 30 w 62"/>
                  <a:gd name="T11" fmla="*/ 0 h 62"/>
                  <a:gd name="T12" fmla="*/ 20 w 62"/>
                  <a:gd name="T13" fmla="*/ 1 h 62"/>
                  <a:gd name="T14" fmla="*/ 12 w 62"/>
                  <a:gd name="T15" fmla="*/ 6 h 62"/>
                  <a:gd name="T16" fmla="*/ 5 w 62"/>
                  <a:gd name="T17" fmla="*/ 12 h 62"/>
                  <a:gd name="T18" fmla="*/ 1 w 62"/>
                  <a:gd name="T19" fmla="*/ 21 h 62"/>
                  <a:gd name="T20" fmla="*/ 0 w 62"/>
                  <a:gd name="T21" fmla="*/ 31 h 62"/>
                  <a:gd name="T22" fmla="*/ 1 w 62"/>
                  <a:gd name="T23" fmla="*/ 41 h 62"/>
                  <a:gd name="T24" fmla="*/ 5 w 62"/>
                  <a:gd name="T25" fmla="*/ 49 h 62"/>
                  <a:gd name="T26" fmla="*/ 12 w 62"/>
                  <a:gd name="T27" fmla="*/ 56 h 62"/>
                  <a:gd name="T28" fmla="*/ 20 w 62"/>
                  <a:gd name="T29" fmla="*/ 60 h 62"/>
                  <a:gd name="T30" fmla="*/ 30 w 62"/>
                  <a:gd name="T31" fmla="*/ 62 h 62"/>
                  <a:gd name="T32" fmla="*/ 41 w 62"/>
                  <a:gd name="T33" fmla="*/ 60 h 62"/>
                  <a:gd name="T34" fmla="*/ 49 w 62"/>
                  <a:gd name="T35" fmla="*/ 56 h 62"/>
                  <a:gd name="T36" fmla="*/ 56 w 62"/>
                  <a:gd name="T37" fmla="*/ 49 h 62"/>
                  <a:gd name="T38" fmla="*/ 60 w 62"/>
                  <a:gd name="T39" fmla="*/ 41 h 62"/>
                  <a:gd name="T40" fmla="*/ 62 w 62"/>
                  <a:gd name="T41" fmla="*/ 31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2"/>
                  <a:gd name="T64" fmla="*/ 0 h 62"/>
                  <a:gd name="T65" fmla="*/ 62 w 62"/>
                  <a:gd name="T66" fmla="*/ 62 h 6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2" h="62">
                    <a:moveTo>
                      <a:pt x="62" y="31"/>
                    </a:moveTo>
                    <a:lnTo>
                      <a:pt x="60" y="21"/>
                    </a:lnTo>
                    <a:lnTo>
                      <a:pt x="56" y="12"/>
                    </a:lnTo>
                    <a:lnTo>
                      <a:pt x="49" y="6"/>
                    </a:lnTo>
                    <a:lnTo>
                      <a:pt x="41" y="1"/>
                    </a:lnTo>
                    <a:lnTo>
                      <a:pt x="30" y="0"/>
                    </a:lnTo>
                    <a:lnTo>
                      <a:pt x="20" y="1"/>
                    </a:lnTo>
                    <a:lnTo>
                      <a:pt x="12" y="6"/>
                    </a:lnTo>
                    <a:lnTo>
                      <a:pt x="5" y="12"/>
                    </a:lnTo>
                    <a:lnTo>
                      <a:pt x="1" y="21"/>
                    </a:lnTo>
                    <a:lnTo>
                      <a:pt x="0" y="31"/>
                    </a:lnTo>
                    <a:lnTo>
                      <a:pt x="1" y="41"/>
                    </a:lnTo>
                    <a:lnTo>
                      <a:pt x="5" y="49"/>
                    </a:lnTo>
                    <a:lnTo>
                      <a:pt x="12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41" y="60"/>
                    </a:lnTo>
                    <a:lnTo>
                      <a:pt x="49" y="56"/>
                    </a:lnTo>
                    <a:lnTo>
                      <a:pt x="56" y="49"/>
                    </a:lnTo>
                    <a:lnTo>
                      <a:pt x="60" y="41"/>
                    </a:lnTo>
                    <a:lnTo>
                      <a:pt x="62" y="31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8" name="Freeform 210"/>
              <p:cNvSpPr>
                <a:spLocks/>
              </p:cNvSpPr>
              <p:nvPr/>
            </p:nvSpPr>
            <p:spPr bwMode="auto">
              <a:xfrm>
                <a:off x="4914" y="1256"/>
                <a:ext cx="62" cy="62"/>
              </a:xfrm>
              <a:custGeom>
                <a:avLst/>
                <a:gdLst>
                  <a:gd name="T0" fmla="*/ 62 w 62"/>
                  <a:gd name="T1" fmla="*/ 31 h 62"/>
                  <a:gd name="T2" fmla="*/ 60 w 62"/>
                  <a:gd name="T3" fmla="*/ 21 h 62"/>
                  <a:gd name="T4" fmla="*/ 56 w 62"/>
                  <a:gd name="T5" fmla="*/ 12 h 62"/>
                  <a:gd name="T6" fmla="*/ 49 w 62"/>
                  <a:gd name="T7" fmla="*/ 6 h 62"/>
                  <a:gd name="T8" fmla="*/ 41 w 62"/>
                  <a:gd name="T9" fmla="*/ 1 h 62"/>
                  <a:gd name="T10" fmla="*/ 30 w 62"/>
                  <a:gd name="T11" fmla="*/ 0 h 62"/>
                  <a:gd name="T12" fmla="*/ 20 w 62"/>
                  <a:gd name="T13" fmla="*/ 1 h 62"/>
                  <a:gd name="T14" fmla="*/ 12 w 62"/>
                  <a:gd name="T15" fmla="*/ 6 h 62"/>
                  <a:gd name="T16" fmla="*/ 5 w 62"/>
                  <a:gd name="T17" fmla="*/ 12 h 62"/>
                  <a:gd name="T18" fmla="*/ 1 w 62"/>
                  <a:gd name="T19" fmla="*/ 21 h 62"/>
                  <a:gd name="T20" fmla="*/ 0 w 62"/>
                  <a:gd name="T21" fmla="*/ 31 h 62"/>
                  <a:gd name="T22" fmla="*/ 1 w 62"/>
                  <a:gd name="T23" fmla="*/ 41 h 62"/>
                  <a:gd name="T24" fmla="*/ 5 w 62"/>
                  <a:gd name="T25" fmla="*/ 49 h 62"/>
                  <a:gd name="T26" fmla="*/ 12 w 62"/>
                  <a:gd name="T27" fmla="*/ 56 h 62"/>
                  <a:gd name="T28" fmla="*/ 20 w 62"/>
                  <a:gd name="T29" fmla="*/ 60 h 62"/>
                  <a:gd name="T30" fmla="*/ 30 w 62"/>
                  <a:gd name="T31" fmla="*/ 62 h 62"/>
                  <a:gd name="T32" fmla="*/ 41 w 62"/>
                  <a:gd name="T33" fmla="*/ 60 h 62"/>
                  <a:gd name="T34" fmla="*/ 49 w 62"/>
                  <a:gd name="T35" fmla="*/ 56 h 62"/>
                  <a:gd name="T36" fmla="*/ 56 w 62"/>
                  <a:gd name="T37" fmla="*/ 49 h 62"/>
                  <a:gd name="T38" fmla="*/ 60 w 62"/>
                  <a:gd name="T39" fmla="*/ 41 h 62"/>
                  <a:gd name="T40" fmla="*/ 62 w 62"/>
                  <a:gd name="T41" fmla="*/ 31 h 6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2"/>
                  <a:gd name="T64" fmla="*/ 0 h 62"/>
                  <a:gd name="T65" fmla="*/ 62 w 62"/>
                  <a:gd name="T66" fmla="*/ 62 h 6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2" h="62">
                    <a:moveTo>
                      <a:pt x="62" y="31"/>
                    </a:moveTo>
                    <a:lnTo>
                      <a:pt x="60" y="21"/>
                    </a:lnTo>
                    <a:lnTo>
                      <a:pt x="56" y="12"/>
                    </a:lnTo>
                    <a:lnTo>
                      <a:pt x="49" y="6"/>
                    </a:lnTo>
                    <a:lnTo>
                      <a:pt x="41" y="1"/>
                    </a:lnTo>
                    <a:lnTo>
                      <a:pt x="30" y="0"/>
                    </a:lnTo>
                    <a:lnTo>
                      <a:pt x="20" y="1"/>
                    </a:lnTo>
                    <a:lnTo>
                      <a:pt x="12" y="6"/>
                    </a:lnTo>
                    <a:lnTo>
                      <a:pt x="5" y="12"/>
                    </a:lnTo>
                    <a:lnTo>
                      <a:pt x="1" y="21"/>
                    </a:lnTo>
                    <a:lnTo>
                      <a:pt x="0" y="31"/>
                    </a:lnTo>
                    <a:lnTo>
                      <a:pt x="1" y="41"/>
                    </a:lnTo>
                    <a:lnTo>
                      <a:pt x="5" y="49"/>
                    </a:lnTo>
                    <a:lnTo>
                      <a:pt x="12" y="56"/>
                    </a:lnTo>
                    <a:lnTo>
                      <a:pt x="20" y="60"/>
                    </a:lnTo>
                    <a:lnTo>
                      <a:pt x="30" y="62"/>
                    </a:lnTo>
                    <a:lnTo>
                      <a:pt x="41" y="60"/>
                    </a:lnTo>
                    <a:lnTo>
                      <a:pt x="49" y="56"/>
                    </a:lnTo>
                    <a:lnTo>
                      <a:pt x="56" y="49"/>
                    </a:lnTo>
                    <a:lnTo>
                      <a:pt x="60" y="41"/>
                    </a:lnTo>
                    <a:lnTo>
                      <a:pt x="62" y="31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59" name="Freeform 211"/>
              <p:cNvSpPr>
                <a:spLocks/>
              </p:cNvSpPr>
              <p:nvPr/>
            </p:nvSpPr>
            <p:spPr bwMode="auto">
              <a:xfrm>
                <a:off x="4717" y="1100"/>
                <a:ext cx="54" cy="53"/>
              </a:xfrm>
              <a:custGeom>
                <a:avLst/>
                <a:gdLst>
                  <a:gd name="T0" fmla="*/ 54 w 54"/>
                  <a:gd name="T1" fmla="*/ 26 h 53"/>
                  <a:gd name="T2" fmla="*/ 51 w 54"/>
                  <a:gd name="T3" fmla="*/ 16 h 53"/>
                  <a:gd name="T4" fmla="*/ 46 w 54"/>
                  <a:gd name="T5" fmla="*/ 7 h 53"/>
                  <a:gd name="T6" fmla="*/ 37 w 54"/>
                  <a:gd name="T7" fmla="*/ 2 h 53"/>
                  <a:gd name="T8" fmla="*/ 27 w 54"/>
                  <a:gd name="T9" fmla="*/ 0 h 53"/>
                  <a:gd name="T10" fmla="*/ 17 w 54"/>
                  <a:gd name="T11" fmla="*/ 2 h 53"/>
                  <a:gd name="T12" fmla="*/ 8 w 54"/>
                  <a:gd name="T13" fmla="*/ 7 h 53"/>
                  <a:gd name="T14" fmla="*/ 3 w 54"/>
                  <a:gd name="T15" fmla="*/ 16 h 53"/>
                  <a:gd name="T16" fmla="*/ 0 w 54"/>
                  <a:gd name="T17" fmla="*/ 26 h 53"/>
                  <a:gd name="T18" fmla="*/ 3 w 54"/>
                  <a:gd name="T19" fmla="*/ 36 h 53"/>
                  <a:gd name="T20" fmla="*/ 8 w 54"/>
                  <a:gd name="T21" fmla="*/ 45 h 53"/>
                  <a:gd name="T22" fmla="*/ 17 w 54"/>
                  <a:gd name="T23" fmla="*/ 51 h 53"/>
                  <a:gd name="T24" fmla="*/ 27 w 54"/>
                  <a:gd name="T25" fmla="*/ 53 h 53"/>
                  <a:gd name="T26" fmla="*/ 37 w 54"/>
                  <a:gd name="T27" fmla="*/ 51 h 53"/>
                  <a:gd name="T28" fmla="*/ 46 w 54"/>
                  <a:gd name="T29" fmla="*/ 45 h 53"/>
                  <a:gd name="T30" fmla="*/ 51 w 54"/>
                  <a:gd name="T31" fmla="*/ 36 h 53"/>
                  <a:gd name="T32" fmla="*/ 54 w 54"/>
                  <a:gd name="T33" fmla="*/ 26 h 5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4"/>
                  <a:gd name="T52" fmla="*/ 0 h 53"/>
                  <a:gd name="T53" fmla="*/ 54 w 54"/>
                  <a:gd name="T54" fmla="*/ 53 h 5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4" h="53">
                    <a:moveTo>
                      <a:pt x="54" y="26"/>
                    </a:moveTo>
                    <a:lnTo>
                      <a:pt x="51" y="16"/>
                    </a:lnTo>
                    <a:lnTo>
                      <a:pt x="46" y="7"/>
                    </a:lnTo>
                    <a:lnTo>
                      <a:pt x="37" y="2"/>
                    </a:lnTo>
                    <a:lnTo>
                      <a:pt x="27" y="0"/>
                    </a:lnTo>
                    <a:lnTo>
                      <a:pt x="17" y="2"/>
                    </a:lnTo>
                    <a:lnTo>
                      <a:pt x="8" y="7"/>
                    </a:lnTo>
                    <a:lnTo>
                      <a:pt x="3" y="16"/>
                    </a:lnTo>
                    <a:lnTo>
                      <a:pt x="0" y="26"/>
                    </a:lnTo>
                    <a:lnTo>
                      <a:pt x="3" y="36"/>
                    </a:lnTo>
                    <a:lnTo>
                      <a:pt x="8" y="45"/>
                    </a:lnTo>
                    <a:lnTo>
                      <a:pt x="17" y="51"/>
                    </a:lnTo>
                    <a:lnTo>
                      <a:pt x="27" y="53"/>
                    </a:lnTo>
                    <a:lnTo>
                      <a:pt x="37" y="51"/>
                    </a:lnTo>
                    <a:lnTo>
                      <a:pt x="46" y="45"/>
                    </a:lnTo>
                    <a:lnTo>
                      <a:pt x="51" y="36"/>
                    </a:lnTo>
                    <a:lnTo>
                      <a:pt x="54" y="26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60" name="Freeform 212"/>
              <p:cNvSpPr>
                <a:spLocks/>
              </p:cNvSpPr>
              <p:nvPr/>
            </p:nvSpPr>
            <p:spPr bwMode="auto">
              <a:xfrm>
                <a:off x="4717" y="1100"/>
                <a:ext cx="54" cy="53"/>
              </a:xfrm>
              <a:custGeom>
                <a:avLst/>
                <a:gdLst>
                  <a:gd name="T0" fmla="*/ 54 w 54"/>
                  <a:gd name="T1" fmla="*/ 26 h 53"/>
                  <a:gd name="T2" fmla="*/ 51 w 54"/>
                  <a:gd name="T3" fmla="*/ 16 h 53"/>
                  <a:gd name="T4" fmla="*/ 46 w 54"/>
                  <a:gd name="T5" fmla="*/ 7 h 53"/>
                  <a:gd name="T6" fmla="*/ 37 w 54"/>
                  <a:gd name="T7" fmla="*/ 2 h 53"/>
                  <a:gd name="T8" fmla="*/ 27 w 54"/>
                  <a:gd name="T9" fmla="*/ 0 h 53"/>
                  <a:gd name="T10" fmla="*/ 17 w 54"/>
                  <a:gd name="T11" fmla="*/ 2 h 53"/>
                  <a:gd name="T12" fmla="*/ 8 w 54"/>
                  <a:gd name="T13" fmla="*/ 7 h 53"/>
                  <a:gd name="T14" fmla="*/ 3 w 54"/>
                  <a:gd name="T15" fmla="*/ 16 h 53"/>
                  <a:gd name="T16" fmla="*/ 0 w 54"/>
                  <a:gd name="T17" fmla="*/ 26 h 53"/>
                  <a:gd name="T18" fmla="*/ 3 w 54"/>
                  <a:gd name="T19" fmla="*/ 36 h 53"/>
                  <a:gd name="T20" fmla="*/ 8 w 54"/>
                  <a:gd name="T21" fmla="*/ 45 h 53"/>
                  <a:gd name="T22" fmla="*/ 17 w 54"/>
                  <a:gd name="T23" fmla="*/ 51 h 53"/>
                  <a:gd name="T24" fmla="*/ 27 w 54"/>
                  <a:gd name="T25" fmla="*/ 53 h 53"/>
                  <a:gd name="T26" fmla="*/ 37 w 54"/>
                  <a:gd name="T27" fmla="*/ 51 h 53"/>
                  <a:gd name="T28" fmla="*/ 46 w 54"/>
                  <a:gd name="T29" fmla="*/ 45 h 53"/>
                  <a:gd name="T30" fmla="*/ 51 w 54"/>
                  <a:gd name="T31" fmla="*/ 36 h 53"/>
                  <a:gd name="T32" fmla="*/ 54 w 54"/>
                  <a:gd name="T33" fmla="*/ 26 h 5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4"/>
                  <a:gd name="T52" fmla="*/ 0 h 53"/>
                  <a:gd name="T53" fmla="*/ 54 w 54"/>
                  <a:gd name="T54" fmla="*/ 53 h 5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4" h="53">
                    <a:moveTo>
                      <a:pt x="54" y="26"/>
                    </a:moveTo>
                    <a:lnTo>
                      <a:pt x="51" y="16"/>
                    </a:lnTo>
                    <a:lnTo>
                      <a:pt x="46" y="7"/>
                    </a:lnTo>
                    <a:lnTo>
                      <a:pt x="37" y="2"/>
                    </a:lnTo>
                    <a:lnTo>
                      <a:pt x="27" y="0"/>
                    </a:lnTo>
                    <a:lnTo>
                      <a:pt x="17" y="2"/>
                    </a:lnTo>
                    <a:lnTo>
                      <a:pt x="8" y="7"/>
                    </a:lnTo>
                    <a:lnTo>
                      <a:pt x="3" y="16"/>
                    </a:lnTo>
                    <a:lnTo>
                      <a:pt x="0" y="26"/>
                    </a:lnTo>
                    <a:lnTo>
                      <a:pt x="3" y="36"/>
                    </a:lnTo>
                    <a:lnTo>
                      <a:pt x="8" y="45"/>
                    </a:lnTo>
                    <a:lnTo>
                      <a:pt x="17" y="51"/>
                    </a:lnTo>
                    <a:lnTo>
                      <a:pt x="27" y="53"/>
                    </a:lnTo>
                    <a:lnTo>
                      <a:pt x="37" y="51"/>
                    </a:lnTo>
                    <a:lnTo>
                      <a:pt x="46" y="45"/>
                    </a:lnTo>
                    <a:lnTo>
                      <a:pt x="51" y="36"/>
                    </a:lnTo>
                    <a:lnTo>
                      <a:pt x="54" y="26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61" name="Freeform 213"/>
              <p:cNvSpPr>
                <a:spLocks/>
              </p:cNvSpPr>
              <p:nvPr/>
            </p:nvSpPr>
            <p:spPr bwMode="auto">
              <a:xfrm>
                <a:off x="3876" y="1204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1 w 32"/>
                  <a:gd name="T3" fmla="*/ 10 h 32"/>
                  <a:gd name="T4" fmla="*/ 27 w 32"/>
                  <a:gd name="T5" fmla="*/ 5 h 32"/>
                  <a:gd name="T6" fmla="*/ 22 w 32"/>
                  <a:gd name="T7" fmla="*/ 2 h 32"/>
                  <a:gd name="T8" fmla="*/ 16 w 32"/>
                  <a:gd name="T9" fmla="*/ 0 h 32"/>
                  <a:gd name="T10" fmla="*/ 9 w 32"/>
                  <a:gd name="T11" fmla="*/ 2 h 32"/>
                  <a:gd name="T12" fmla="*/ 5 w 32"/>
                  <a:gd name="T13" fmla="*/ 5 h 32"/>
                  <a:gd name="T14" fmla="*/ 1 w 32"/>
                  <a:gd name="T15" fmla="*/ 10 h 32"/>
                  <a:gd name="T16" fmla="*/ 0 w 32"/>
                  <a:gd name="T17" fmla="*/ 17 h 32"/>
                  <a:gd name="T18" fmla="*/ 2 w 32"/>
                  <a:gd name="T19" fmla="*/ 24 h 32"/>
                  <a:gd name="T20" fmla="*/ 8 w 32"/>
                  <a:gd name="T21" fmla="*/ 30 h 32"/>
                  <a:gd name="T22" fmla="*/ 16 w 32"/>
                  <a:gd name="T23" fmla="*/ 32 h 32"/>
                  <a:gd name="T24" fmla="*/ 22 w 32"/>
                  <a:gd name="T25" fmla="*/ 31 h 32"/>
                  <a:gd name="T26" fmla="*/ 27 w 32"/>
                  <a:gd name="T27" fmla="*/ 28 h 32"/>
                  <a:gd name="T28" fmla="*/ 31 w 32"/>
                  <a:gd name="T29" fmla="*/ 23 h 32"/>
                  <a:gd name="T30" fmla="*/ 32 w 32"/>
                  <a:gd name="T31" fmla="*/ 17 h 3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2"/>
                  <a:gd name="T49" fmla="*/ 0 h 32"/>
                  <a:gd name="T50" fmla="*/ 32 w 32"/>
                  <a:gd name="T51" fmla="*/ 32 h 3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2" h="32">
                    <a:moveTo>
                      <a:pt x="32" y="17"/>
                    </a:moveTo>
                    <a:lnTo>
                      <a:pt x="31" y="10"/>
                    </a:lnTo>
                    <a:lnTo>
                      <a:pt x="27" y="5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9" y="2"/>
                    </a:lnTo>
                    <a:lnTo>
                      <a:pt x="5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2" y="31"/>
                    </a:lnTo>
                    <a:lnTo>
                      <a:pt x="27" y="28"/>
                    </a:lnTo>
                    <a:lnTo>
                      <a:pt x="31" y="23"/>
                    </a:lnTo>
                    <a:lnTo>
                      <a:pt x="32" y="17"/>
                    </a:lnTo>
                    <a:close/>
                  </a:path>
                </a:pathLst>
              </a:custGeom>
              <a:solidFill>
                <a:srgbClr val="FFFFFF">
                  <a:alpha val="52940"/>
                </a:srgbClr>
              </a:solidFill>
              <a:ln w="0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  <p:sp>
            <p:nvSpPr>
              <p:cNvPr id="296362" name="Freeform 214"/>
              <p:cNvSpPr>
                <a:spLocks/>
              </p:cNvSpPr>
              <p:nvPr/>
            </p:nvSpPr>
            <p:spPr bwMode="auto">
              <a:xfrm>
                <a:off x="3876" y="1204"/>
                <a:ext cx="32" cy="32"/>
              </a:xfrm>
              <a:custGeom>
                <a:avLst/>
                <a:gdLst>
                  <a:gd name="T0" fmla="*/ 32 w 32"/>
                  <a:gd name="T1" fmla="*/ 17 h 32"/>
                  <a:gd name="T2" fmla="*/ 31 w 32"/>
                  <a:gd name="T3" fmla="*/ 10 h 32"/>
                  <a:gd name="T4" fmla="*/ 27 w 32"/>
                  <a:gd name="T5" fmla="*/ 5 h 32"/>
                  <a:gd name="T6" fmla="*/ 22 w 32"/>
                  <a:gd name="T7" fmla="*/ 2 h 32"/>
                  <a:gd name="T8" fmla="*/ 16 w 32"/>
                  <a:gd name="T9" fmla="*/ 0 h 32"/>
                  <a:gd name="T10" fmla="*/ 9 w 32"/>
                  <a:gd name="T11" fmla="*/ 2 h 32"/>
                  <a:gd name="T12" fmla="*/ 5 w 32"/>
                  <a:gd name="T13" fmla="*/ 5 h 32"/>
                  <a:gd name="T14" fmla="*/ 1 w 32"/>
                  <a:gd name="T15" fmla="*/ 10 h 32"/>
                  <a:gd name="T16" fmla="*/ 0 w 32"/>
                  <a:gd name="T17" fmla="*/ 17 h 32"/>
                  <a:gd name="T18" fmla="*/ 2 w 32"/>
                  <a:gd name="T19" fmla="*/ 24 h 32"/>
                  <a:gd name="T20" fmla="*/ 8 w 32"/>
                  <a:gd name="T21" fmla="*/ 30 h 32"/>
                  <a:gd name="T22" fmla="*/ 16 w 32"/>
                  <a:gd name="T23" fmla="*/ 32 h 32"/>
                  <a:gd name="T24" fmla="*/ 22 w 32"/>
                  <a:gd name="T25" fmla="*/ 31 h 32"/>
                  <a:gd name="T26" fmla="*/ 27 w 32"/>
                  <a:gd name="T27" fmla="*/ 28 h 32"/>
                  <a:gd name="T28" fmla="*/ 31 w 32"/>
                  <a:gd name="T29" fmla="*/ 23 h 32"/>
                  <a:gd name="T30" fmla="*/ 32 w 32"/>
                  <a:gd name="T31" fmla="*/ 17 h 3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2"/>
                  <a:gd name="T49" fmla="*/ 0 h 32"/>
                  <a:gd name="T50" fmla="*/ 32 w 32"/>
                  <a:gd name="T51" fmla="*/ 32 h 3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2" h="32">
                    <a:moveTo>
                      <a:pt x="32" y="17"/>
                    </a:moveTo>
                    <a:lnTo>
                      <a:pt x="31" y="10"/>
                    </a:lnTo>
                    <a:lnTo>
                      <a:pt x="27" y="5"/>
                    </a:lnTo>
                    <a:lnTo>
                      <a:pt x="22" y="2"/>
                    </a:lnTo>
                    <a:lnTo>
                      <a:pt x="16" y="0"/>
                    </a:lnTo>
                    <a:lnTo>
                      <a:pt x="9" y="2"/>
                    </a:lnTo>
                    <a:lnTo>
                      <a:pt x="5" y="5"/>
                    </a:lnTo>
                    <a:lnTo>
                      <a:pt x="1" y="10"/>
                    </a:lnTo>
                    <a:lnTo>
                      <a:pt x="0" y="17"/>
                    </a:lnTo>
                    <a:lnTo>
                      <a:pt x="2" y="24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2" y="31"/>
                    </a:lnTo>
                    <a:lnTo>
                      <a:pt x="27" y="28"/>
                    </a:lnTo>
                    <a:lnTo>
                      <a:pt x="31" y="23"/>
                    </a:lnTo>
                    <a:lnTo>
                      <a:pt x="32" y="17"/>
                    </a:lnTo>
                  </a:path>
                </a:pathLst>
              </a:custGeom>
              <a:solidFill>
                <a:srgbClr val="FFFFFF">
                  <a:alpha val="52940"/>
                </a:srgbClr>
              </a:solidFill>
              <a:ln w="1588">
                <a:solidFill>
                  <a:srgbClr val="77777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 sz="1800" b="0">
                  <a:latin typeface="Arial" charset="0"/>
                </a:endParaRPr>
              </a:p>
            </p:txBody>
          </p:sp>
        </p:grpSp>
      </p:grpSp>
      <p:sp>
        <p:nvSpPr>
          <p:cNvPr id="1298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3768726" y="3216275"/>
            <a:ext cx="2362200" cy="542925"/>
          </a:xfrm>
          <a:prstGeom prst="triangle">
            <a:avLst>
              <a:gd name="adj" fmla="val 50551"/>
            </a:avLst>
          </a:prstGeom>
          <a:solidFill>
            <a:srgbClr val="FF990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299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370513" y="2463800"/>
            <a:ext cx="3349625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0099"/>
              </a:buClr>
              <a:buSzPct val="70000"/>
              <a:buFont typeface="Wingdings" pitchFamily="2" charset="2"/>
              <a:buNone/>
            </a:pPr>
            <a:r>
              <a:rPr lang="en-US" sz="2400"/>
              <a:t>US strengths </a:t>
            </a:r>
            <a:r>
              <a:rPr lang="en-US" sz="2400" b="0"/>
              <a:t>(transparent) are overlaid here on the strengths (dark) from another       </a:t>
            </a:r>
            <a:r>
              <a:rPr lang="en-US" sz="2400"/>
              <a:t>40 nations</a:t>
            </a:r>
          </a:p>
        </p:txBody>
      </p:sp>
      <p:grpSp>
        <p:nvGrpSpPr>
          <p:cNvPr id="11" name="Group 1299"/>
          <p:cNvGrpSpPr>
            <a:grpSpLocks/>
          </p:cNvGrpSpPr>
          <p:nvPr/>
        </p:nvGrpSpPr>
        <p:grpSpPr bwMode="auto">
          <a:xfrm>
            <a:off x="1089025" y="1433513"/>
            <a:ext cx="3479800" cy="4529137"/>
            <a:chOff x="1089443" y="1434066"/>
            <a:chExt cx="3479589" cy="4528583"/>
          </a:xfrm>
        </p:grpSpPr>
        <p:grpSp>
          <p:nvGrpSpPr>
            <p:cNvPr id="12" name="Group 645"/>
            <p:cNvGrpSpPr>
              <a:grpSpLocks/>
            </p:cNvGrpSpPr>
            <p:nvPr/>
          </p:nvGrpSpPr>
          <p:grpSpPr bwMode="auto">
            <a:xfrm>
              <a:off x="1089443" y="1796222"/>
              <a:ext cx="3469305" cy="4166427"/>
              <a:chOff x="1089443" y="1796222"/>
              <a:chExt cx="3495809" cy="4166427"/>
            </a:xfrm>
          </p:grpSpPr>
          <p:sp>
            <p:nvSpPr>
              <p:cNvPr id="295953" name="Rectangle 5"/>
              <p:cNvSpPr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089443" y="1796222"/>
                <a:ext cx="3495809" cy="3616325"/>
              </a:xfrm>
              <a:prstGeom prst="rect">
                <a:avLst/>
              </a:prstGeom>
              <a:solidFill>
                <a:srgbClr val="F3F3F3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grpSp>
            <p:nvGrpSpPr>
              <p:cNvPr id="13" name="Group 644"/>
              <p:cNvGrpSpPr>
                <a:grpSpLocks/>
              </p:cNvGrpSpPr>
              <p:nvPr/>
            </p:nvGrpSpPr>
            <p:grpSpPr bwMode="auto">
              <a:xfrm>
                <a:off x="1117533" y="2069548"/>
                <a:ext cx="3467561" cy="3893101"/>
                <a:chOff x="4801636" y="1764748"/>
                <a:chExt cx="3467561" cy="3893101"/>
              </a:xfrm>
            </p:grpSpPr>
            <p:grpSp>
              <p:nvGrpSpPr>
                <p:cNvPr id="14" name="Group 7"/>
                <p:cNvGrpSpPr>
                  <a:grpSpLocks/>
                </p:cNvGrpSpPr>
                <p:nvPr>
                  <p:custDataLst>
                    <p:tags r:id="rId8"/>
                  </p:custDataLst>
                </p:nvPr>
              </p:nvGrpSpPr>
              <p:grpSpPr bwMode="auto">
                <a:xfrm>
                  <a:off x="4801636" y="1764748"/>
                  <a:ext cx="3467561" cy="3387725"/>
                  <a:chOff x="240" y="1038"/>
                  <a:chExt cx="2592" cy="2592"/>
                </a:xfrm>
              </p:grpSpPr>
              <p:grpSp>
                <p:nvGrpSpPr>
                  <p:cNvPr id="15" name="Group 26"/>
                  <p:cNvGrpSpPr>
                    <a:grpSpLocks/>
                  </p:cNvGrpSpPr>
                  <p:nvPr>
                    <p:custDataLst>
                      <p:tags r:id="rId9"/>
                    </p:custDataLst>
                  </p:nvPr>
                </p:nvGrpSpPr>
                <p:grpSpPr bwMode="auto">
                  <a:xfrm>
                    <a:off x="355" y="1151"/>
                    <a:ext cx="2381" cy="2383"/>
                    <a:chOff x="4983480" y="1399032"/>
                    <a:chExt cx="3779520" cy="3782568"/>
                  </a:xfrm>
                </p:grpSpPr>
                <p:pic>
                  <p:nvPicPr>
                    <p:cNvPr id="296158" name="Picture 35" descr="circle-disc-gray.eps"/>
                    <p:cNvPicPr>
                      <a:picLocks noChangeAspect="1"/>
                    </p:cNvPicPr>
                    <p:nvPr/>
                  </p:nvPicPr>
                  <p:blipFill>
                    <a:blip r:embed="rId23"/>
                    <a:srcRect/>
                    <a:stretch>
                      <a:fillRect/>
                    </a:stretch>
                  </p:blipFill>
                  <p:spPr bwMode="auto">
                    <a:xfrm>
                      <a:off x="4983480" y="1399032"/>
                      <a:ext cx="3749040" cy="3749040"/>
                    </a:xfrm>
                    <a:prstGeom prst="rect">
                      <a:avLst/>
                    </a:prstGeom>
                    <a:noFill/>
                    <a:ln w="9525">
                      <a:noFill/>
                      <a:miter lim="800000"/>
                      <a:headEnd/>
                      <a:tailEnd/>
                    </a:ln>
                  </p:spPr>
                </p:pic>
                <p:sp>
                  <p:nvSpPr>
                    <p:cNvPr id="1293" name="Rectangle 1292"/>
                    <p:cNvSpPr/>
                    <p:nvPr/>
                  </p:nvSpPr>
                  <p:spPr bwMode="auto">
                    <a:xfrm>
                      <a:off x="5029200" y="1447800"/>
                      <a:ext cx="3657600" cy="3657600"/>
                    </a:xfrm>
                    <a:prstGeom prst="rect">
                      <a:avLst/>
                    </a:prstGeom>
                    <a:noFill/>
                  </p:spPr>
                  <p:txBody>
                    <a:bodyPr spcFirstLastPara="1" wrap="none">
                      <a:prstTxWarp prst="textCircle">
                        <a:avLst/>
                      </a:prstTxWarp>
                      <a:spAutoFit/>
                    </a:bodyPr>
                    <a:lstStyle/>
                    <a:p>
                      <a:pPr algn="ctr">
                        <a:defRPr/>
                      </a:pPr>
                      <a:r>
                        <a:rPr lang="en-US" sz="700" b="0" dirty="0">
                          <a:latin typeface="Arial" charset="0"/>
                        </a:rPr>
                        <a:t>Humanities               Social Sciences                            CS / EE                 Math / Physics       Chemistry                           Engineering                            Earth                 Biology           </a:t>
                      </a:r>
                      <a:r>
                        <a:rPr lang="en-US" sz="700" b="0" dirty="0" err="1">
                          <a:latin typeface="Arial" charset="0"/>
                        </a:rPr>
                        <a:t>BioTech</a:t>
                      </a:r>
                      <a:r>
                        <a:rPr lang="en-US" sz="700" b="0" dirty="0">
                          <a:latin typeface="Arial" charset="0"/>
                        </a:rPr>
                        <a:t>   Inf. Disease                  Medical Spec.                                    Health Svc.                          Brain</a:t>
                      </a:r>
                    </a:p>
                  </p:txBody>
                </p:sp>
                <p:sp>
                  <p:nvSpPr>
                    <p:cNvPr id="296160" name="Rectangle 8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8534400" y="4953000"/>
                      <a:ext cx="228600" cy="22860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9525">
                      <a:noFill/>
                      <a:miter lim="800000"/>
                      <a:headEnd/>
                      <a:tailEnd/>
                    </a:ln>
                  </p:spPr>
                  <p:txBody>
                    <a:bodyPr wrap="none" anchor="ctr"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</p:grpSp>
              <p:grpSp>
                <p:nvGrpSpPr>
                  <p:cNvPr id="16" name="Group 18"/>
                  <p:cNvGrpSpPr>
                    <a:grpSpLocks/>
                  </p:cNvGrpSpPr>
                  <p:nvPr>
                    <p:custDataLst>
                      <p:tags r:id="rId10"/>
                    </p:custDataLst>
                  </p:nvPr>
                </p:nvGrpSpPr>
                <p:grpSpPr bwMode="auto">
                  <a:xfrm>
                    <a:off x="576" y="1275"/>
                    <a:ext cx="1956" cy="2067"/>
                    <a:chOff x="3459" y="1010"/>
                    <a:chExt cx="1956" cy="2067"/>
                  </a:xfrm>
                </p:grpSpPr>
                <p:sp>
                  <p:nvSpPr>
                    <p:cNvPr id="295962" name="Freeform 19"/>
                    <p:cNvSpPr>
                      <a:spLocks/>
                    </p:cNvSpPr>
                    <p:nvPr/>
                  </p:nvSpPr>
                  <p:spPr bwMode="auto">
                    <a:xfrm>
                      <a:off x="4950" y="1897"/>
                      <a:ext cx="465" cy="465"/>
                    </a:xfrm>
                    <a:custGeom>
                      <a:avLst/>
                      <a:gdLst>
                        <a:gd name="T0" fmla="*/ 465 w 465"/>
                        <a:gd name="T1" fmla="*/ 233 h 465"/>
                        <a:gd name="T2" fmla="*/ 463 w 465"/>
                        <a:gd name="T3" fmla="*/ 201 h 465"/>
                        <a:gd name="T4" fmla="*/ 456 w 465"/>
                        <a:gd name="T5" fmla="*/ 171 h 465"/>
                        <a:gd name="T6" fmla="*/ 447 w 465"/>
                        <a:gd name="T7" fmla="*/ 142 h 465"/>
                        <a:gd name="T8" fmla="*/ 434 w 465"/>
                        <a:gd name="T9" fmla="*/ 115 h 465"/>
                        <a:gd name="T10" fmla="*/ 416 w 465"/>
                        <a:gd name="T11" fmla="*/ 90 h 465"/>
                        <a:gd name="T12" fmla="*/ 398 w 465"/>
                        <a:gd name="T13" fmla="*/ 68 h 465"/>
                        <a:gd name="T14" fmla="*/ 375 w 465"/>
                        <a:gd name="T15" fmla="*/ 49 h 465"/>
                        <a:gd name="T16" fmla="*/ 350 w 465"/>
                        <a:gd name="T17" fmla="*/ 31 h 465"/>
                        <a:gd name="T18" fmla="*/ 323 w 465"/>
                        <a:gd name="T19" fmla="*/ 18 h 465"/>
                        <a:gd name="T20" fmla="*/ 295 w 465"/>
                        <a:gd name="T21" fmla="*/ 9 h 465"/>
                        <a:gd name="T22" fmla="*/ 264 w 465"/>
                        <a:gd name="T23" fmla="*/ 2 h 465"/>
                        <a:gd name="T24" fmla="*/ 233 w 465"/>
                        <a:gd name="T25" fmla="*/ 0 h 465"/>
                        <a:gd name="T26" fmla="*/ 201 w 465"/>
                        <a:gd name="T27" fmla="*/ 2 h 465"/>
                        <a:gd name="T28" fmla="*/ 170 w 465"/>
                        <a:gd name="T29" fmla="*/ 9 h 465"/>
                        <a:gd name="T30" fmla="*/ 142 w 465"/>
                        <a:gd name="T31" fmla="*/ 18 h 465"/>
                        <a:gd name="T32" fmla="*/ 115 w 465"/>
                        <a:gd name="T33" fmla="*/ 31 h 465"/>
                        <a:gd name="T34" fmla="*/ 90 w 465"/>
                        <a:gd name="T35" fmla="*/ 49 h 465"/>
                        <a:gd name="T36" fmla="*/ 68 w 465"/>
                        <a:gd name="T37" fmla="*/ 68 h 465"/>
                        <a:gd name="T38" fmla="*/ 49 w 465"/>
                        <a:gd name="T39" fmla="*/ 90 h 465"/>
                        <a:gd name="T40" fmla="*/ 32 w 465"/>
                        <a:gd name="T41" fmla="*/ 115 h 465"/>
                        <a:gd name="T42" fmla="*/ 18 w 465"/>
                        <a:gd name="T43" fmla="*/ 142 h 465"/>
                        <a:gd name="T44" fmla="*/ 9 w 465"/>
                        <a:gd name="T45" fmla="*/ 171 h 465"/>
                        <a:gd name="T46" fmla="*/ 2 w 465"/>
                        <a:gd name="T47" fmla="*/ 201 h 465"/>
                        <a:gd name="T48" fmla="*/ 0 w 465"/>
                        <a:gd name="T49" fmla="*/ 233 h 465"/>
                        <a:gd name="T50" fmla="*/ 2 w 465"/>
                        <a:gd name="T51" fmla="*/ 264 h 465"/>
                        <a:gd name="T52" fmla="*/ 9 w 465"/>
                        <a:gd name="T53" fmla="*/ 295 h 465"/>
                        <a:gd name="T54" fmla="*/ 18 w 465"/>
                        <a:gd name="T55" fmla="*/ 323 h 465"/>
                        <a:gd name="T56" fmla="*/ 32 w 465"/>
                        <a:gd name="T57" fmla="*/ 350 h 465"/>
                        <a:gd name="T58" fmla="*/ 49 w 465"/>
                        <a:gd name="T59" fmla="*/ 375 h 465"/>
                        <a:gd name="T60" fmla="*/ 68 w 465"/>
                        <a:gd name="T61" fmla="*/ 397 h 465"/>
                        <a:gd name="T62" fmla="*/ 90 w 465"/>
                        <a:gd name="T63" fmla="*/ 416 h 465"/>
                        <a:gd name="T64" fmla="*/ 115 w 465"/>
                        <a:gd name="T65" fmla="*/ 433 h 465"/>
                        <a:gd name="T66" fmla="*/ 142 w 465"/>
                        <a:gd name="T67" fmla="*/ 447 h 465"/>
                        <a:gd name="T68" fmla="*/ 170 w 465"/>
                        <a:gd name="T69" fmla="*/ 457 h 465"/>
                        <a:gd name="T70" fmla="*/ 201 w 465"/>
                        <a:gd name="T71" fmla="*/ 463 h 465"/>
                        <a:gd name="T72" fmla="*/ 233 w 465"/>
                        <a:gd name="T73" fmla="*/ 465 h 465"/>
                        <a:gd name="T74" fmla="*/ 264 w 465"/>
                        <a:gd name="T75" fmla="*/ 463 h 465"/>
                        <a:gd name="T76" fmla="*/ 295 w 465"/>
                        <a:gd name="T77" fmla="*/ 457 h 465"/>
                        <a:gd name="T78" fmla="*/ 323 w 465"/>
                        <a:gd name="T79" fmla="*/ 447 h 465"/>
                        <a:gd name="T80" fmla="*/ 350 w 465"/>
                        <a:gd name="T81" fmla="*/ 433 h 465"/>
                        <a:gd name="T82" fmla="*/ 375 w 465"/>
                        <a:gd name="T83" fmla="*/ 416 h 465"/>
                        <a:gd name="T84" fmla="*/ 398 w 465"/>
                        <a:gd name="T85" fmla="*/ 397 h 465"/>
                        <a:gd name="T86" fmla="*/ 416 w 465"/>
                        <a:gd name="T87" fmla="*/ 375 h 465"/>
                        <a:gd name="T88" fmla="*/ 434 w 465"/>
                        <a:gd name="T89" fmla="*/ 350 h 465"/>
                        <a:gd name="T90" fmla="*/ 447 w 465"/>
                        <a:gd name="T91" fmla="*/ 323 h 465"/>
                        <a:gd name="T92" fmla="*/ 456 w 465"/>
                        <a:gd name="T93" fmla="*/ 295 h 465"/>
                        <a:gd name="T94" fmla="*/ 463 w 465"/>
                        <a:gd name="T95" fmla="*/ 264 h 465"/>
                        <a:gd name="T96" fmla="*/ 465 w 465"/>
                        <a:gd name="T97" fmla="*/ 233 h 465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w 465"/>
                        <a:gd name="T148" fmla="*/ 0 h 465"/>
                        <a:gd name="T149" fmla="*/ 465 w 465"/>
                        <a:gd name="T150" fmla="*/ 465 h 465"/>
                      </a:gdLst>
                      <a:ahLst/>
                      <a:cxnLst>
                        <a:cxn ang="T98">
                          <a:pos x="T0" y="T1"/>
                        </a:cxn>
                        <a:cxn ang="T99">
                          <a:pos x="T2" y="T3"/>
                        </a:cxn>
                        <a:cxn ang="T100">
                          <a:pos x="T4" y="T5"/>
                        </a:cxn>
                        <a:cxn ang="T101">
                          <a:pos x="T6" y="T7"/>
                        </a:cxn>
                        <a:cxn ang="T102">
                          <a:pos x="T8" y="T9"/>
                        </a:cxn>
                        <a:cxn ang="T103">
                          <a:pos x="T10" y="T11"/>
                        </a:cxn>
                        <a:cxn ang="T104">
                          <a:pos x="T12" y="T13"/>
                        </a:cxn>
                        <a:cxn ang="T105">
                          <a:pos x="T14" y="T15"/>
                        </a:cxn>
                        <a:cxn ang="T106">
                          <a:pos x="T16" y="T17"/>
                        </a:cxn>
                        <a:cxn ang="T107">
                          <a:pos x="T18" y="T19"/>
                        </a:cxn>
                        <a:cxn ang="T108">
                          <a:pos x="T20" y="T21"/>
                        </a:cxn>
                        <a:cxn ang="T109">
                          <a:pos x="T22" y="T23"/>
                        </a:cxn>
                        <a:cxn ang="T110">
                          <a:pos x="T24" y="T25"/>
                        </a:cxn>
                        <a:cxn ang="T111">
                          <a:pos x="T26" y="T27"/>
                        </a:cxn>
                        <a:cxn ang="T112">
                          <a:pos x="T28" y="T29"/>
                        </a:cxn>
                        <a:cxn ang="T113">
                          <a:pos x="T30" y="T31"/>
                        </a:cxn>
                        <a:cxn ang="T114">
                          <a:pos x="T32" y="T33"/>
                        </a:cxn>
                        <a:cxn ang="T115">
                          <a:pos x="T34" y="T35"/>
                        </a:cxn>
                        <a:cxn ang="T116">
                          <a:pos x="T36" y="T37"/>
                        </a:cxn>
                        <a:cxn ang="T117">
                          <a:pos x="T38" y="T39"/>
                        </a:cxn>
                        <a:cxn ang="T118">
                          <a:pos x="T40" y="T41"/>
                        </a:cxn>
                        <a:cxn ang="T119">
                          <a:pos x="T42" y="T43"/>
                        </a:cxn>
                        <a:cxn ang="T120">
                          <a:pos x="T44" y="T45"/>
                        </a:cxn>
                        <a:cxn ang="T121">
                          <a:pos x="T46" y="T47"/>
                        </a:cxn>
                        <a:cxn ang="T122">
                          <a:pos x="T48" y="T49"/>
                        </a:cxn>
                        <a:cxn ang="T123">
                          <a:pos x="T50" y="T51"/>
                        </a:cxn>
                        <a:cxn ang="T124">
                          <a:pos x="T52" y="T53"/>
                        </a:cxn>
                        <a:cxn ang="T125">
                          <a:pos x="T54" y="T55"/>
                        </a:cxn>
                        <a:cxn ang="T126">
                          <a:pos x="T56" y="T57"/>
                        </a:cxn>
                        <a:cxn ang="T127">
                          <a:pos x="T58" y="T59"/>
                        </a:cxn>
                        <a:cxn ang="T128">
                          <a:pos x="T60" y="T61"/>
                        </a:cxn>
                        <a:cxn ang="T129">
                          <a:pos x="T62" y="T63"/>
                        </a:cxn>
                        <a:cxn ang="T130">
                          <a:pos x="T64" y="T65"/>
                        </a:cxn>
                        <a:cxn ang="T131">
                          <a:pos x="T66" y="T67"/>
                        </a:cxn>
                        <a:cxn ang="T132">
                          <a:pos x="T68" y="T69"/>
                        </a:cxn>
                        <a:cxn ang="T133">
                          <a:pos x="T70" y="T71"/>
                        </a:cxn>
                        <a:cxn ang="T134">
                          <a:pos x="T72" y="T73"/>
                        </a:cxn>
                        <a:cxn ang="T135">
                          <a:pos x="T74" y="T75"/>
                        </a:cxn>
                        <a:cxn ang="T136">
                          <a:pos x="T76" y="T77"/>
                        </a:cxn>
                        <a:cxn ang="T137">
                          <a:pos x="T78" y="T79"/>
                        </a:cxn>
                        <a:cxn ang="T138">
                          <a:pos x="T80" y="T81"/>
                        </a:cxn>
                        <a:cxn ang="T139">
                          <a:pos x="T82" y="T83"/>
                        </a:cxn>
                        <a:cxn ang="T140">
                          <a:pos x="T84" y="T85"/>
                        </a:cxn>
                        <a:cxn ang="T141">
                          <a:pos x="T86" y="T87"/>
                        </a:cxn>
                        <a:cxn ang="T142">
                          <a:pos x="T88" y="T89"/>
                        </a:cxn>
                        <a:cxn ang="T143">
                          <a:pos x="T90" y="T91"/>
                        </a:cxn>
                        <a:cxn ang="T144">
                          <a:pos x="T92" y="T93"/>
                        </a:cxn>
                        <a:cxn ang="T145">
                          <a:pos x="T94" y="T95"/>
                        </a:cxn>
                        <a:cxn ang="T146">
                          <a:pos x="T96" y="T97"/>
                        </a:cxn>
                      </a:cxnLst>
                      <a:rect l="T147" t="T148" r="T149" b="T150"/>
                      <a:pathLst>
                        <a:path w="465" h="465">
                          <a:moveTo>
                            <a:pt x="465" y="233"/>
                          </a:moveTo>
                          <a:lnTo>
                            <a:pt x="463" y="201"/>
                          </a:lnTo>
                          <a:lnTo>
                            <a:pt x="456" y="171"/>
                          </a:lnTo>
                          <a:lnTo>
                            <a:pt x="447" y="142"/>
                          </a:lnTo>
                          <a:lnTo>
                            <a:pt x="434" y="115"/>
                          </a:lnTo>
                          <a:lnTo>
                            <a:pt x="416" y="90"/>
                          </a:lnTo>
                          <a:lnTo>
                            <a:pt x="398" y="68"/>
                          </a:lnTo>
                          <a:lnTo>
                            <a:pt x="375" y="49"/>
                          </a:lnTo>
                          <a:lnTo>
                            <a:pt x="350" y="31"/>
                          </a:lnTo>
                          <a:lnTo>
                            <a:pt x="323" y="18"/>
                          </a:lnTo>
                          <a:lnTo>
                            <a:pt x="295" y="9"/>
                          </a:lnTo>
                          <a:lnTo>
                            <a:pt x="264" y="2"/>
                          </a:lnTo>
                          <a:lnTo>
                            <a:pt x="233" y="0"/>
                          </a:lnTo>
                          <a:lnTo>
                            <a:pt x="201" y="2"/>
                          </a:lnTo>
                          <a:lnTo>
                            <a:pt x="170" y="9"/>
                          </a:lnTo>
                          <a:lnTo>
                            <a:pt x="142" y="18"/>
                          </a:lnTo>
                          <a:lnTo>
                            <a:pt x="115" y="31"/>
                          </a:lnTo>
                          <a:lnTo>
                            <a:pt x="90" y="49"/>
                          </a:lnTo>
                          <a:lnTo>
                            <a:pt x="68" y="68"/>
                          </a:lnTo>
                          <a:lnTo>
                            <a:pt x="49" y="90"/>
                          </a:lnTo>
                          <a:lnTo>
                            <a:pt x="32" y="115"/>
                          </a:lnTo>
                          <a:lnTo>
                            <a:pt x="18" y="142"/>
                          </a:lnTo>
                          <a:lnTo>
                            <a:pt x="9" y="171"/>
                          </a:lnTo>
                          <a:lnTo>
                            <a:pt x="2" y="201"/>
                          </a:lnTo>
                          <a:lnTo>
                            <a:pt x="0" y="233"/>
                          </a:lnTo>
                          <a:lnTo>
                            <a:pt x="2" y="264"/>
                          </a:lnTo>
                          <a:lnTo>
                            <a:pt x="9" y="295"/>
                          </a:lnTo>
                          <a:lnTo>
                            <a:pt x="18" y="323"/>
                          </a:lnTo>
                          <a:lnTo>
                            <a:pt x="32" y="350"/>
                          </a:lnTo>
                          <a:lnTo>
                            <a:pt x="49" y="375"/>
                          </a:lnTo>
                          <a:lnTo>
                            <a:pt x="68" y="397"/>
                          </a:lnTo>
                          <a:lnTo>
                            <a:pt x="90" y="416"/>
                          </a:lnTo>
                          <a:lnTo>
                            <a:pt x="115" y="433"/>
                          </a:lnTo>
                          <a:lnTo>
                            <a:pt x="142" y="447"/>
                          </a:lnTo>
                          <a:lnTo>
                            <a:pt x="170" y="457"/>
                          </a:lnTo>
                          <a:lnTo>
                            <a:pt x="201" y="463"/>
                          </a:lnTo>
                          <a:lnTo>
                            <a:pt x="233" y="465"/>
                          </a:lnTo>
                          <a:lnTo>
                            <a:pt x="264" y="463"/>
                          </a:lnTo>
                          <a:lnTo>
                            <a:pt x="295" y="457"/>
                          </a:lnTo>
                          <a:lnTo>
                            <a:pt x="323" y="447"/>
                          </a:lnTo>
                          <a:lnTo>
                            <a:pt x="350" y="433"/>
                          </a:lnTo>
                          <a:lnTo>
                            <a:pt x="375" y="416"/>
                          </a:lnTo>
                          <a:lnTo>
                            <a:pt x="398" y="397"/>
                          </a:lnTo>
                          <a:lnTo>
                            <a:pt x="416" y="375"/>
                          </a:lnTo>
                          <a:lnTo>
                            <a:pt x="434" y="350"/>
                          </a:lnTo>
                          <a:lnTo>
                            <a:pt x="447" y="323"/>
                          </a:lnTo>
                          <a:lnTo>
                            <a:pt x="456" y="295"/>
                          </a:lnTo>
                          <a:lnTo>
                            <a:pt x="463" y="264"/>
                          </a:lnTo>
                          <a:lnTo>
                            <a:pt x="465" y="23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63" name="Freeform 20"/>
                    <p:cNvSpPr>
                      <a:spLocks/>
                    </p:cNvSpPr>
                    <p:nvPr/>
                  </p:nvSpPr>
                  <p:spPr bwMode="auto">
                    <a:xfrm>
                      <a:off x="4950" y="1897"/>
                      <a:ext cx="465" cy="465"/>
                    </a:xfrm>
                    <a:custGeom>
                      <a:avLst/>
                      <a:gdLst>
                        <a:gd name="T0" fmla="*/ 465 w 465"/>
                        <a:gd name="T1" fmla="*/ 233 h 465"/>
                        <a:gd name="T2" fmla="*/ 463 w 465"/>
                        <a:gd name="T3" fmla="*/ 201 h 465"/>
                        <a:gd name="T4" fmla="*/ 456 w 465"/>
                        <a:gd name="T5" fmla="*/ 171 h 465"/>
                        <a:gd name="T6" fmla="*/ 447 w 465"/>
                        <a:gd name="T7" fmla="*/ 142 h 465"/>
                        <a:gd name="T8" fmla="*/ 434 w 465"/>
                        <a:gd name="T9" fmla="*/ 115 h 465"/>
                        <a:gd name="T10" fmla="*/ 416 w 465"/>
                        <a:gd name="T11" fmla="*/ 90 h 465"/>
                        <a:gd name="T12" fmla="*/ 398 w 465"/>
                        <a:gd name="T13" fmla="*/ 68 h 465"/>
                        <a:gd name="T14" fmla="*/ 375 w 465"/>
                        <a:gd name="T15" fmla="*/ 49 h 465"/>
                        <a:gd name="T16" fmla="*/ 350 w 465"/>
                        <a:gd name="T17" fmla="*/ 31 h 465"/>
                        <a:gd name="T18" fmla="*/ 323 w 465"/>
                        <a:gd name="T19" fmla="*/ 18 h 465"/>
                        <a:gd name="T20" fmla="*/ 295 w 465"/>
                        <a:gd name="T21" fmla="*/ 9 h 465"/>
                        <a:gd name="T22" fmla="*/ 264 w 465"/>
                        <a:gd name="T23" fmla="*/ 2 h 465"/>
                        <a:gd name="T24" fmla="*/ 233 w 465"/>
                        <a:gd name="T25" fmla="*/ 0 h 465"/>
                        <a:gd name="T26" fmla="*/ 201 w 465"/>
                        <a:gd name="T27" fmla="*/ 2 h 465"/>
                        <a:gd name="T28" fmla="*/ 170 w 465"/>
                        <a:gd name="T29" fmla="*/ 9 h 465"/>
                        <a:gd name="T30" fmla="*/ 142 w 465"/>
                        <a:gd name="T31" fmla="*/ 18 h 465"/>
                        <a:gd name="T32" fmla="*/ 115 w 465"/>
                        <a:gd name="T33" fmla="*/ 31 h 465"/>
                        <a:gd name="T34" fmla="*/ 90 w 465"/>
                        <a:gd name="T35" fmla="*/ 49 h 465"/>
                        <a:gd name="T36" fmla="*/ 68 w 465"/>
                        <a:gd name="T37" fmla="*/ 68 h 465"/>
                        <a:gd name="T38" fmla="*/ 49 w 465"/>
                        <a:gd name="T39" fmla="*/ 90 h 465"/>
                        <a:gd name="T40" fmla="*/ 32 w 465"/>
                        <a:gd name="T41" fmla="*/ 115 h 465"/>
                        <a:gd name="T42" fmla="*/ 18 w 465"/>
                        <a:gd name="T43" fmla="*/ 142 h 465"/>
                        <a:gd name="T44" fmla="*/ 9 w 465"/>
                        <a:gd name="T45" fmla="*/ 171 h 465"/>
                        <a:gd name="T46" fmla="*/ 2 w 465"/>
                        <a:gd name="T47" fmla="*/ 201 h 465"/>
                        <a:gd name="T48" fmla="*/ 0 w 465"/>
                        <a:gd name="T49" fmla="*/ 233 h 465"/>
                        <a:gd name="T50" fmla="*/ 2 w 465"/>
                        <a:gd name="T51" fmla="*/ 264 h 465"/>
                        <a:gd name="T52" fmla="*/ 9 w 465"/>
                        <a:gd name="T53" fmla="*/ 295 h 465"/>
                        <a:gd name="T54" fmla="*/ 18 w 465"/>
                        <a:gd name="T55" fmla="*/ 323 h 465"/>
                        <a:gd name="T56" fmla="*/ 32 w 465"/>
                        <a:gd name="T57" fmla="*/ 350 h 465"/>
                        <a:gd name="T58" fmla="*/ 49 w 465"/>
                        <a:gd name="T59" fmla="*/ 375 h 465"/>
                        <a:gd name="T60" fmla="*/ 68 w 465"/>
                        <a:gd name="T61" fmla="*/ 397 h 465"/>
                        <a:gd name="T62" fmla="*/ 90 w 465"/>
                        <a:gd name="T63" fmla="*/ 416 h 465"/>
                        <a:gd name="T64" fmla="*/ 115 w 465"/>
                        <a:gd name="T65" fmla="*/ 433 h 465"/>
                        <a:gd name="T66" fmla="*/ 142 w 465"/>
                        <a:gd name="T67" fmla="*/ 447 h 465"/>
                        <a:gd name="T68" fmla="*/ 170 w 465"/>
                        <a:gd name="T69" fmla="*/ 457 h 465"/>
                        <a:gd name="T70" fmla="*/ 201 w 465"/>
                        <a:gd name="T71" fmla="*/ 463 h 465"/>
                        <a:gd name="T72" fmla="*/ 233 w 465"/>
                        <a:gd name="T73" fmla="*/ 465 h 465"/>
                        <a:gd name="T74" fmla="*/ 264 w 465"/>
                        <a:gd name="T75" fmla="*/ 463 h 465"/>
                        <a:gd name="T76" fmla="*/ 295 w 465"/>
                        <a:gd name="T77" fmla="*/ 457 h 465"/>
                        <a:gd name="T78" fmla="*/ 323 w 465"/>
                        <a:gd name="T79" fmla="*/ 447 h 465"/>
                        <a:gd name="T80" fmla="*/ 350 w 465"/>
                        <a:gd name="T81" fmla="*/ 433 h 465"/>
                        <a:gd name="T82" fmla="*/ 375 w 465"/>
                        <a:gd name="T83" fmla="*/ 416 h 465"/>
                        <a:gd name="T84" fmla="*/ 398 w 465"/>
                        <a:gd name="T85" fmla="*/ 397 h 465"/>
                        <a:gd name="T86" fmla="*/ 416 w 465"/>
                        <a:gd name="T87" fmla="*/ 375 h 465"/>
                        <a:gd name="T88" fmla="*/ 434 w 465"/>
                        <a:gd name="T89" fmla="*/ 350 h 465"/>
                        <a:gd name="T90" fmla="*/ 447 w 465"/>
                        <a:gd name="T91" fmla="*/ 323 h 465"/>
                        <a:gd name="T92" fmla="*/ 456 w 465"/>
                        <a:gd name="T93" fmla="*/ 295 h 465"/>
                        <a:gd name="T94" fmla="*/ 463 w 465"/>
                        <a:gd name="T95" fmla="*/ 264 h 465"/>
                        <a:gd name="T96" fmla="*/ 465 w 465"/>
                        <a:gd name="T97" fmla="*/ 233 h 465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60000 65536"/>
                        <a:gd name="T124" fmla="*/ 0 60000 65536"/>
                        <a:gd name="T125" fmla="*/ 0 60000 65536"/>
                        <a:gd name="T126" fmla="*/ 0 60000 65536"/>
                        <a:gd name="T127" fmla="*/ 0 60000 65536"/>
                        <a:gd name="T128" fmla="*/ 0 60000 65536"/>
                        <a:gd name="T129" fmla="*/ 0 60000 65536"/>
                        <a:gd name="T130" fmla="*/ 0 60000 65536"/>
                        <a:gd name="T131" fmla="*/ 0 60000 65536"/>
                        <a:gd name="T132" fmla="*/ 0 60000 65536"/>
                        <a:gd name="T133" fmla="*/ 0 60000 65536"/>
                        <a:gd name="T134" fmla="*/ 0 60000 65536"/>
                        <a:gd name="T135" fmla="*/ 0 60000 65536"/>
                        <a:gd name="T136" fmla="*/ 0 60000 65536"/>
                        <a:gd name="T137" fmla="*/ 0 60000 65536"/>
                        <a:gd name="T138" fmla="*/ 0 60000 65536"/>
                        <a:gd name="T139" fmla="*/ 0 60000 65536"/>
                        <a:gd name="T140" fmla="*/ 0 60000 65536"/>
                        <a:gd name="T141" fmla="*/ 0 60000 65536"/>
                        <a:gd name="T142" fmla="*/ 0 60000 65536"/>
                        <a:gd name="T143" fmla="*/ 0 60000 65536"/>
                        <a:gd name="T144" fmla="*/ 0 60000 65536"/>
                        <a:gd name="T145" fmla="*/ 0 60000 65536"/>
                        <a:gd name="T146" fmla="*/ 0 60000 65536"/>
                        <a:gd name="T147" fmla="*/ 0 w 465"/>
                        <a:gd name="T148" fmla="*/ 0 h 465"/>
                        <a:gd name="T149" fmla="*/ 465 w 465"/>
                        <a:gd name="T150" fmla="*/ 465 h 465"/>
                      </a:gdLst>
                      <a:ahLst/>
                      <a:cxnLst>
                        <a:cxn ang="T98">
                          <a:pos x="T0" y="T1"/>
                        </a:cxn>
                        <a:cxn ang="T99">
                          <a:pos x="T2" y="T3"/>
                        </a:cxn>
                        <a:cxn ang="T100">
                          <a:pos x="T4" y="T5"/>
                        </a:cxn>
                        <a:cxn ang="T101">
                          <a:pos x="T6" y="T7"/>
                        </a:cxn>
                        <a:cxn ang="T102">
                          <a:pos x="T8" y="T9"/>
                        </a:cxn>
                        <a:cxn ang="T103">
                          <a:pos x="T10" y="T11"/>
                        </a:cxn>
                        <a:cxn ang="T104">
                          <a:pos x="T12" y="T13"/>
                        </a:cxn>
                        <a:cxn ang="T105">
                          <a:pos x="T14" y="T15"/>
                        </a:cxn>
                        <a:cxn ang="T106">
                          <a:pos x="T16" y="T17"/>
                        </a:cxn>
                        <a:cxn ang="T107">
                          <a:pos x="T18" y="T19"/>
                        </a:cxn>
                        <a:cxn ang="T108">
                          <a:pos x="T20" y="T21"/>
                        </a:cxn>
                        <a:cxn ang="T109">
                          <a:pos x="T22" y="T23"/>
                        </a:cxn>
                        <a:cxn ang="T110">
                          <a:pos x="T24" y="T25"/>
                        </a:cxn>
                        <a:cxn ang="T111">
                          <a:pos x="T26" y="T27"/>
                        </a:cxn>
                        <a:cxn ang="T112">
                          <a:pos x="T28" y="T29"/>
                        </a:cxn>
                        <a:cxn ang="T113">
                          <a:pos x="T30" y="T31"/>
                        </a:cxn>
                        <a:cxn ang="T114">
                          <a:pos x="T32" y="T33"/>
                        </a:cxn>
                        <a:cxn ang="T115">
                          <a:pos x="T34" y="T35"/>
                        </a:cxn>
                        <a:cxn ang="T116">
                          <a:pos x="T36" y="T37"/>
                        </a:cxn>
                        <a:cxn ang="T117">
                          <a:pos x="T38" y="T39"/>
                        </a:cxn>
                        <a:cxn ang="T118">
                          <a:pos x="T40" y="T41"/>
                        </a:cxn>
                        <a:cxn ang="T119">
                          <a:pos x="T42" y="T43"/>
                        </a:cxn>
                        <a:cxn ang="T120">
                          <a:pos x="T44" y="T45"/>
                        </a:cxn>
                        <a:cxn ang="T121">
                          <a:pos x="T46" y="T47"/>
                        </a:cxn>
                        <a:cxn ang="T122">
                          <a:pos x="T48" y="T49"/>
                        </a:cxn>
                        <a:cxn ang="T123">
                          <a:pos x="T50" y="T51"/>
                        </a:cxn>
                        <a:cxn ang="T124">
                          <a:pos x="T52" y="T53"/>
                        </a:cxn>
                        <a:cxn ang="T125">
                          <a:pos x="T54" y="T55"/>
                        </a:cxn>
                        <a:cxn ang="T126">
                          <a:pos x="T56" y="T57"/>
                        </a:cxn>
                        <a:cxn ang="T127">
                          <a:pos x="T58" y="T59"/>
                        </a:cxn>
                        <a:cxn ang="T128">
                          <a:pos x="T60" y="T61"/>
                        </a:cxn>
                        <a:cxn ang="T129">
                          <a:pos x="T62" y="T63"/>
                        </a:cxn>
                        <a:cxn ang="T130">
                          <a:pos x="T64" y="T65"/>
                        </a:cxn>
                        <a:cxn ang="T131">
                          <a:pos x="T66" y="T67"/>
                        </a:cxn>
                        <a:cxn ang="T132">
                          <a:pos x="T68" y="T69"/>
                        </a:cxn>
                        <a:cxn ang="T133">
                          <a:pos x="T70" y="T71"/>
                        </a:cxn>
                        <a:cxn ang="T134">
                          <a:pos x="T72" y="T73"/>
                        </a:cxn>
                        <a:cxn ang="T135">
                          <a:pos x="T74" y="T75"/>
                        </a:cxn>
                        <a:cxn ang="T136">
                          <a:pos x="T76" y="T77"/>
                        </a:cxn>
                        <a:cxn ang="T137">
                          <a:pos x="T78" y="T79"/>
                        </a:cxn>
                        <a:cxn ang="T138">
                          <a:pos x="T80" y="T81"/>
                        </a:cxn>
                        <a:cxn ang="T139">
                          <a:pos x="T82" y="T83"/>
                        </a:cxn>
                        <a:cxn ang="T140">
                          <a:pos x="T84" y="T85"/>
                        </a:cxn>
                        <a:cxn ang="T141">
                          <a:pos x="T86" y="T87"/>
                        </a:cxn>
                        <a:cxn ang="T142">
                          <a:pos x="T88" y="T89"/>
                        </a:cxn>
                        <a:cxn ang="T143">
                          <a:pos x="T90" y="T91"/>
                        </a:cxn>
                        <a:cxn ang="T144">
                          <a:pos x="T92" y="T93"/>
                        </a:cxn>
                        <a:cxn ang="T145">
                          <a:pos x="T94" y="T95"/>
                        </a:cxn>
                        <a:cxn ang="T146">
                          <a:pos x="T96" y="T97"/>
                        </a:cxn>
                      </a:cxnLst>
                      <a:rect l="T147" t="T148" r="T149" b="T150"/>
                      <a:pathLst>
                        <a:path w="465" h="465">
                          <a:moveTo>
                            <a:pt x="465" y="233"/>
                          </a:moveTo>
                          <a:lnTo>
                            <a:pt x="463" y="201"/>
                          </a:lnTo>
                          <a:lnTo>
                            <a:pt x="456" y="171"/>
                          </a:lnTo>
                          <a:lnTo>
                            <a:pt x="447" y="142"/>
                          </a:lnTo>
                          <a:lnTo>
                            <a:pt x="434" y="115"/>
                          </a:lnTo>
                          <a:lnTo>
                            <a:pt x="416" y="90"/>
                          </a:lnTo>
                          <a:lnTo>
                            <a:pt x="398" y="68"/>
                          </a:lnTo>
                          <a:lnTo>
                            <a:pt x="375" y="49"/>
                          </a:lnTo>
                          <a:lnTo>
                            <a:pt x="350" y="31"/>
                          </a:lnTo>
                          <a:lnTo>
                            <a:pt x="323" y="18"/>
                          </a:lnTo>
                          <a:lnTo>
                            <a:pt x="295" y="9"/>
                          </a:lnTo>
                          <a:lnTo>
                            <a:pt x="264" y="2"/>
                          </a:lnTo>
                          <a:lnTo>
                            <a:pt x="233" y="0"/>
                          </a:lnTo>
                          <a:lnTo>
                            <a:pt x="201" y="2"/>
                          </a:lnTo>
                          <a:lnTo>
                            <a:pt x="170" y="9"/>
                          </a:lnTo>
                          <a:lnTo>
                            <a:pt x="142" y="18"/>
                          </a:lnTo>
                          <a:lnTo>
                            <a:pt x="115" y="31"/>
                          </a:lnTo>
                          <a:lnTo>
                            <a:pt x="90" y="49"/>
                          </a:lnTo>
                          <a:lnTo>
                            <a:pt x="68" y="68"/>
                          </a:lnTo>
                          <a:lnTo>
                            <a:pt x="49" y="90"/>
                          </a:lnTo>
                          <a:lnTo>
                            <a:pt x="32" y="115"/>
                          </a:lnTo>
                          <a:lnTo>
                            <a:pt x="18" y="142"/>
                          </a:lnTo>
                          <a:lnTo>
                            <a:pt x="9" y="171"/>
                          </a:lnTo>
                          <a:lnTo>
                            <a:pt x="2" y="201"/>
                          </a:lnTo>
                          <a:lnTo>
                            <a:pt x="0" y="233"/>
                          </a:lnTo>
                          <a:lnTo>
                            <a:pt x="2" y="264"/>
                          </a:lnTo>
                          <a:lnTo>
                            <a:pt x="9" y="295"/>
                          </a:lnTo>
                          <a:lnTo>
                            <a:pt x="18" y="323"/>
                          </a:lnTo>
                          <a:lnTo>
                            <a:pt x="32" y="350"/>
                          </a:lnTo>
                          <a:lnTo>
                            <a:pt x="49" y="375"/>
                          </a:lnTo>
                          <a:lnTo>
                            <a:pt x="68" y="397"/>
                          </a:lnTo>
                          <a:lnTo>
                            <a:pt x="90" y="416"/>
                          </a:lnTo>
                          <a:lnTo>
                            <a:pt x="115" y="433"/>
                          </a:lnTo>
                          <a:lnTo>
                            <a:pt x="142" y="447"/>
                          </a:lnTo>
                          <a:lnTo>
                            <a:pt x="170" y="457"/>
                          </a:lnTo>
                          <a:lnTo>
                            <a:pt x="201" y="463"/>
                          </a:lnTo>
                          <a:lnTo>
                            <a:pt x="233" y="465"/>
                          </a:lnTo>
                          <a:lnTo>
                            <a:pt x="264" y="463"/>
                          </a:lnTo>
                          <a:lnTo>
                            <a:pt x="295" y="457"/>
                          </a:lnTo>
                          <a:lnTo>
                            <a:pt x="323" y="447"/>
                          </a:lnTo>
                          <a:lnTo>
                            <a:pt x="350" y="433"/>
                          </a:lnTo>
                          <a:lnTo>
                            <a:pt x="375" y="416"/>
                          </a:lnTo>
                          <a:lnTo>
                            <a:pt x="398" y="397"/>
                          </a:lnTo>
                          <a:lnTo>
                            <a:pt x="416" y="375"/>
                          </a:lnTo>
                          <a:lnTo>
                            <a:pt x="434" y="350"/>
                          </a:lnTo>
                          <a:lnTo>
                            <a:pt x="447" y="323"/>
                          </a:lnTo>
                          <a:lnTo>
                            <a:pt x="456" y="295"/>
                          </a:lnTo>
                          <a:lnTo>
                            <a:pt x="463" y="264"/>
                          </a:lnTo>
                          <a:lnTo>
                            <a:pt x="465" y="23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64" name="Freeform 21"/>
                    <p:cNvSpPr>
                      <a:spLocks/>
                    </p:cNvSpPr>
                    <p:nvPr/>
                  </p:nvSpPr>
                  <p:spPr bwMode="auto">
                    <a:xfrm>
                      <a:off x="4091" y="2682"/>
                      <a:ext cx="376" cy="376"/>
                    </a:xfrm>
                    <a:custGeom>
                      <a:avLst/>
                      <a:gdLst>
                        <a:gd name="T0" fmla="*/ 376 w 376"/>
                        <a:gd name="T1" fmla="*/ 188 h 376"/>
                        <a:gd name="T2" fmla="*/ 373 w 376"/>
                        <a:gd name="T3" fmla="*/ 157 h 376"/>
                        <a:gd name="T4" fmla="*/ 366 w 376"/>
                        <a:gd name="T5" fmla="*/ 128 h 376"/>
                        <a:gd name="T6" fmla="*/ 355 w 376"/>
                        <a:gd name="T7" fmla="*/ 101 h 376"/>
                        <a:gd name="T8" fmla="*/ 340 w 376"/>
                        <a:gd name="T9" fmla="*/ 77 h 376"/>
                        <a:gd name="T10" fmla="*/ 321 w 376"/>
                        <a:gd name="T11" fmla="*/ 55 h 376"/>
                        <a:gd name="T12" fmla="*/ 299 w 376"/>
                        <a:gd name="T13" fmla="*/ 36 h 376"/>
                        <a:gd name="T14" fmla="*/ 274 w 376"/>
                        <a:gd name="T15" fmla="*/ 21 h 376"/>
                        <a:gd name="T16" fmla="*/ 248 w 376"/>
                        <a:gd name="T17" fmla="*/ 9 h 376"/>
                        <a:gd name="T18" fmla="*/ 219 w 376"/>
                        <a:gd name="T19" fmla="*/ 2 h 376"/>
                        <a:gd name="T20" fmla="*/ 188 w 376"/>
                        <a:gd name="T21" fmla="*/ 0 h 376"/>
                        <a:gd name="T22" fmla="*/ 157 w 376"/>
                        <a:gd name="T23" fmla="*/ 2 h 376"/>
                        <a:gd name="T24" fmla="*/ 128 w 376"/>
                        <a:gd name="T25" fmla="*/ 9 h 376"/>
                        <a:gd name="T26" fmla="*/ 102 w 376"/>
                        <a:gd name="T27" fmla="*/ 21 h 376"/>
                        <a:gd name="T28" fmla="*/ 77 w 376"/>
                        <a:gd name="T29" fmla="*/ 36 h 376"/>
                        <a:gd name="T30" fmla="*/ 55 w 376"/>
                        <a:gd name="T31" fmla="*/ 55 h 376"/>
                        <a:gd name="T32" fmla="*/ 36 w 376"/>
                        <a:gd name="T33" fmla="*/ 77 h 376"/>
                        <a:gd name="T34" fmla="*/ 21 w 376"/>
                        <a:gd name="T35" fmla="*/ 101 h 376"/>
                        <a:gd name="T36" fmla="*/ 10 w 376"/>
                        <a:gd name="T37" fmla="*/ 128 h 376"/>
                        <a:gd name="T38" fmla="*/ 3 w 376"/>
                        <a:gd name="T39" fmla="*/ 157 h 376"/>
                        <a:gd name="T40" fmla="*/ 0 w 376"/>
                        <a:gd name="T41" fmla="*/ 188 h 376"/>
                        <a:gd name="T42" fmla="*/ 3 w 376"/>
                        <a:gd name="T43" fmla="*/ 218 h 376"/>
                        <a:gd name="T44" fmla="*/ 10 w 376"/>
                        <a:gd name="T45" fmla="*/ 247 h 376"/>
                        <a:gd name="T46" fmla="*/ 21 w 376"/>
                        <a:gd name="T47" fmla="*/ 274 h 376"/>
                        <a:gd name="T48" fmla="*/ 36 w 376"/>
                        <a:gd name="T49" fmla="*/ 299 h 376"/>
                        <a:gd name="T50" fmla="*/ 55 w 376"/>
                        <a:gd name="T51" fmla="*/ 321 h 376"/>
                        <a:gd name="T52" fmla="*/ 77 w 376"/>
                        <a:gd name="T53" fmla="*/ 339 h 376"/>
                        <a:gd name="T54" fmla="*/ 102 w 376"/>
                        <a:gd name="T55" fmla="*/ 354 h 376"/>
                        <a:gd name="T56" fmla="*/ 128 w 376"/>
                        <a:gd name="T57" fmla="*/ 366 h 376"/>
                        <a:gd name="T58" fmla="*/ 157 w 376"/>
                        <a:gd name="T59" fmla="*/ 373 h 376"/>
                        <a:gd name="T60" fmla="*/ 188 w 376"/>
                        <a:gd name="T61" fmla="*/ 376 h 376"/>
                        <a:gd name="T62" fmla="*/ 219 w 376"/>
                        <a:gd name="T63" fmla="*/ 373 h 376"/>
                        <a:gd name="T64" fmla="*/ 248 w 376"/>
                        <a:gd name="T65" fmla="*/ 366 h 376"/>
                        <a:gd name="T66" fmla="*/ 274 w 376"/>
                        <a:gd name="T67" fmla="*/ 354 h 376"/>
                        <a:gd name="T68" fmla="*/ 299 w 376"/>
                        <a:gd name="T69" fmla="*/ 339 h 376"/>
                        <a:gd name="T70" fmla="*/ 321 w 376"/>
                        <a:gd name="T71" fmla="*/ 321 h 376"/>
                        <a:gd name="T72" fmla="*/ 340 w 376"/>
                        <a:gd name="T73" fmla="*/ 299 h 376"/>
                        <a:gd name="T74" fmla="*/ 355 w 376"/>
                        <a:gd name="T75" fmla="*/ 274 h 376"/>
                        <a:gd name="T76" fmla="*/ 366 w 376"/>
                        <a:gd name="T77" fmla="*/ 247 h 376"/>
                        <a:gd name="T78" fmla="*/ 373 w 376"/>
                        <a:gd name="T79" fmla="*/ 218 h 376"/>
                        <a:gd name="T80" fmla="*/ 376 w 376"/>
                        <a:gd name="T81" fmla="*/ 188 h 37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376"/>
                        <a:gd name="T124" fmla="*/ 0 h 376"/>
                        <a:gd name="T125" fmla="*/ 376 w 376"/>
                        <a:gd name="T126" fmla="*/ 376 h 376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376" h="376">
                          <a:moveTo>
                            <a:pt x="376" y="188"/>
                          </a:moveTo>
                          <a:lnTo>
                            <a:pt x="373" y="157"/>
                          </a:lnTo>
                          <a:lnTo>
                            <a:pt x="366" y="128"/>
                          </a:lnTo>
                          <a:lnTo>
                            <a:pt x="355" y="101"/>
                          </a:lnTo>
                          <a:lnTo>
                            <a:pt x="340" y="77"/>
                          </a:lnTo>
                          <a:lnTo>
                            <a:pt x="321" y="55"/>
                          </a:lnTo>
                          <a:lnTo>
                            <a:pt x="299" y="36"/>
                          </a:lnTo>
                          <a:lnTo>
                            <a:pt x="274" y="21"/>
                          </a:lnTo>
                          <a:lnTo>
                            <a:pt x="248" y="9"/>
                          </a:lnTo>
                          <a:lnTo>
                            <a:pt x="219" y="2"/>
                          </a:lnTo>
                          <a:lnTo>
                            <a:pt x="188" y="0"/>
                          </a:lnTo>
                          <a:lnTo>
                            <a:pt x="157" y="2"/>
                          </a:lnTo>
                          <a:lnTo>
                            <a:pt x="128" y="9"/>
                          </a:lnTo>
                          <a:lnTo>
                            <a:pt x="102" y="21"/>
                          </a:lnTo>
                          <a:lnTo>
                            <a:pt x="77" y="36"/>
                          </a:lnTo>
                          <a:lnTo>
                            <a:pt x="55" y="55"/>
                          </a:lnTo>
                          <a:lnTo>
                            <a:pt x="36" y="77"/>
                          </a:lnTo>
                          <a:lnTo>
                            <a:pt x="21" y="101"/>
                          </a:lnTo>
                          <a:lnTo>
                            <a:pt x="10" y="128"/>
                          </a:lnTo>
                          <a:lnTo>
                            <a:pt x="3" y="157"/>
                          </a:lnTo>
                          <a:lnTo>
                            <a:pt x="0" y="188"/>
                          </a:lnTo>
                          <a:lnTo>
                            <a:pt x="3" y="218"/>
                          </a:lnTo>
                          <a:lnTo>
                            <a:pt x="10" y="247"/>
                          </a:lnTo>
                          <a:lnTo>
                            <a:pt x="21" y="274"/>
                          </a:lnTo>
                          <a:lnTo>
                            <a:pt x="36" y="299"/>
                          </a:lnTo>
                          <a:lnTo>
                            <a:pt x="55" y="321"/>
                          </a:lnTo>
                          <a:lnTo>
                            <a:pt x="77" y="339"/>
                          </a:lnTo>
                          <a:lnTo>
                            <a:pt x="102" y="354"/>
                          </a:lnTo>
                          <a:lnTo>
                            <a:pt x="128" y="366"/>
                          </a:lnTo>
                          <a:lnTo>
                            <a:pt x="157" y="373"/>
                          </a:lnTo>
                          <a:lnTo>
                            <a:pt x="188" y="376"/>
                          </a:lnTo>
                          <a:lnTo>
                            <a:pt x="219" y="373"/>
                          </a:lnTo>
                          <a:lnTo>
                            <a:pt x="248" y="366"/>
                          </a:lnTo>
                          <a:lnTo>
                            <a:pt x="274" y="354"/>
                          </a:lnTo>
                          <a:lnTo>
                            <a:pt x="299" y="339"/>
                          </a:lnTo>
                          <a:lnTo>
                            <a:pt x="321" y="321"/>
                          </a:lnTo>
                          <a:lnTo>
                            <a:pt x="340" y="299"/>
                          </a:lnTo>
                          <a:lnTo>
                            <a:pt x="355" y="274"/>
                          </a:lnTo>
                          <a:lnTo>
                            <a:pt x="366" y="247"/>
                          </a:lnTo>
                          <a:lnTo>
                            <a:pt x="373" y="218"/>
                          </a:lnTo>
                          <a:lnTo>
                            <a:pt x="376" y="18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65" name="Freeform 22"/>
                    <p:cNvSpPr>
                      <a:spLocks/>
                    </p:cNvSpPr>
                    <p:nvPr/>
                  </p:nvSpPr>
                  <p:spPr bwMode="auto">
                    <a:xfrm>
                      <a:off x="4091" y="2682"/>
                      <a:ext cx="376" cy="376"/>
                    </a:xfrm>
                    <a:custGeom>
                      <a:avLst/>
                      <a:gdLst>
                        <a:gd name="T0" fmla="*/ 376 w 376"/>
                        <a:gd name="T1" fmla="*/ 188 h 376"/>
                        <a:gd name="T2" fmla="*/ 373 w 376"/>
                        <a:gd name="T3" fmla="*/ 157 h 376"/>
                        <a:gd name="T4" fmla="*/ 366 w 376"/>
                        <a:gd name="T5" fmla="*/ 128 h 376"/>
                        <a:gd name="T6" fmla="*/ 355 w 376"/>
                        <a:gd name="T7" fmla="*/ 101 h 376"/>
                        <a:gd name="T8" fmla="*/ 340 w 376"/>
                        <a:gd name="T9" fmla="*/ 77 h 376"/>
                        <a:gd name="T10" fmla="*/ 321 w 376"/>
                        <a:gd name="T11" fmla="*/ 55 h 376"/>
                        <a:gd name="T12" fmla="*/ 299 w 376"/>
                        <a:gd name="T13" fmla="*/ 36 h 376"/>
                        <a:gd name="T14" fmla="*/ 274 w 376"/>
                        <a:gd name="T15" fmla="*/ 21 h 376"/>
                        <a:gd name="T16" fmla="*/ 248 w 376"/>
                        <a:gd name="T17" fmla="*/ 9 h 376"/>
                        <a:gd name="T18" fmla="*/ 219 w 376"/>
                        <a:gd name="T19" fmla="*/ 2 h 376"/>
                        <a:gd name="T20" fmla="*/ 188 w 376"/>
                        <a:gd name="T21" fmla="*/ 0 h 376"/>
                        <a:gd name="T22" fmla="*/ 157 w 376"/>
                        <a:gd name="T23" fmla="*/ 2 h 376"/>
                        <a:gd name="T24" fmla="*/ 128 w 376"/>
                        <a:gd name="T25" fmla="*/ 9 h 376"/>
                        <a:gd name="T26" fmla="*/ 102 w 376"/>
                        <a:gd name="T27" fmla="*/ 21 h 376"/>
                        <a:gd name="T28" fmla="*/ 77 w 376"/>
                        <a:gd name="T29" fmla="*/ 36 h 376"/>
                        <a:gd name="T30" fmla="*/ 55 w 376"/>
                        <a:gd name="T31" fmla="*/ 55 h 376"/>
                        <a:gd name="T32" fmla="*/ 36 w 376"/>
                        <a:gd name="T33" fmla="*/ 77 h 376"/>
                        <a:gd name="T34" fmla="*/ 21 w 376"/>
                        <a:gd name="T35" fmla="*/ 101 h 376"/>
                        <a:gd name="T36" fmla="*/ 10 w 376"/>
                        <a:gd name="T37" fmla="*/ 128 h 376"/>
                        <a:gd name="T38" fmla="*/ 3 w 376"/>
                        <a:gd name="T39" fmla="*/ 157 h 376"/>
                        <a:gd name="T40" fmla="*/ 0 w 376"/>
                        <a:gd name="T41" fmla="*/ 188 h 376"/>
                        <a:gd name="T42" fmla="*/ 3 w 376"/>
                        <a:gd name="T43" fmla="*/ 218 h 376"/>
                        <a:gd name="T44" fmla="*/ 10 w 376"/>
                        <a:gd name="T45" fmla="*/ 247 h 376"/>
                        <a:gd name="T46" fmla="*/ 21 w 376"/>
                        <a:gd name="T47" fmla="*/ 274 h 376"/>
                        <a:gd name="T48" fmla="*/ 36 w 376"/>
                        <a:gd name="T49" fmla="*/ 299 h 376"/>
                        <a:gd name="T50" fmla="*/ 55 w 376"/>
                        <a:gd name="T51" fmla="*/ 321 h 376"/>
                        <a:gd name="T52" fmla="*/ 77 w 376"/>
                        <a:gd name="T53" fmla="*/ 339 h 376"/>
                        <a:gd name="T54" fmla="*/ 102 w 376"/>
                        <a:gd name="T55" fmla="*/ 354 h 376"/>
                        <a:gd name="T56" fmla="*/ 128 w 376"/>
                        <a:gd name="T57" fmla="*/ 366 h 376"/>
                        <a:gd name="T58" fmla="*/ 157 w 376"/>
                        <a:gd name="T59" fmla="*/ 373 h 376"/>
                        <a:gd name="T60" fmla="*/ 188 w 376"/>
                        <a:gd name="T61" fmla="*/ 376 h 376"/>
                        <a:gd name="T62" fmla="*/ 219 w 376"/>
                        <a:gd name="T63" fmla="*/ 373 h 376"/>
                        <a:gd name="T64" fmla="*/ 248 w 376"/>
                        <a:gd name="T65" fmla="*/ 366 h 376"/>
                        <a:gd name="T66" fmla="*/ 274 w 376"/>
                        <a:gd name="T67" fmla="*/ 354 h 376"/>
                        <a:gd name="T68" fmla="*/ 299 w 376"/>
                        <a:gd name="T69" fmla="*/ 339 h 376"/>
                        <a:gd name="T70" fmla="*/ 321 w 376"/>
                        <a:gd name="T71" fmla="*/ 321 h 376"/>
                        <a:gd name="T72" fmla="*/ 340 w 376"/>
                        <a:gd name="T73" fmla="*/ 299 h 376"/>
                        <a:gd name="T74" fmla="*/ 355 w 376"/>
                        <a:gd name="T75" fmla="*/ 274 h 376"/>
                        <a:gd name="T76" fmla="*/ 366 w 376"/>
                        <a:gd name="T77" fmla="*/ 247 h 376"/>
                        <a:gd name="T78" fmla="*/ 373 w 376"/>
                        <a:gd name="T79" fmla="*/ 218 h 376"/>
                        <a:gd name="T80" fmla="*/ 376 w 376"/>
                        <a:gd name="T81" fmla="*/ 188 h 37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376"/>
                        <a:gd name="T124" fmla="*/ 0 h 376"/>
                        <a:gd name="T125" fmla="*/ 376 w 376"/>
                        <a:gd name="T126" fmla="*/ 376 h 376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376" h="376">
                          <a:moveTo>
                            <a:pt x="376" y="188"/>
                          </a:moveTo>
                          <a:lnTo>
                            <a:pt x="373" y="157"/>
                          </a:lnTo>
                          <a:lnTo>
                            <a:pt x="366" y="128"/>
                          </a:lnTo>
                          <a:lnTo>
                            <a:pt x="355" y="101"/>
                          </a:lnTo>
                          <a:lnTo>
                            <a:pt x="340" y="77"/>
                          </a:lnTo>
                          <a:lnTo>
                            <a:pt x="321" y="55"/>
                          </a:lnTo>
                          <a:lnTo>
                            <a:pt x="299" y="36"/>
                          </a:lnTo>
                          <a:lnTo>
                            <a:pt x="274" y="21"/>
                          </a:lnTo>
                          <a:lnTo>
                            <a:pt x="248" y="9"/>
                          </a:lnTo>
                          <a:lnTo>
                            <a:pt x="219" y="2"/>
                          </a:lnTo>
                          <a:lnTo>
                            <a:pt x="188" y="0"/>
                          </a:lnTo>
                          <a:lnTo>
                            <a:pt x="157" y="2"/>
                          </a:lnTo>
                          <a:lnTo>
                            <a:pt x="128" y="9"/>
                          </a:lnTo>
                          <a:lnTo>
                            <a:pt x="102" y="21"/>
                          </a:lnTo>
                          <a:lnTo>
                            <a:pt x="77" y="36"/>
                          </a:lnTo>
                          <a:lnTo>
                            <a:pt x="55" y="55"/>
                          </a:lnTo>
                          <a:lnTo>
                            <a:pt x="36" y="77"/>
                          </a:lnTo>
                          <a:lnTo>
                            <a:pt x="21" y="101"/>
                          </a:lnTo>
                          <a:lnTo>
                            <a:pt x="10" y="128"/>
                          </a:lnTo>
                          <a:lnTo>
                            <a:pt x="3" y="157"/>
                          </a:lnTo>
                          <a:lnTo>
                            <a:pt x="0" y="188"/>
                          </a:lnTo>
                          <a:lnTo>
                            <a:pt x="3" y="218"/>
                          </a:lnTo>
                          <a:lnTo>
                            <a:pt x="10" y="247"/>
                          </a:lnTo>
                          <a:lnTo>
                            <a:pt x="21" y="274"/>
                          </a:lnTo>
                          <a:lnTo>
                            <a:pt x="36" y="299"/>
                          </a:lnTo>
                          <a:lnTo>
                            <a:pt x="55" y="321"/>
                          </a:lnTo>
                          <a:lnTo>
                            <a:pt x="77" y="339"/>
                          </a:lnTo>
                          <a:lnTo>
                            <a:pt x="102" y="354"/>
                          </a:lnTo>
                          <a:lnTo>
                            <a:pt x="128" y="366"/>
                          </a:lnTo>
                          <a:lnTo>
                            <a:pt x="157" y="373"/>
                          </a:lnTo>
                          <a:lnTo>
                            <a:pt x="188" y="376"/>
                          </a:lnTo>
                          <a:lnTo>
                            <a:pt x="219" y="373"/>
                          </a:lnTo>
                          <a:lnTo>
                            <a:pt x="248" y="366"/>
                          </a:lnTo>
                          <a:lnTo>
                            <a:pt x="274" y="354"/>
                          </a:lnTo>
                          <a:lnTo>
                            <a:pt x="299" y="339"/>
                          </a:lnTo>
                          <a:lnTo>
                            <a:pt x="321" y="321"/>
                          </a:lnTo>
                          <a:lnTo>
                            <a:pt x="340" y="299"/>
                          </a:lnTo>
                          <a:lnTo>
                            <a:pt x="355" y="274"/>
                          </a:lnTo>
                          <a:lnTo>
                            <a:pt x="366" y="247"/>
                          </a:lnTo>
                          <a:lnTo>
                            <a:pt x="373" y="218"/>
                          </a:lnTo>
                          <a:lnTo>
                            <a:pt x="376" y="18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66" name="Freeform 23"/>
                    <p:cNvSpPr>
                      <a:spLocks/>
                    </p:cNvSpPr>
                    <p:nvPr/>
                  </p:nvSpPr>
                  <p:spPr bwMode="auto">
                    <a:xfrm>
                      <a:off x="3576" y="2225"/>
                      <a:ext cx="311" cy="310"/>
                    </a:xfrm>
                    <a:custGeom>
                      <a:avLst/>
                      <a:gdLst>
                        <a:gd name="T0" fmla="*/ 311 w 311"/>
                        <a:gd name="T1" fmla="*/ 155 h 310"/>
                        <a:gd name="T2" fmla="*/ 309 w 311"/>
                        <a:gd name="T3" fmla="*/ 130 h 310"/>
                        <a:gd name="T4" fmla="*/ 303 w 311"/>
                        <a:gd name="T5" fmla="*/ 106 h 310"/>
                        <a:gd name="T6" fmla="*/ 294 w 311"/>
                        <a:gd name="T7" fmla="*/ 84 h 310"/>
                        <a:gd name="T8" fmla="*/ 281 w 311"/>
                        <a:gd name="T9" fmla="*/ 63 h 310"/>
                        <a:gd name="T10" fmla="*/ 265 w 311"/>
                        <a:gd name="T11" fmla="*/ 45 h 310"/>
                        <a:gd name="T12" fmla="*/ 247 w 311"/>
                        <a:gd name="T13" fmla="*/ 30 h 310"/>
                        <a:gd name="T14" fmla="*/ 227 w 311"/>
                        <a:gd name="T15" fmla="*/ 17 h 310"/>
                        <a:gd name="T16" fmla="*/ 204 w 311"/>
                        <a:gd name="T17" fmla="*/ 8 h 310"/>
                        <a:gd name="T18" fmla="*/ 180 w 311"/>
                        <a:gd name="T19" fmla="*/ 2 h 310"/>
                        <a:gd name="T20" fmla="*/ 155 w 311"/>
                        <a:gd name="T21" fmla="*/ 0 h 310"/>
                        <a:gd name="T22" fmla="*/ 130 w 311"/>
                        <a:gd name="T23" fmla="*/ 2 h 310"/>
                        <a:gd name="T24" fmla="*/ 107 w 311"/>
                        <a:gd name="T25" fmla="*/ 8 h 310"/>
                        <a:gd name="T26" fmla="*/ 84 w 311"/>
                        <a:gd name="T27" fmla="*/ 17 h 310"/>
                        <a:gd name="T28" fmla="*/ 63 w 311"/>
                        <a:gd name="T29" fmla="*/ 30 h 310"/>
                        <a:gd name="T30" fmla="*/ 45 w 311"/>
                        <a:gd name="T31" fmla="*/ 45 h 310"/>
                        <a:gd name="T32" fmla="*/ 30 w 311"/>
                        <a:gd name="T33" fmla="*/ 63 h 310"/>
                        <a:gd name="T34" fmla="*/ 17 w 311"/>
                        <a:gd name="T35" fmla="*/ 84 h 310"/>
                        <a:gd name="T36" fmla="*/ 8 w 311"/>
                        <a:gd name="T37" fmla="*/ 106 h 310"/>
                        <a:gd name="T38" fmla="*/ 2 w 311"/>
                        <a:gd name="T39" fmla="*/ 130 h 310"/>
                        <a:gd name="T40" fmla="*/ 0 w 311"/>
                        <a:gd name="T41" fmla="*/ 155 h 310"/>
                        <a:gd name="T42" fmla="*/ 2 w 311"/>
                        <a:gd name="T43" fmla="*/ 180 h 310"/>
                        <a:gd name="T44" fmla="*/ 8 w 311"/>
                        <a:gd name="T45" fmla="*/ 204 h 310"/>
                        <a:gd name="T46" fmla="*/ 17 w 311"/>
                        <a:gd name="T47" fmla="*/ 227 h 310"/>
                        <a:gd name="T48" fmla="*/ 30 w 311"/>
                        <a:gd name="T49" fmla="*/ 246 h 310"/>
                        <a:gd name="T50" fmla="*/ 45 w 311"/>
                        <a:gd name="T51" fmla="*/ 264 h 310"/>
                        <a:gd name="T52" fmla="*/ 63 w 311"/>
                        <a:gd name="T53" fmla="*/ 280 h 310"/>
                        <a:gd name="T54" fmla="*/ 84 w 311"/>
                        <a:gd name="T55" fmla="*/ 293 h 310"/>
                        <a:gd name="T56" fmla="*/ 107 w 311"/>
                        <a:gd name="T57" fmla="*/ 302 h 310"/>
                        <a:gd name="T58" fmla="*/ 130 w 311"/>
                        <a:gd name="T59" fmla="*/ 308 h 310"/>
                        <a:gd name="T60" fmla="*/ 155 w 311"/>
                        <a:gd name="T61" fmla="*/ 310 h 310"/>
                        <a:gd name="T62" fmla="*/ 180 w 311"/>
                        <a:gd name="T63" fmla="*/ 308 h 310"/>
                        <a:gd name="T64" fmla="*/ 204 w 311"/>
                        <a:gd name="T65" fmla="*/ 302 h 310"/>
                        <a:gd name="T66" fmla="*/ 227 w 311"/>
                        <a:gd name="T67" fmla="*/ 293 h 310"/>
                        <a:gd name="T68" fmla="*/ 247 w 311"/>
                        <a:gd name="T69" fmla="*/ 280 h 310"/>
                        <a:gd name="T70" fmla="*/ 265 w 311"/>
                        <a:gd name="T71" fmla="*/ 264 h 310"/>
                        <a:gd name="T72" fmla="*/ 281 w 311"/>
                        <a:gd name="T73" fmla="*/ 246 h 310"/>
                        <a:gd name="T74" fmla="*/ 294 w 311"/>
                        <a:gd name="T75" fmla="*/ 227 h 310"/>
                        <a:gd name="T76" fmla="*/ 303 w 311"/>
                        <a:gd name="T77" fmla="*/ 204 h 310"/>
                        <a:gd name="T78" fmla="*/ 309 w 311"/>
                        <a:gd name="T79" fmla="*/ 180 h 310"/>
                        <a:gd name="T80" fmla="*/ 311 w 311"/>
                        <a:gd name="T81" fmla="*/ 155 h 310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311"/>
                        <a:gd name="T124" fmla="*/ 0 h 310"/>
                        <a:gd name="T125" fmla="*/ 311 w 311"/>
                        <a:gd name="T126" fmla="*/ 310 h 310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311" h="310">
                          <a:moveTo>
                            <a:pt x="311" y="155"/>
                          </a:moveTo>
                          <a:lnTo>
                            <a:pt x="309" y="130"/>
                          </a:lnTo>
                          <a:lnTo>
                            <a:pt x="303" y="106"/>
                          </a:lnTo>
                          <a:lnTo>
                            <a:pt x="294" y="84"/>
                          </a:lnTo>
                          <a:lnTo>
                            <a:pt x="281" y="63"/>
                          </a:lnTo>
                          <a:lnTo>
                            <a:pt x="265" y="45"/>
                          </a:lnTo>
                          <a:lnTo>
                            <a:pt x="247" y="30"/>
                          </a:lnTo>
                          <a:lnTo>
                            <a:pt x="227" y="17"/>
                          </a:lnTo>
                          <a:lnTo>
                            <a:pt x="204" y="8"/>
                          </a:lnTo>
                          <a:lnTo>
                            <a:pt x="180" y="2"/>
                          </a:lnTo>
                          <a:lnTo>
                            <a:pt x="155" y="0"/>
                          </a:lnTo>
                          <a:lnTo>
                            <a:pt x="130" y="2"/>
                          </a:lnTo>
                          <a:lnTo>
                            <a:pt x="107" y="8"/>
                          </a:lnTo>
                          <a:lnTo>
                            <a:pt x="84" y="17"/>
                          </a:lnTo>
                          <a:lnTo>
                            <a:pt x="63" y="30"/>
                          </a:lnTo>
                          <a:lnTo>
                            <a:pt x="45" y="45"/>
                          </a:lnTo>
                          <a:lnTo>
                            <a:pt x="30" y="63"/>
                          </a:lnTo>
                          <a:lnTo>
                            <a:pt x="17" y="84"/>
                          </a:lnTo>
                          <a:lnTo>
                            <a:pt x="8" y="106"/>
                          </a:lnTo>
                          <a:lnTo>
                            <a:pt x="2" y="130"/>
                          </a:lnTo>
                          <a:lnTo>
                            <a:pt x="0" y="155"/>
                          </a:lnTo>
                          <a:lnTo>
                            <a:pt x="2" y="180"/>
                          </a:lnTo>
                          <a:lnTo>
                            <a:pt x="8" y="204"/>
                          </a:lnTo>
                          <a:lnTo>
                            <a:pt x="17" y="227"/>
                          </a:lnTo>
                          <a:lnTo>
                            <a:pt x="30" y="246"/>
                          </a:lnTo>
                          <a:lnTo>
                            <a:pt x="45" y="264"/>
                          </a:lnTo>
                          <a:lnTo>
                            <a:pt x="63" y="280"/>
                          </a:lnTo>
                          <a:lnTo>
                            <a:pt x="84" y="293"/>
                          </a:lnTo>
                          <a:lnTo>
                            <a:pt x="107" y="302"/>
                          </a:lnTo>
                          <a:lnTo>
                            <a:pt x="130" y="308"/>
                          </a:lnTo>
                          <a:lnTo>
                            <a:pt x="155" y="310"/>
                          </a:lnTo>
                          <a:lnTo>
                            <a:pt x="180" y="308"/>
                          </a:lnTo>
                          <a:lnTo>
                            <a:pt x="204" y="302"/>
                          </a:lnTo>
                          <a:lnTo>
                            <a:pt x="227" y="293"/>
                          </a:lnTo>
                          <a:lnTo>
                            <a:pt x="247" y="280"/>
                          </a:lnTo>
                          <a:lnTo>
                            <a:pt x="265" y="264"/>
                          </a:lnTo>
                          <a:lnTo>
                            <a:pt x="281" y="246"/>
                          </a:lnTo>
                          <a:lnTo>
                            <a:pt x="294" y="227"/>
                          </a:lnTo>
                          <a:lnTo>
                            <a:pt x="303" y="204"/>
                          </a:lnTo>
                          <a:lnTo>
                            <a:pt x="309" y="180"/>
                          </a:lnTo>
                          <a:lnTo>
                            <a:pt x="311" y="15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67" name="Freeform 24"/>
                    <p:cNvSpPr>
                      <a:spLocks/>
                    </p:cNvSpPr>
                    <p:nvPr/>
                  </p:nvSpPr>
                  <p:spPr bwMode="auto">
                    <a:xfrm>
                      <a:off x="3576" y="2225"/>
                      <a:ext cx="311" cy="310"/>
                    </a:xfrm>
                    <a:custGeom>
                      <a:avLst/>
                      <a:gdLst>
                        <a:gd name="T0" fmla="*/ 311 w 311"/>
                        <a:gd name="T1" fmla="*/ 155 h 310"/>
                        <a:gd name="T2" fmla="*/ 309 w 311"/>
                        <a:gd name="T3" fmla="*/ 130 h 310"/>
                        <a:gd name="T4" fmla="*/ 303 w 311"/>
                        <a:gd name="T5" fmla="*/ 106 h 310"/>
                        <a:gd name="T6" fmla="*/ 294 w 311"/>
                        <a:gd name="T7" fmla="*/ 84 h 310"/>
                        <a:gd name="T8" fmla="*/ 281 w 311"/>
                        <a:gd name="T9" fmla="*/ 63 h 310"/>
                        <a:gd name="T10" fmla="*/ 265 w 311"/>
                        <a:gd name="T11" fmla="*/ 45 h 310"/>
                        <a:gd name="T12" fmla="*/ 247 w 311"/>
                        <a:gd name="T13" fmla="*/ 30 h 310"/>
                        <a:gd name="T14" fmla="*/ 227 w 311"/>
                        <a:gd name="T15" fmla="*/ 17 h 310"/>
                        <a:gd name="T16" fmla="*/ 204 w 311"/>
                        <a:gd name="T17" fmla="*/ 8 h 310"/>
                        <a:gd name="T18" fmla="*/ 180 w 311"/>
                        <a:gd name="T19" fmla="*/ 2 h 310"/>
                        <a:gd name="T20" fmla="*/ 155 w 311"/>
                        <a:gd name="T21" fmla="*/ 0 h 310"/>
                        <a:gd name="T22" fmla="*/ 130 w 311"/>
                        <a:gd name="T23" fmla="*/ 2 h 310"/>
                        <a:gd name="T24" fmla="*/ 107 w 311"/>
                        <a:gd name="T25" fmla="*/ 8 h 310"/>
                        <a:gd name="T26" fmla="*/ 84 w 311"/>
                        <a:gd name="T27" fmla="*/ 17 h 310"/>
                        <a:gd name="T28" fmla="*/ 63 w 311"/>
                        <a:gd name="T29" fmla="*/ 30 h 310"/>
                        <a:gd name="T30" fmla="*/ 45 w 311"/>
                        <a:gd name="T31" fmla="*/ 45 h 310"/>
                        <a:gd name="T32" fmla="*/ 30 w 311"/>
                        <a:gd name="T33" fmla="*/ 63 h 310"/>
                        <a:gd name="T34" fmla="*/ 17 w 311"/>
                        <a:gd name="T35" fmla="*/ 84 h 310"/>
                        <a:gd name="T36" fmla="*/ 8 w 311"/>
                        <a:gd name="T37" fmla="*/ 106 h 310"/>
                        <a:gd name="T38" fmla="*/ 2 w 311"/>
                        <a:gd name="T39" fmla="*/ 130 h 310"/>
                        <a:gd name="T40" fmla="*/ 0 w 311"/>
                        <a:gd name="T41" fmla="*/ 155 h 310"/>
                        <a:gd name="T42" fmla="*/ 2 w 311"/>
                        <a:gd name="T43" fmla="*/ 180 h 310"/>
                        <a:gd name="T44" fmla="*/ 8 w 311"/>
                        <a:gd name="T45" fmla="*/ 204 h 310"/>
                        <a:gd name="T46" fmla="*/ 17 w 311"/>
                        <a:gd name="T47" fmla="*/ 227 h 310"/>
                        <a:gd name="T48" fmla="*/ 30 w 311"/>
                        <a:gd name="T49" fmla="*/ 246 h 310"/>
                        <a:gd name="T50" fmla="*/ 45 w 311"/>
                        <a:gd name="T51" fmla="*/ 264 h 310"/>
                        <a:gd name="T52" fmla="*/ 63 w 311"/>
                        <a:gd name="T53" fmla="*/ 280 h 310"/>
                        <a:gd name="T54" fmla="*/ 84 w 311"/>
                        <a:gd name="T55" fmla="*/ 293 h 310"/>
                        <a:gd name="T56" fmla="*/ 107 w 311"/>
                        <a:gd name="T57" fmla="*/ 302 h 310"/>
                        <a:gd name="T58" fmla="*/ 130 w 311"/>
                        <a:gd name="T59" fmla="*/ 308 h 310"/>
                        <a:gd name="T60" fmla="*/ 155 w 311"/>
                        <a:gd name="T61" fmla="*/ 310 h 310"/>
                        <a:gd name="T62" fmla="*/ 180 w 311"/>
                        <a:gd name="T63" fmla="*/ 308 h 310"/>
                        <a:gd name="T64" fmla="*/ 204 w 311"/>
                        <a:gd name="T65" fmla="*/ 302 h 310"/>
                        <a:gd name="T66" fmla="*/ 227 w 311"/>
                        <a:gd name="T67" fmla="*/ 293 h 310"/>
                        <a:gd name="T68" fmla="*/ 247 w 311"/>
                        <a:gd name="T69" fmla="*/ 280 h 310"/>
                        <a:gd name="T70" fmla="*/ 265 w 311"/>
                        <a:gd name="T71" fmla="*/ 264 h 310"/>
                        <a:gd name="T72" fmla="*/ 281 w 311"/>
                        <a:gd name="T73" fmla="*/ 246 h 310"/>
                        <a:gd name="T74" fmla="*/ 294 w 311"/>
                        <a:gd name="T75" fmla="*/ 227 h 310"/>
                        <a:gd name="T76" fmla="*/ 303 w 311"/>
                        <a:gd name="T77" fmla="*/ 204 h 310"/>
                        <a:gd name="T78" fmla="*/ 309 w 311"/>
                        <a:gd name="T79" fmla="*/ 180 h 310"/>
                        <a:gd name="T80" fmla="*/ 311 w 311"/>
                        <a:gd name="T81" fmla="*/ 155 h 310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60000 65536"/>
                        <a:gd name="T112" fmla="*/ 0 60000 65536"/>
                        <a:gd name="T113" fmla="*/ 0 60000 65536"/>
                        <a:gd name="T114" fmla="*/ 0 60000 65536"/>
                        <a:gd name="T115" fmla="*/ 0 60000 65536"/>
                        <a:gd name="T116" fmla="*/ 0 60000 65536"/>
                        <a:gd name="T117" fmla="*/ 0 60000 65536"/>
                        <a:gd name="T118" fmla="*/ 0 60000 65536"/>
                        <a:gd name="T119" fmla="*/ 0 60000 65536"/>
                        <a:gd name="T120" fmla="*/ 0 60000 65536"/>
                        <a:gd name="T121" fmla="*/ 0 60000 65536"/>
                        <a:gd name="T122" fmla="*/ 0 60000 65536"/>
                        <a:gd name="T123" fmla="*/ 0 w 311"/>
                        <a:gd name="T124" fmla="*/ 0 h 310"/>
                        <a:gd name="T125" fmla="*/ 311 w 311"/>
                        <a:gd name="T126" fmla="*/ 310 h 310"/>
                      </a:gdLst>
                      <a:ahLst/>
                      <a:cxnLst>
                        <a:cxn ang="T82">
                          <a:pos x="T0" y="T1"/>
                        </a:cxn>
                        <a:cxn ang="T83">
                          <a:pos x="T2" y="T3"/>
                        </a:cxn>
                        <a:cxn ang="T84">
                          <a:pos x="T4" y="T5"/>
                        </a:cxn>
                        <a:cxn ang="T85">
                          <a:pos x="T6" y="T7"/>
                        </a:cxn>
                        <a:cxn ang="T86">
                          <a:pos x="T8" y="T9"/>
                        </a:cxn>
                        <a:cxn ang="T87">
                          <a:pos x="T10" y="T11"/>
                        </a:cxn>
                        <a:cxn ang="T88">
                          <a:pos x="T12" y="T13"/>
                        </a:cxn>
                        <a:cxn ang="T89">
                          <a:pos x="T14" y="T15"/>
                        </a:cxn>
                        <a:cxn ang="T90">
                          <a:pos x="T16" y="T17"/>
                        </a:cxn>
                        <a:cxn ang="T91">
                          <a:pos x="T18" y="T19"/>
                        </a:cxn>
                        <a:cxn ang="T92">
                          <a:pos x="T20" y="T21"/>
                        </a:cxn>
                        <a:cxn ang="T93">
                          <a:pos x="T22" y="T23"/>
                        </a:cxn>
                        <a:cxn ang="T94">
                          <a:pos x="T24" y="T25"/>
                        </a:cxn>
                        <a:cxn ang="T95">
                          <a:pos x="T26" y="T27"/>
                        </a:cxn>
                        <a:cxn ang="T96">
                          <a:pos x="T28" y="T29"/>
                        </a:cxn>
                        <a:cxn ang="T97">
                          <a:pos x="T30" y="T31"/>
                        </a:cxn>
                        <a:cxn ang="T98">
                          <a:pos x="T32" y="T33"/>
                        </a:cxn>
                        <a:cxn ang="T99">
                          <a:pos x="T34" y="T35"/>
                        </a:cxn>
                        <a:cxn ang="T100">
                          <a:pos x="T36" y="T37"/>
                        </a:cxn>
                        <a:cxn ang="T101">
                          <a:pos x="T38" y="T39"/>
                        </a:cxn>
                        <a:cxn ang="T102">
                          <a:pos x="T40" y="T41"/>
                        </a:cxn>
                        <a:cxn ang="T103">
                          <a:pos x="T42" y="T43"/>
                        </a:cxn>
                        <a:cxn ang="T104">
                          <a:pos x="T44" y="T45"/>
                        </a:cxn>
                        <a:cxn ang="T105">
                          <a:pos x="T46" y="T47"/>
                        </a:cxn>
                        <a:cxn ang="T106">
                          <a:pos x="T48" y="T49"/>
                        </a:cxn>
                        <a:cxn ang="T107">
                          <a:pos x="T50" y="T51"/>
                        </a:cxn>
                        <a:cxn ang="T108">
                          <a:pos x="T52" y="T53"/>
                        </a:cxn>
                        <a:cxn ang="T109">
                          <a:pos x="T54" y="T55"/>
                        </a:cxn>
                        <a:cxn ang="T110">
                          <a:pos x="T56" y="T57"/>
                        </a:cxn>
                        <a:cxn ang="T111">
                          <a:pos x="T58" y="T59"/>
                        </a:cxn>
                        <a:cxn ang="T112">
                          <a:pos x="T60" y="T61"/>
                        </a:cxn>
                        <a:cxn ang="T113">
                          <a:pos x="T62" y="T63"/>
                        </a:cxn>
                        <a:cxn ang="T114">
                          <a:pos x="T64" y="T65"/>
                        </a:cxn>
                        <a:cxn ang="T115">
                          <a:pos x="T66" y="T67"/>
                        </a:cxn>
                        <a:cxn ang="T116">
                          <a:pos x="T68" y="T69"/>
                        </a:cxn>
                        <a:cxn ang="T117">
                          <a:pos x="T70" y="T71"/>
                        </a:cxn>
                        <a:cxn ang="T118">
                          <a:pos x="T72" y="T73"/>
                        </a:cxn>
                        <a:cxn ang="T119">
                          <a:pos x="T74" y="T75"/>
                        </a:cxn>
                        <a:cxn ang="T120">
                          <a:pos x="T76" y="T77"/>
                        </a:cxn>
                        <a:cxn ang="T121">
                          <a:pos x="T78" y="T79"/>
                        </a:cxn>
                        <a:cxn ang="T122">
                          <a:pos x="T80" y="T81"/>
                        </a:cxn>
                      </a:cxnLst>
                      <a:rect l="T123" t="T124" r="T125" b="T126"/>
                      <a:pathLst>
                        <a:path w="311" h="310">
                          <a:moveTo>
                            <a:pt x="311" y="155"/>
                          </a:moveTo>
                          <a:lnTo>
                            <a:pt x="309" y="130"/>
                          </a:lnTo>
                          <a:lnTo>
                            <a:pt x="303" y="106"/>
                          </a:lnTo>
                          <a:lnTo>
                            <a:pt x="294" y="84"/>
                          </a:lnTo>
                          <a:lnTo>
                            <a:pt x="281" y="63"/>
                          </a:lnTo>
                          <a:lnTo>
                            <a:pt x="265" y="45"/>
                          </a:lnTo>
                          <a:lnTo>
                            <a:pt x="247" y="30"/>
                          </a:lnTo>
                          <a:lnTo>
                            <a:pt x="227" y="17"/>
                          </a:lnTo>
                          <a:lnTo>
                            <a:pt x="204" y="8"/>
                          </a:lnTo>
                          <a:lnTo>
                            <a:pt x="180" y="2"/>
                          </a:lnTo>
                          <a:lnTo>
                            <a:pt x="155" y="0"/>
                          </a:lnTo>
                          <a:lnTo>
                            <a:pt x="130" y="2"/>
                          </a:lnTo>
                          <a:lnTo>
                            <a:pt x="107" y="8"/>
                          </a:lnTo>
                          <a:lnTo>
                            <a:pt x="84" y="17"/>
                          </a:lnTo>
                          <a:lnTo>
                            <a:pt x="63" y="30"/>
                          </a:lnTo>
                          <a:lnTo>
                            <a:pt x="45" y="45"/>
                          </a:lnTo>
                          <a:lnTo>
                            <a:pt x="30" y="63"/>
                          </a:lnTo>
                          <a:lnTo>
                            <a:pt x="17" y="84"/>
                          </a:lnTo>
                          <a:lnTo>
                            <a:pt x="8" y="106"/>
                          </a:lnTo>
                          <a:lnTo>
                            <a:pt x="2" y="130"/>
                          </a:lnTo>
                          <a:lnTo>
                            <a:pt x="0" y="155"/>
                          </a:lnTo>
                          <a:lnTo>
                            <a:pt x="2" y="180"/>
                          </a:lnTo>
                          <a:lnTo>
                            <a:pt x="8" y="204"/>
                          </a:lnTo>
                          <a:lnTo>
                            <a:pt x="17" y="227"/>
                          </a:lnTo>
                          <a:lnTo>
                            <a:pt x="30" y="246"/>
                          </a:lnTo>
                          <a:lnTo>
                            <a:pt x="45" y="264"/>
                          </a:lnTo>
                          <a:lnTo>
                            <a:pt x="63" y="280"/>
                          </a:lnTo>
                          <a:lnTo>
                            <a:pt x="84" y="293"/>
                          </a:lnTo>
                          <a:lnTo>
                            <a:pt x="107" y="302"/>
                          </a:lnTo>
                          <a:lnTo>
                            <a:pt x="130" y="308"/>
                          </a:lnTo>
                          <a:lnTo>
                            <a:pt x="155" y="310"/>
                          </a:lnTo>
                          <a:lnTo>
                            <a:pt x="180" y="308"/>
                          </a:lnTo>
                          <a:lnTo>
                            <a:pt x="204" y="302"/>
                          </a:lnTo>
                          <a:lnTo>
                            <a:pt x="227" y="293"/>
                          </a:lnTo>
                          <a:lnTo>
                            <a:pt x="247" y="280"/>
                          </a:lnTo>
                          <a:lnTo>
                            <a:pt x="265" y="264"/>
                          </a:lnTo>
                          <a:lnTo>
                            <a:pt x="281" y="246"/>
                          </a:lnTo>
                          <a:lnTo>
                            <a:pt x="294" y="227"/>
                          </a:lnTo>
                          <a:lnTo>
                            <a:pt x="303" y="204"/>
                          </a:lnTo>
                          <a:lnTo>
                            <a:pt x="309" y="180"/>
                          </a:lnTo>
                          <a:lnTo>
                            <a:pt x="311" y="15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68" name="Freeform 25"/>
                    <p:cNvSpPr>
                      <a:spLocks/>
                    </p:cNvSpPr>
                    <p:nvPr/>
                  </p:nvSpPr>
                  <p:spPr bwMode="auto">
                    <a:xfrm>
                      <a:off x="3621" y="1403"/>
                      <a:ext cx="294" cy="294"/>
                    </a:xfrm>
                    <a:custGeom>
                      <a:avLst/>
                      <a:gdLst>
                        <a:gd name="T0" fmla="*/ 294 w 294"/>
                        <a:gd name="T1" fmla="*/ 148 h 294"/>
                        <a:gd name="T2" fmla="*/ 292 w 294"/>
                        <a:gd name="T3" fmla="*/ 121 h 294"/>
                        <a:gd name="T4" fmla="*/ 285 w 294"/>
                        <a:gd name="T5" fmla="*/ 96 h 294"/>
                        <a:gd name="T6" fmla="*/ 274 w 294"/>
                        <a:gd name="T7" fmla="*/ 73 h 294"/>
                        <a:gd name="T8" fmla="*/ 260 w 294"/>
                        <a:gd name="T9" fmla="*/ 52 h 294"/>
                        <a:gd name="T10" fmla="*/ 242 w 294"/>
                        <a:gd name="T11" fmla="*/ 34 h 294"/>
                        <a:gd name="T12" fmla="*/ 221 w 294"/>
                        <a:gd name="T13" fmla="*/ 20 h 294"/>
                        <a:gd name="T14" fmla="*/ 198 w 294"/>
                        <a:gd name="T15" fmla="*/ 9 h 294"/>
                        <a:gd name="T16" fmla="*/ 173 w 294"/>
                        <a:gd name="T17" fmla="*/ 2 h 294"/>
                        <a:gd name="T18" fmla="*/ 146 w 294"/>
                        <a:gd name="T19" fmla="*/ 0 h 294"/>
                        <a:gd name="T20" fmla="*/ 120 w 294"/>
                        <a:gd name="T21" fmla="*/ 2 h 294"/>
                        <a:gd name="T22" fmla="*/ 95 w 294"/>
                        <a:gd name="T23" fmla="*/ 9 h 294"/>
                        <a:gd name="T24" fmla="*/ 73 w 294"/>
                        <a:gd name="T25" fmla="*/ 20 h 294"/>
                        <a:gd name="T26" fmla="*/ 52 w 294"/>
                        <a:gd name="T27" fmla="*/ 34 h 294"/>
                        <a:gd name="T28" fmla="*/ 34 w 294"/>
                        <a:gd name="T29" fmla="*/ 52 h 294"/>
                        <a:gd name="T30" fmla="*/ 20 w 294"/>
                        <a:gd name="T31" fmla="*/ 73 h 294"/>
                        <a:gd name="T32" fmla="*/ 9 w 294"/>
                        <a:gd name="T33" fmla="*/ 96 h 294"/>
                        <a:gd name="T34" fmla="*/ 2 w 294"/>
                        <a:gd name="T35" fmla="*/ 121 h 294"/>
                        <a:gd name="T36" fmla="*/ 0 w 294"/>
                        <a:gd name="T37" fmla="*/ 148 h 294"/>
                        <a:gd name="T38" fmla="*/ 2 w 294"/>
                        <a:gd name="T39" fmla="*/ 174 h 294"/>
                        <a:gd name="T40" fmla="*/ 9 w 294"/>
                        <a:gd name="T41" fmla="*/ 199 h 294"/>
                        <a:gd name="T42" fmla="*/ 20 w 294"/>
                        <a:gd name="T43" fmla="*/ 221 h 294"/>
                        <a:gd name="T44" fmla="*/ 34 w 294"/>
                        <a:gd name="T45" fmla="*/ 242 h 294"/>
                        <a:gd name="T46" fmla="*/ 52 w 294"/>
                        <a:gd name="T47" fmla="*/ 260 h 294"/>
                        <a:gd name="T48" fmla="*/ 73 w 294"/>
                        <a:gd name="T49" fmla="*/ 274 h 294"/>
                        <a:gd name="T50" fmla="*/ 95 w 294"/>
                        <a:gd name="T51" fmla="*/ 285 h 294"/>
                        <a:gd name="T52" fmla="*/ 120 w 294"/>
                        <a:gd name="T53" fmla="*/ 292 h 294"/>
                        <a:gd name="T54" fmla="*/ 146 w 294"/>
                        <a:gd name="T55" fmla="*/ 294 h 294"/>
                        <a:gd name="T56" fmla="*/ 173 w 294"/>
                        <a:gd name="T57" fmla="*/ 292 h 294"/>
                        <a:gd name="T58" fmla="*/ 198 w 294"/>
                        <a:gd name="T59" fmla="*/ 285 h 294"/>
                        <a:gd name="T60" fmla="*/ 221 w 294"/>
                        <a:gd name="T61" fmla="*/ 274 h 294"/>
                        <a:gd name="T62" fmla="*/ 242 w 294"/>
                        <a:gd name="T63" fmla="*/ 260 h 294"/>
                        <a:gd name="T64" fmla="*/ 260 w 294"/>
                        <a:gd name="T65" fmla="*/ 242 h 294"/>
                        <a:gd name="T66" fmla="*/ 274 w 294"/>
                        <a:gd name="T67" fmla="*/ 221 h 294"/>
                        <a:gd name="T68" fmla="*/ 285 w 294"/>
                        <a:gd name="T69" fmla="*/ 199 h 294"/>
                        <a:gd name="T70" fmla="*/ 292 w 294"/>
                        <a:gd name="T71" fmla="*/ 174 h 294"/>
                        <a:gd name="T72" fmla="*/ 294 w 294"/>
                        <a:gd name="T73" fmla="*/ 148 h 294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94"/>
                        <a:gd name="T112" fmla="*/ 0 h 294"/>
                        <a:gd name="T113" fmla="*/ 294 w 294"/>
                        <a:gd name="T114" fmla="*/ 294 h 294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94" h="294">
                          <a:moveTo>
                            <a:pt x="294" y="148"/>
                          </a:moveTo>
                          <a:lnTo>
                            <a:pt x="292" y="121"/>
                          </a:lnTo>
                          <a:lnTo>
                            <a:pt x="285" y="96"/>
                          </a:lnTo>
                          <a:lnTo>
                            <a:pt x="274" y="73"/>
                          </a:lnTo>
                          <a:lnTo>
                            <a:pt x="260" y="52"/>
                          </a:lnTo>
                          <a:lnTo>
                            <a:pt x="242" y="34"/>
                          </a:lnTo>
                          <a:lnTo>
                            <a:pt x="221" y="20"/>
                          </a:lnTo>
                          <a:lnTo>
                            <a:pt x="198" y="9"/>
                          </a:lnTo>
                          <a:lnTo>
                            <a:pt x="173" y="2"/>
                          </a:lnTo>
                          <a:lnTo>
                            <a:pt x="146" y="0"/>
                          </a:lnTo>
                          <a:lnTo>
                            <a:pt x="120" y="2"/>
                          </a:lnTo>
                          <a:lnTo>
                            <a:pt x="95" y="9"/>
                          </a:lnTo>
                          <a:lnTo>
                            <a:pt x="73" y="20"/>
                          </a:lnTo>
                          <a:lnTo>
                            <a:pt x="52" y="34"/>
                          </a:lnTo>
                          <a:lnTo>
                            <a:pt x="34" y="52"/>
                          </a:lnTo>
                          <a:lnTo>
                            <a:pt x="20" y="73"/>
                          </a:lnTo>
                          <a:lnTo>
                            <a:pt x="9" y="96"/>
                          </a:lnTo>
                          <a:lnTo>
                            <a:pt x="2" y="121"/>
                          </a:lnTo>
                          <a:lnTo>
                            <a:pt x="0" y="148"/>
                          </a:lnTo>
                          <a:lnTo>
                            <a:pt x="2" y="174"/>
                          </a:lnTo>
                          <a:lnTo>
                            <a:pt x="9" y="199"/>
                          </a:lnTo>
                          <a:lnTo>
                            <a:pt x="20" y="221"/>
                          </a:lnTo>
                          <a:lnTo>
                            <a:pt x="34" y="242"/>
                          </a:lnTo>
                          <a:lnTo>
                            <a:pt x="52" y="260"/>
                          </a:lnTo>
                          <a:lnTo>
                            <a:pt x="73" y="274"/>
                          </a:lnTo>
                          <a:lnTo>
                            <a:pt x="95" y="285"/>
                          </a:lnTo>
                          <a:lnTo>
                            <a:pt x="120" y="292"/>
                          </a:lnTo>
                          <a:lnTo>
                            <a:pt x="146" y="294"/>
                          </a:lnTo>
                          <a:lnTo>
                            <a:pt x="173" y="292"/>
                          </a:lnTo>
                          <a:lnTo>
                            <a:pt x="198" y="285"/>
                          </a:lnTo>
                          <a:lnTo>
                            <a:pt x="221" y="274"/>
                          </a:lnTo>
                          <a:lnTo>
                            <a:pt x="242" y="260"/>
                          </a:lnTo>
                          <a:lnTo>
                            <a:pt x="260" y="242"/>
                          </a:lnTo>
                          <a:lnTo>
                            <a:pt x="274" y="221"/>
                          </a:lnTo>
                          <a:lnTo>
                            <a:pt x="285" y="199"/>
                          </a:lnTo>
                          <a:lnTo>
                            <a:pt x="292" y="174"/>
                          </a:lnTo>
                          <a:lnTo>
                            <a:pt x="294" y="14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69" name="Freeform 26"/>
                    <p:cNvSpPr>
                      <a:spLocks/>
                    </p:cNvSpPr>
                    <p:nvPr/>
                  </p:nvSpPr>
                  <p:spPr bwMode="auto">
                    <a:xfrm>
                      <a:off x="3621" y="1403"/>
                      <a:ext cx="294" cy="294"/>
                    </a:xfrm>
                    <a:custGeom>
                      <a:avLst/>
                      <a:gdLst>
                        <a:gd name="T0" fmla="*/ 294 w 294"/>
                        <a:gd name="T1" fmla="*/ 148 h 294"/>
                        <a:gd name="T2" fmla="*/ 292 w 294"/>
                        <a:gd name="T3" fmla="*/ 121 h 294"/>
                        <a:gd name="T4" fmla="*/ 285 w 294"/>
                        <a:gd name="T5" fmla="*/ 96 h 294"/>
                        <a:gd name="T6" fmla="*/ 274 w 294"/>
                        <a:gd name="T7" fmla="*/ 73 h 294"/>
                        <a:gd name="T8" fmla="*/ 260 w 294"/>
                        <a:gd name="T9" fmla="*/ 52 h 294"/>
                        <a:gd name="T10" fmla="*/ 242 w 294"/>
                        <a:gd name="T11" fmla="*/ 34 h 294"/>
                        <a:gd name="T12" fmla="*/ 221 w 294"/>
                        <a:gd name="T13" fmla="*/ 20 h 294"/>
                        <a:gd name="T14" fmla="*/ 198 w 294"/>
                        <a:gd name="T15" fmla="*/ 9 h 294"/>
                        <a:gd name="T16" fmla="*/ 173 w 294"/>
                        <a:gd name="T17" fmla="*/ 2 h 294"/>
                        <a:gd name="T18" fmla="*/ 146 w 294"/>
                        <a:gd name="T19" fmla="*/ 0 h 294"/>
                        <a:gd name="T20" fmla="*/ 120 w 294"/>
                        <a:gd name="T21" fmla="*/ 2 h 294"/>
                        <a:gd name="T22" fmla="*/ 95 w 294"/>
                        <a:gd name="T23" fmla="*/ 9 h 294"/>
                        <a:gd name="T24" fmla="*/ 73 w 294"/>
                        <a:gd name="T25" fmla="*/ 20 h 294"/>
                        <a:gd name="T26" fmla="*/ 52 w 294"/>
                        <a:gd name="T27" fmla="*/ 34 h 294"/>
                        <a:gd name="T28" fmla="*/ 34 w 294"/>
                        <a:gd name="T29" fmla="*/ 52 h 294"/>
                        <a:gd name="T30" fmla="*/ 20 w 294"/>
                        <a:gd name="T31" fmla="*/ 73 h 294"/>
                        <a:gd name="T32" fmla="*/ 9 w 294"/>
                        <a:gd name="T33" fmla="*/ 96 h 294"/>
                        <a:gd name="T34" fmla="*/ 2 w 294"/>
                        <a:gd name="T35" fmla="*/ 121 h 294"/>
                        <a:gd name="T36" fmla="*/ 0 w 294"/>
                        <a:gd name="T37" fmla="*/ 148 h 294"/>
                        <a:gd name="T38" fmla="*/ 2 w 294"/>
                        <a:gd name="T39" fmla="*/ 174 h 294"/>
                        <a:gd name="T40" fmla="*/ 9 w 294"/>
                        <a:gd name="T41" fmla="*/ 199 h 294"/>
                        <a:gd name="T42" fmla="*/ 20 w 294"/>
                        <a:gd name="T43" fmla="*/ 221 h 294"/>
                        <a:gd name="T44" fmla="*/ 34 w 294"/>
                        <a:gd name="T45" fmla="*/ 242 h 294"/>
                        <a:gd name="T46" fmla="*/ 52 w 294"/>
                        <a:gd name="T47" fmla="*/ 260 h 294"/>
                        <a:gd name="T48" fmla="*/ 73 w 294"/>
                        <a:gd name="T49" fmla="*/ 274 h 294"/>
                        <a:gd name="T50" fmla="*/ 95 w 294"/>
                        <a:gd name="T51" fmla="*/ 285 h 294"/>
                        <a:gd name="T52" fmla="*/ 120 w 294"/>
                        <a:gd name="T53" fmla="*/ 292 h 294"/>
                        <a:gd name="T54" fmla="*/ 146 w 294"/>
                        <a:gd name="T55" fmla="*/ 294 h 294"/>
                        <a:gd name="T56" fmla="*/ 173 w 294"/>
                        <a:gd name="T57" fmla="*/ 292 h 294"/>
                        <a:gd name="T58" fmla="*/ 198 w 294"/>
                        <a:gd name="T59" fmla="*/ 285 h 294"/>
                        <a:gd name="T60" fmla="*/ 221 w 294"/>
                        <a:gd name="T61" fmla="*/ 274 h 294"/>
                        <a:gd name="T62" fmla="*/ 242 w 294"/>
                        <a:gd name="T63" fmla="*/ 260 h 294"/>
                        <a:gd name="T64" fmla="*/ 260 w 294"/>
                        <a:gd name="T65" fmla="*/ 242 h 294"/>
                        <a:gd name="T66" fmla="*/ 274 w 294"/>
                        <a:gd name="T67" fmla="*/ 221 h 294"/>
                        <a:gd name="T68" fmla="*/ 285 w 294"/>
                        <a:gd name="T69" fmla="*/ 199 h 294"/>
                        <a:gd name="T70" fmla="*/ 292 w 294"/>
                        <a:gd name="T71" fmla="*/ 174 h 294"/>
                        <a:gd name="T72" fmla="*/ 294 w 294"/>
                        <a:gd name="T73" fmla="*/ 148 h 294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94"/>
                        <a:gd name="T112" fmla="*/ 0 h 294"/>
                        <a:gd name="T113" fmla="*/ 294 w 294"/>
                        <a:gd name="T114" fmla="*/ 294 h 294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94" h="294">
                          <a:moveTo>
                            <a:pt x="294" y="148"/>
                          </a:moveTo>
                          <a:lnTo>
                            <a:pt x="292" y="121"/>
                          </a:lnTo>
                          <a:lnTo>
                            <a:pt x="285" y="96"/>
                          </a:lnTo>
                          <a:lnTo>
                            <a:pt x="274" y="73"/>
                          </a:lnTo>
                          <a:lnTo>
                            <a:pt x="260" y="52"/>
                          </a:lnTo>
                          <a:lnTo>
                            <a:pt x="242" y="34"/>
                          </a:lnTo>
                          <a:lnTo>
                            <a:pt x="221" y="20"/>
                          </a:lnTo>
                          <a:lnTo>
                            <a:pt x="198" y="9"/>
                          </a:lnTo>
                          <a:lnTo>
                            <a:pt x="173" y="2"/>
                          </a:lnTo>
                          <a:lnTo>
                            <a:pt x="146" y="0"/>
                          </a:lnTo>
                          <a:lnTo>
                            <a:pt x="120" y="2"/>
                          </a:lnTo>
                          <a:lnTo>
                            <a:pt x="95" y="9"/>
                          </a:lnTo>
                          <a:lnTo>
                            <a:pt x="73" y="20"/>
                          </a:lnTo>
                          <a:lnTo>
                            <a:pt x="52" y="34"/>
                          </a:lnTo>
                          <a:lnTo>
                            <a:pt x="34" y="52"/>
                          </a:lnTo>
                          <a:lnTo>
                            <a:pt x="20" y="73"/>
                          </a:lnTo>
                          <a:lnTo>
                            <a:pt x="9" y="96"/>
                          </a:lnTo>
                          <a:lnTo>
                            <a:pt x="2" y="121"/>
                          </a:lnTo>
                          <a:lnTo>
                            <a:pt x="0" y="148"/>
                          </a:lnTo>
                          <a:lnTo>
                            <a:pt x="2" y="174"/>
                          </a:lnTo>
                          <a:lnTo>
                            <a:pt x="9" y="199"/>
                          </a:lnTo>
                          <a:lnTo>
                            <a:pt x="20" y="221"/>
                          </a:lnTo>
                          <a:lnTo>
                            <a:pt x="34" y="242"/>
                          </a:lnTo>
                          <a:lnTo>
                            <a:pt x="52" y="260"/>
                          </a:lnTo>
                          <a:lnTo>
                            <a:pt x="73" y="274"/>
                          </a:lnTo>
                          <a:lnTo>
                            <a:pt x="95" y="285"/>
                          </a:lnTo>
                          <a:lnTo>
                            <a:pt x="120" y="292"/>
                          </a:lnTo>
                          <a:lnTo>
                            <a:pt x="146" y="294"/>
                          </a:lnTo>
                          <a:lnTo>
                            <a:pt x="173" y="292"/>
                          </a:lnTo>
                          <a:lnTo>
                            <a:pt x="198" y="285"/>
                          </a:lnTo>
                          <a:lnTo>
                            <a:pt x="221" y="274"/>
                          </a:lnTo>
                          <a:lnTo>
                            <a:pt x="242" y="260"/>
                          </a:lnTo>
                          <a:lnTo>
                            <a:pt x="260" y="242"/>
                          </a:lnTo>
                          <a:lnTo>
                            <a:pt x="274" y="221"/>
                          </a:lnTo>
                          <a:lnTo>
                            <a:pt x="285" y="199"/>
                          </a:lnTo>
                          <a:lnTo>
                            <a:pt x="292" y="174"/>
                          </a:lnTo>
                          <a:lnTo>
                            <a:pt x="294" y="14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0" name="Freeform 27"/>
                    <p:cNvSpPr>
                      <a:spLocks/>
                    </p:cNvSpPr>
                    <p:nvPr/>
                  </p:nvSpPr>
                  <p:spPr bwMode="auto">
                    <a:xfrm>
                      <a:off x="4450" y="2639"/>
                      <a:ext cx="289" cy="288"/>
                    </a:xfrm>
                    <a:custGeom>
                      <a:avLst/>
                      <a:gdLst>
                        <a:gd name="T0" fmla="*/ 289 w 289"/>
                        <a:gd name="T1" fmla="*/ 144 h 288"/>
                        <a:gd name="T2" fmla="*/ 287 w 289"/>
                        <a:gd name="T3" fmla="*/ 118 h 288"/>
                        <a:gd name="T4" fmla="*/ 280 w 289"/>
                        <a:gd name="T5" fmla="*/ 94 h 288"/>
                        <a:gd name="T6" fmla="*/ 270 w 289"/>
                        <a:gd name="T7" fmla="*/ 71 h 288"/>
                        <a:gd name="T8" fmla="*/ 256 w 289"/>
                        <a:gd name="T9" fmla="*/ 51 h 288"/>
                        <a:gd name="T10" fmla="*/ 238 w 289"/>
                        <a:gd name="T11" fmla="*/ 34 h 288"/>
                        <a:gd name="T12" fmla="*/ 218 w 289"/>
                        <a:gd name="T13" fmla="*/ 19 h 288"/>
                        <a:gd name="T14" fmla="*/ 195 w 289"/>
                        <a:gd name="T15" fmla="*/ 8 h 288"/>
                        <a:gd name="T16" fmla="*/ 171 w 289"/>
                        <a:gd name="T17" fmla="*/ 2 h 288"/>
                        <a:gd name="T18" fmla="*/ 145 w 289"/>
                        <a:gd name="T19" fmla="*/ 0 h 288"/>
                        <a:gd name="T20" fmla="*/ 119 w 289"/>
                        <a:gd name="T21" fmla="*/ 2 h 288"/>
                        <a:gd name="T22" fmla="*/ 95 w 289"/>
                        <a:gd name="T23" fmla="*/ 8 h 288"/>
                        <a:gd name="T24" fmla="*/ 72 w 289"/>
                        <a:gd name="T25" fmla="*/ 19 h 288"/>
                        <a:gd name="T26" fmla="*/ 52 w 289"/>
                        <a:gd name="T27" fmla="*/ 34 h 288"/>
                        <a:gd name="T28" fmla="*/ 34 w 289"/>
                        <a:gd name="T29" fmla="*/ 51 h 288"/>
                        <a:gd name="T30" fmla="*/ 20 w 289"/>
                        <a:gd name="T31" fmla="*/ 71 h 288"/>
                        <a:gd name="T32" fmla="*/ 10 w 289"/>
                        <a:gd name="T33" fmla="*/ 94 h 288"/>
                        <a:gd name="T34" fmla="*/ 3 w 289"/>
                        <a:gd name="T35" fmla="*/ 118 h 288"/>
                        <a:gd name="T36" fmla="*/ 0 w 289"/>
                        <a:gd name="T37" fmla="*/ 144 h 288"/>
                        <a:gd name="T38" fmla="*/ 3 w 289"/>
                        <a:gd name="T39" fmla="*/ 170 h 288"/>
                        <a:gd name="T40" fmla="*/ 10 w 289"/>
                        <a:gd name="T41" fmla="*/ 195 h 288"/>
                        <a:gd name="T42" fmla="*/ 20 w 289"/>
                        <a:gd name="T43" fmla="*/ 217 h 288"/>
                        <a:gd name="T44" fmla="*/ 34 w 289"/>
                        <a:gd name="T45" fmla="*/ 237 h 288"/>
                        <a:gd name="T46" fmla="*/ 52 w 289"/>
                        <a:gd name="T47" fmla="*/ 254 h 288"/>
                        <a:gd name="T48" fmla="*/ 72 w 289"/>
                        <a:gd name="T49" fmla="*/ 268 h 288"/>
                        <a:gd name="T50" fmla="*/ 95 w 289"/>
                        <a:gd name="T51" fmla="*/ 279 h 288"/>
                        <a:gd name="T52" fmla="*/ 119 w 289"/>
                        <a:gd name="T53" fmla="*/ 286 h 288"/>
                        <a:gd name="T54" fmla="*/ 145 w 289"/>
                        <a:gd name="T55" fmla="*/ 288 h 288"/>
                        <a:gd name="T56" fmla="*/ 171 w 289"/>
                        <a:gd name="T57" fmla="*/ 286 h 288"/>
                        <a:gd name="T58" fmla="*/ 195 w 289"/>
                        <a:gd name="T59" fmla="*/ 279 h 288"/>
                        <a:gd name="T60" fmla="*/ 218 w 289"/>
                        <a:gd name="T61" fmla="*/ 268 h 288"/>
                        <a:gd name="T62" fmla="*/ 238 w 289"/>
                        <a:gd name="T63" fmla="*/ 254 h 288"/>
                        <a:gd name="T64" fmla="*/ 256 w 289"/>
                        <a:gd name="T65" fmla="*/ 237 h 288"/>
                        <a:gd name="T66" fmla="*/ 270 w 289"/>
                        <a:gd name="T67" fmla="*/ 217 h 288"/>
                        <a:gd name="T68" fmla="*/ 280 w 289"/>
                        <a:gd name="T69" fmla="*/ 195 h 288"/>
                        <a:gd name="T70" fmla="*/ 287 w 289"/>
                        <a:gd name="T71" fmla="*/ 170 h 288"/>
                        <a:gd name="T72" fmla="*/ 289 w 289"/>
                        <a:gd name="T73" fmla="*/ 144 h 288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89"/>
                        <a:gd name="T112" fmla="*/ 0 h 288"/>
                        <a:gd name="T113" fmla="*/ 289 w 289"/>
                        <a:gd name="T114" fmla="*/ 288 h 288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89" h="288">
                          <a:moveTo>
                            <a:pt x="289" y="144"/>
                          </a:moveTo>
                          <a:lnTo>
                            <a:pt x="287" y="118"/>
                          </a:lnTo>
                          <a:lnTo>
                            <a:pt x="280" y="94"/>
                          </a:lnTo>
                          <a:lnTo>
                            <a:pt x="270" y="71"/>
                          </a:lnTo>
                          <a:lnTo>
                            <a:pt x="256" y="51"/>
                          </a:lnTo>
                          <a:lnTo>
                            <a:pt x="238" y="34"/>
                          </a:lnTo>
                          <a:lnTo>
                            <a:pt x="218" y="19"/>
                          </a:lnTo>
                          <a:lnTo>
                            <a:pt x="195" y="8"/>
                          </a:lnTo>
                          <a:lnTo>
                            <a:pt x="171" y="2"/>
                          </a:lnTo>
                          <a:lnTo>
                            <a:pt x="145" y="0"/>
                          </a:lnTo>
                          <a:lnTo>
                            <a:pt x="119" y="2"/>
                          </a:lnTo>
                          <a:lnTo>
                            <a:pt x="95" y="8"/>
                          </a:lnTo>
                          <a:lnTo>
                            <a:pt x="72" y="19"/>
                          </a:lnTo>
                          <a:lnTo>
                            <a:pt x="52" y="34"/>
                          </a:lnTo>
                          <a:lnTo>
                            <a:pt x="34" y="51"/>
                          </a:lnTo>
                          <a:lnTo>
                            <a:pt x="20" y="71"/>
                          </a:lnTo>
                          <a:lnTo>
                            <a:pt x="10" y="94"/>
                          </a:lnTo>
                          <a:lnTo>
                            <a:pt x="3" y="118"/>
                          </a:lnTo>
                          <a:lnTo>
                            <a:pt x="0" y="144"/>
                          </a:lnTo>
                          <a:lnTo>
                            <a:pt x="3" y="170"/>
                          </a:lnTo>
                          <a:lnTo>
                            <a:pt x="10" y="195"/>
                          </a:lnTo>
                          <a:lnTo>
                            <a:pt x="20" y="217"/>
                          </a:lnTo>
                          <a:lnTo>
                            <a:pt x="34" y="237"/>
                          </a:lnTo>
                          <a:lnTo>
                            <a:pt x="52" y="254"/>
                          </a:lnTo>
                          <a:lnTo>
                            <a:pt x="72" y="268"/>
                          </a:lnTo>
                          <a:lnTo>
                            <a:pt x="95" y="279"/>
                          </a:lnTo>
                          <a:lnTo>
                            <a:pt x="119" y="286"/>
                          </a:lnTo>
                          <a:lnTo>
                            <a:pt x="145" y="288"/>
                          </a:lnTo>
                          <a:lnTo>
                            <a:pt x="171" y="286"/>
                          </a:lnTo>
                          <a:lnTo>
                            <a:pt x="195" y="279"/>
                          </a:lnTo>
                          <a:lnTo>
                            <a:pt x="218" y="268"/>
                          </a:lnTo>
                          <a:lnTo>
                            <a:pt x="238" y="254"/>
                          </a:lnTo>
                          <a:lnTo>
                            <a:pt x="256" y="237"/>
                          </a:lnTo>
                          <a:lnTo>
                            <a:pt x="270" y="217"/>
                          </a:lnTo>
                          <a:lnTo>
                            <a:pt x="280" y="195"/>
                          </a:lnTo>
                          <a:lnTo>
                            <a:pt x="287" y="170"/>
                          </a:lnTo>
                          <a:lnTo>
                            <a:pt x="289" y="14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1" name="Freeform 28"/>
                    <p:cNvSpPr>
                      <a:spLocks/>
                    </p:cNvSpPr>
                    <p:nvPr/>
                  </p:nvSpPr>
                  <p:spPr bwMode="auto">
                    <a:xfrm>
                      <a:off x="4450" y="2639"/>
                      <a:ext cx="289" cy="288"/>
                    </a:xfrm>
                    <a:custGeom>
                      <a:avLst/>
                      <a:gdLst>
                        <a:gd name="T0" fmla="*/ 289 w 289"/>
                        <a:gd name="T1" fmla="*/ 144 h 288"/>
                        <a:gd name="T2" fmla="*/ 287 w 289"/>
                        <a:gd name="T3" fmla="*/ 118 h 288"/>
                        <a:gd name="T4" fmla="*/ 280 w 289"/>
                        <a:gd name="T5" fmla="*/ 94 h 288"/>
                        <a:gd name="T6" fmla="*/ 270 w 289"/>
                        <a:gd name="T7" fmla="*/ 71 h 288"/>
                        <a:gd name="T8" fmla="*/ 256 w 289"/>
                        <a:gd name="T9" fmla="*/ 51 h 288"/>
                        <a:gd name="T10" fmla="*/ 238 w 289"/>
                        <a:gd name="T11" fmla="*/ 34 h 288"/>
                        <a:gd name="T12" fmla="*/ 218 w 289"/>
                        <a:gd name="T13" fmla="*/ 19 h 288"/>
                        <a:gd name="T14" fmla="*/ 195 w 289"/>
                        <a:gd name="T15" fmla="*/ 8 h 288"/>
                        <a:gd name="T16" fmla="*/ 171 w 289"/>
                        <a:gd name="T17" fmla="*/ 2 h 288"/>
                        <a:gd name="T18" fmla="*/ 145 w 289"/>
                        <a:gd name="T19" fmla="*/ 0 h 288"/>
                        <a:gd name="T20" fmla="*/ 119 w 289"/>
                        <a:gd name="T21" fmla="*/ 2 h 288"/>
                        <a:gd name="T22" fmla="*/ 95 w 289"/>
                        <a:gd name="T23" fmla="*/ 8 h 288"/>
                        <a:gd name="T24" fmla="*/ 72 w 289"/>
                        <a:gd name="T25" fmla="*/ 19 h 288"/>
                        <a:gd name="T26" fmla="*/ 52 w 289"/>
                        <a:gd name="T27" fmla="*/ 34 h 288"/>
                        <a:gd name="T28" fmla="*/ 34 w 289"/>
                        <a:gd name="T29" fmla="*/ 51 h 288"/>
                        <a:gd name="T30" fmla="*/ 20 w 289"/>
                        <a:gd name="T31" fmla="*/ 71 h 288"/>
                        <a:gd name="T32" fmla="*/ 10 w 289"/>
                        <a:gd name="T33" fmla="*/ 94 h 288"/>
                        <a:gd name="T34" fmla="*/ 3 w 289"/>
                        <a:gd name="T35" fmla="*/ 118 h 288"/>
                        <a:gd name="T36" fmla="*/ 0 w 289"/>
                        <a:gd name="T37" fmla="*/ 144 h 288"/>
                        <a:gd name="T38" fmla="*/ 3 w 289"/>
                        <a:gd name="T39" fmla="*/ 170 h 288"/>
                        <a:gd name="T40" fmla="*/ 10 w 289"/>
                        <a:gd name="T41" fmla="*/ 195 h 288"/>
                        <a:gd name="T42" fmla="*/ 20 w 289"/>
                        <a:gd name="T43" fmla="*/ 217 h 288"/>
                        <a:gd name="T44" fmla="*/ 34 w 289"/>
                        <a:gd name="T45" fmla="*/ 237 h 288"/>
                        <a:gd name="T46" fmla="*/ 52 w 289"/>
                        <a:gd name="T47" fmla="*/ 254 h 288"/>
                        <a:gd name="T48" fmla="*/ 72 w 289"/>
                        <a:gd name="T49" fmla="*/ 268 h 288"/>
                        <a:gd name="T50" fmla="*/ 95 w 289"/>
                        <a:gd name="T51" fmla="*/ 279 h 288"/>
                        <a:gd name="T52" fmla="*/ 119 w 289"/>
                        <a:gd name="T53" fmla="*/ 286 h 288"/>
                        <a:gd name="T54" fmla="*/ 145 w 289"/>
                        <a:gd name="T55" fmla="*/ 288 h 288"/>
                        <a:gd name="T56" fmla="*/ 171 w 289"/>
                        <a:gd name="T57" fmla="*/ 286 h 288"/>
                        <a:gd name="T58" fmla="*/ 195 w 289"/>
                        <a:gd name="T59" fmla="*/ 279 h 288"/>
                        <a:gd name="T60" fmla="*/ 218 w 289"/>
                        <a:gd name="T61" fmla="*/ 268 h 288"/>
                        <a:gd name="T62" fmla="*/ 238 w 289"/>
                        <a:gd name="T63" fmla="*/ 254 h 288"/>
                        <a:gd name="T64" fmla="*/ 256 w 289"/>
                        <a:gd name="T65" fmla="*/ 237 h 288"/>
                        <a:gd name="T66" fmla="*/ 270 w 289"/>
                        <a:gd name="T67" fmla="*/ 217 h 288"/>
                        <a:gd name="T68" fmla="*/ 280 w 289"/>
                        <a:gd name="T69" fmla="*/ 195 h 288"/>
                        <a:gd name="T70" fmla="*/ 287 w 289"/>
                        <a:gd name="T71" fmla="*/ 170 h 288"/>
                        <a:gd name="T72" fmla="*/ 289 w 289"/>
                        <a:gd name="T73" fmla="*/ 144 h 288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89"/>
                        <a:gd name="T112" fmla="*/ 0 h 288"/>
                        <a:gd name="T113" fmla="*/ 289 w 289"/>
                        <a:gd name="T114" fmla="*/ 288 h 288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89" h="288">
                          <a:moveTo>
                            <a:pt x="289" y="144"/>
                          </a:moveTo>
                          <a:lnTo>
                            <a:pt x="287" y="118"/>
                          </a:lnTo>
                          <a:lnTo>
                            <a:pt x="280" y="94"/>
                          </a:lnTo>
                          <a:lnTo>
                            <a:pt x="270" y="71"/>
                          </a:lnTo>
                          <a:lnTo>
                            <a:pt x="256" y="51"/>
                          </a:lnTo>
                          <a:lnTo>
                            <a:pt x="238" y="34"/>
                          </a:lnTo>
                          <a:lnTo>
                            <a:pt x="218" y="19"/>
                          </a:lnTo>
                          <a:lnTo>
                            <a:pt x="195" y="8"/>
                          </a:lnTo>
                          <a:lnTo>
                            <a:pt x="171" y="2"/>
                          </a:lnTo>
                          <a:lnTo>
                            <a:pt x="145" y="0"/>
                          </a:lnTo>
                          <a:lnTo>
                            <a:pt x="119" y="2"/>
                          </a:lnTo>
                          <a:lnTo>
                            <a:pt x="95" y="8"/>
                          </a:lnTo>
                          <a:lnTo>
                            <a:pt x="72" y="19"/>
                          </a:lnTo>
                          <a:lnTo>
                            <a:pt x="52" y="34"/>
                          </a:lnTo>
                          <a:lnTo>
                            <a:pt x="34" y="51"/>
                          </a:lnTo>
                          <a:lnTo>
                            <a:pt x="20" y="71"/>
                          </a:lnTo>
                          <a:lnTo>
                            <a:pt x="10" y="94"/>
                          </a:lnTo>
                          <a:lnTo>
                            <a:pt x="3" y="118"/>
                          </a:lnTo>
                          <a:lnTo>
                            <a:pt x="0" y="144"/>
                          </a:lnTo>
                          <a:lnTo>
                            <a:pt x="3" y="170"/>
                          </a:lnTo>
                          <a:lnTo>
                            <a:pt x="10" y="195"/>
                          </a:lnTo>
                          <a:lnTo>
                            <a:pt x="20" y="217"/>
                          </a:lnTo>
                          <a:lnTo>
                            <a:pt x="34" y="237"/>
                          </a:lnTo>
                          <a:lnTo>
                            <a:pt x="52" y="254"/>
                          </a:lnTo>
                          <a:lnTo>
                            <a:pt x="72" y="268"/>
                          </a:lnTo>
                          <a:lnTo>
                            <a:pt x="95" y="279"/>
                          </a:lnTo>
                          <a:lnTo>
                            <a:pt x="119" y="286"/>
                          </a:lnTo>
                          <a:lnTo>
                            <a:pt x="145" y="288"/>
                          </a:lnTo>
                          <a:lnTo>
                            <a:pt x="171" y="286"/>
                          </a:lnTo>
                          <a:lnTo>
                            <a:pt x="195" y="279"/>
                          </a:lnTo>
                          <a:lnTo>
                            <a:pt x="218" y="268"/>
                          </a:lnTo>
                          <a:lnTo>
                            <a:pt x="238" y="254"/>
                          </a:lnTo>
                          <a:lnTo>
                            <a:pt x="256" y="237"/>
                          </a:lnTo>
                          <a:lnTo>
                            <a:pt x="270" y="217"/>
                          </a:lnTo>
                          <a:lnTo>
                            <a:pt x="280" y="195"/>
                          </a:lnTo>
                          <a:lnTo>
                            <a:pt x="287" y="170"/>
                          </a:lnTo>
                          <a:lnTo>
                            <a:pt x="289" y="144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2" name="Freeform 29"/>
                    <p:cNvSpPr>
                      <a:spLocks/>
                    </p:cNvSpPr>
                    <p:nvPr/>
                  </p:nvSpPr>
                  <p:spPr bwMode="auto">
                    <a:xfrm>
                      <a:off x="4082" y="1037"/>
                      <a:ext cx="288" cy="288"/>
                    </a:xfrm>
                    <a:custGeom>
                      <a:avLst/>
                      <a:gdLst>
                        <a:gd name="T0" fmla="*/ 288 w 288"/>
                        <a:gd name="T1" fmla="*/ 143 h 288"/>
                        <a:gd name="T2" fmla="*/ 286 w 288"/>
                        <a:gd name="T3" fmla="*/ 118 h 288"/>
                        <a:gd name="T4" fmla="*/ 279 w 288"/>
                        <a:gd name="T5" fmla="*/ 93 h 288"/>
                        <a:gd name="T6" fmla="*/ 268 w 288"/>
                        <a:gd name="T7" fmla="*/ 71 h 288"/>
                        <a:gd name="T8" fmla="*/ 254 w 288"/>
                        <a:gd name="T9" fmla="*/ 51 h 288"/>
                        <a:gd name="T10" fmla="*/ 237 w 288"/>
                        <a:gd name="T11" fmla="*/ 33 h 288"/>
                        <a:gd name="T12" fmla="*/ 217 w 288"/>
                        <a:gd name="T13" fmla="*/ 19 h 288"/>
                        <a:gd name="T14" fmla="*/ 195 w 288"/>
                        <a:gd name="T15" fmla="*/ 8 h 288"/>
                        <a:gd name="T16" fmla="*/ 170 w 288"/>
                        <a:gd name="T17" fmla="*/ 2 h 288"/>
                        <a:gd name="T18" fmla="*/ 144 w 288"/>
                        <a:gd name="T19" fmla="*/ 0 h 288"/>
                        <a:gd name="T20" fmla="*/ 118 w 288"/>
                        <a:gd name="T21" fmla="*/ 2 h 288"/>
                        <a:gd name="T22" fmla="*/ 94 w 288"/>
                        <a:gd name="T23" fmla="*/ 8 h 288"/>
                        <a:gd name="T24" fmla="*/ 71 w 288"/>
                        <a:gd name="T25" fmla="*/ 19 h 288"/>
                        <a:gd name="T26" fmla="*/ 51 w 288"/>
                        <a:gd name="T27" fmla="*/ 33 h 288"/>
                        <a:gd name="T28" fmla="*/ 34 w 288"/>
                        <a:gd name="T29" fmla="*/ 51 h 288"/>
                        <a:gd name="T30" fmla="*/ 19 w 288"/>
                        <a:gd name="T31" fmla="*/ 71 h 288"/>
                        <a:gd name="T32" fmla="*/ 8 w 288"/>
                        <a:gd name="T33" fmla="*/ 93 h 288"/>
                        <a:gd name="T34" fmla="*/ 2 w 288"/>
                        <a:gd name="T35" fmla="*/ 118 h 288"/>
                        <a:gd name="T36" fmla="*/ 0 w 288"/>
                        <a:gd name="T37" fmla="*/ 143 h 288"/>
                        <a:gd name="T38" fmla="*/ 2 w 288"/>
                        <a:gd name="T39" fmla="*/ 169 h 288"/>
                        <a:gd name="T40" fmla="*/ 8 w 288"/>
                        <a:gd name="T41" fmla="*/ 194 h 288"/>
                        <a:gd name="T42" fmla="*/ 19 w 288"/>
                        <a:gd name="T43" fmla="*/ 217 h 288"/>
                        <a:gd name="T44" fmla="*/ 34 w 288"/>
                        <a:gd name="T45" fmla="*/ 237 h 288"/>
                        <a:gd name="T46" fmla="*/ 51 w 288"/>
                        <a:gd name="T47" fmla="*/ 254 h 288"/>
                        <a:gd name="T48" fmla="*/ 71 w 288"/>
                        <a:gd name="T49" fmla="*/ 268 h 288"/>
                        <a:gd name="T50" fmla="*/ 94 w 288"/>
                        <a:gd name="T51" fmla="*/ 279 h 288"/>
                        <a:gd name="T52" fmla="*/ 118 w 288"/>
                        <a:gd name="T53" fmla="*/ 286 h 288"/>
                        <a:gd name="T54" fmla="*/ 144 w 288"/>
                        <a:gd name="T55" fmla="*/ 288 h 288"/>
                        <a:gd name="T56" fmla="*/ 170 w 288"/>
                        <a:gd name="T57" fmla="*/ 286 h 288"/>
                        <a:gd name="T58" fmla="*/ 195 w 288"/>
                        <a:gd name="T59" fmla="*/ 279 h 288"/>
                        <a:gd name="T60" fmla="*/ 217 w 288"/>
                        <a:gd name="T61" fmla="*/ 268 h 288"/>
                        <a:gd name="T62" fmla="*/ 237 w 288"/>
                        <a:gd name="T63" fmla="*/ 254 h 288"/>
                        <a:gd name="T64" fmla="*/ 254 w 288"/>
                        <a:gd name="T65" fmla="*/ 237 h 288"/>
                        <a:gd name="T66" fmla="*/ 268 w 288"/>
                        <a:gd name="T67" fmla="*/ 217 h 288"/>
                        <a:gd name="T68" fmla="*/ 279 w 288"/>
                        <a:gd name="T69" fmla="*/ 194 h 288"/>
                        <a:gd name="T70" fmla="*/ 286 w 288"/>
                        <a:gd name="T71" fmla="*/ 169 h 288"/>
                        <a:gd name="T72" fmla="*/ 288 w 288"/>
                        <a:gd name="T73" fmla="*/ 143 h 288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88"/>
                        <a:gd name="T112" fmla="*/ 0 h 288"/>
                        <a:gd name="T113" fmla="*/ 288 w 288"/>
                        <a:gd name="T114" fmla="*/ 288 h 288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88" h="288">
                          <a:moveTo>
                            <a:pt x="288" y="143"/>
                          </a:moveTo>
                          <a:lnTo>
                            <a:pt x="286" y="118"/>
                          </a:lnTo>
                          <a:lnTo>
                            <a:pt x="279" y="93"/>
                          </a:lnTo>
                          <a:lnTo>
                            <a:pt x="268" y="71"/>
                          </a:lnTo>
                          <a:lnTo>
                            <a:pt x="254" y="51"/>
                          </a:lnTo>
                          <a:lnTo>
                            <a:pt x="237" y="33"/>
                          </a:lnTo>
                          <a:lnTo>
                            <a:pt x="217" y="19"/>
                          </a:lnTo>
                          <a:lnTo>
                            <a:pt x="195" y="8"/>
                          </a:lnTo>
                          <a:lnTo>
                            <a:pt x="170" y="2"/>
                          </a:lnTo>
                          <a:lnTo>
                            <a:pt x="144" y="0"/>
                          </a:lnTo>
                          <a:lnTo>
                            <a:pt x="118" y="2"/>
                          </a:lnTo>
                          <a:lnTo>
                            <a:pt x="94" y="8"/>
                          </a:lnTo>
                          <a:lnTo>
                            <a:pt x="71" y="19"/>
                          </a:lnTo>
                          <a:lnTo>
                            <a:pt x="51" y="33"/>
                          </a:lnTo>
                          <a:lnTo>
                            <a:pt x="34" y="51"/>
                          </a:lnTo>
                          <a:lnTo>
                            <a:pt x="19" y="71"/>
                          </a:lnTo>
                          <a:lnTo>
                            <a:pt x="8" y="93"/>
                          </a:lnTo>
                          <a:lnTo>
                            <a:pt x="2" y="118"/>
                          </a:lnTo>
                          <a:lnTo>
                            <a:pt x="0" y="143"/>
                          </a:lnTo>
                          <a:lnTo>
                            <a:pt x="2" y="169"/>
                          </a:lnTo>
                          <a:lnTo>
                            <a:pt x="8" y="194"/>
                          </a:lnTo>
                          <a:lnTo>
                            <a:pt x="19" y="217"/>
                          </a:lnTo>
                          <a:lnTo>
                            <a:pt x="34" y="237"/>
                          </a:lnTo>
                          <a:lnTo>
                            <a:pt x="51" y="254"/>
                          </a:lnTo>
                          <a:lnTo>
                            <a:pt x="71" y="268"/>
                          </a:lnTo>
                          <a:lnTo>
                            <a:pt x="94" y="279"/>
                          </a:lnTo>
                          <a:lnTo>
                            <a:pt x="118" y="286"/>
                          </a:lnTo>
                          <a:lnTo>
                            <a:pt x="144" y="288"/>
                          </a:lnTo>
                          <a:lnTo>
                            <a:pt x="170" y="286"/>
                          </a:lnTo>
                          <a:lnTo>
                            <a:pt x="195" y="279"/>
                          </a:lnTo>
                          <a:lnTo>
                            <a:pt x="217" y="268"/>
                          </a:lnTo>
                          <a:lnTo>
                            <a:pt x="237" y="254"/>
                          </a:lnTo>
                          <a:lnTo>
                            <a:pt x="254" y="237"/>
                          </a:lnTo>
                          <a:lnTo>
                            <a:pt x="268" y="217"/>
                          </a:lnTo>
                          <a:lnTo>
                            <a:pt x="279" y="194"/>
                          </a:lnTo>
                          <a:lnTo>
                            <a:pt x="286" y="169"/>
                          </a:lnTo>
                          <a:lnTo>
                            <a:pt x="288" y="14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3" name="Freeform 30"/>
                    <p:cNvSpPr>
                      <a:spLocks/>
                    </p:cNvSpPr>
                    <p:nvPr/>
                  </p:nvSpPr>
                  <p:spPr bwMode="auto">
                    <a:xfrm>
                      <a:off x="4082" y="1037"/>
                      <a:ext cx="288" cy="288"/>
                    </a:xfrm>
                    <a:custGeom>
                      <a:avLst/>
                      <a:gdLst>
                        <a:gd name="T0" fmla="*/ 288 w 288"/>
                        <a:gd name="T1" fmla="*/ 143 h 288"/>
                        <a:gd name="T2" fmla="*/ 286 w 288"/>
                        <a:gd name="T3" fmla="*/ 118 h 288"/>
                        <a:gd name="T4" fmla="*/ 279 w 288"/>
                        <a:gd name="T5" fmla="*/ 93 h 288"/>
                        <a:gd name="T6" fmla="*/ 268 w 288"/>
                        <a:gd name="T7" fmla="*/ 71 h 288"/>
                        <a:gd name="T8" fmla="*/ 254 w 288"/>
                        <a:gd name="T9" fmla="*/ 51 h 288"/>
                        <a:gd name="T10" fmla="*/ 237 w 288"/>
                        <a:gd name="T11" fmla="*/ 33 h 288"/>
                        <a:gd name="T12" fmla="*/ 217 w 288"/>
                        <a:gd name="T13" fmla="*/ 19 h 288"/>
                        <a:gd name="T14" fmla="*/ 195 w 288"/>
                        <a:gd name="T15" fmla="*/ 8 h 288"/>
                        <a:gd name="T16" fmla="*/ 170 w 288"/>
                        <a:gd name="T17" fmla="*/ 2 h 288"/>
                        <a:gd name="T18" fmla="*/ 144 w 288"/>
                        <a:gd name="T19" fmla="*/ 0 h 288"/>
                        <a:gd name="T20" fmla="*/ 118 w 288"/>
                        <a:gd name="T21" fmla="*/ 2 h 288"/>
                        <a:gd name="T22" fmla="*/ 94 w 288"/>
                        <a:gd name="T23" fmla="*/ 8 h 288"/>
                        <a:gd name="T24" fmla="*/ 71 w 288"/>
                        <a:gd name="T25" fmla="*/ 19 h 288"/>
                        <a:gd name="T26" fmla="*/ 51 w 288"/>
                        <a:gd name="T27" fmla="*/ 33 h 288"/>
                        <a:gd name="T28" fmla="*/ 34 w 288"/>
                        <a:gd name="T29" fmla="*/ 51 h 288"/>
                        <a:gd name="T30" fmla="*/ 19 w 288"/>
                        <a:gd name="T31" fmla="*/ 71 h 288"/>
                        <a:gd name="T32" fmla="*/ 8 w 288"/>
                        <a:gd name="T33" fmla="*/ 93 h 288"/>
                        <a:gd name="T34" fmla="*/ 2 w 288"/>
                        <a:gd name="T35" fmla="*/ 118 h 288"/>
                        <a:gd name="T36" fmla="*/ 0 w 288"/>
                        <a:gd name="T37" fmla="*/ 143 h 288"/>
                        <a:gd name="T38" fmla="*/ 2 w 288"/>
                        <a:gd name="T39" fmla="*/ 169 h 288"/>
                        <a:gd name="T40" fmla="*/ 8 w 288"/>
                        <a:gd name="T41" fmla="*/ 194 h 288"/>
                        <a:gd name="T42" fmla="*/ 19 w 288"/>
                        <a:gd name="T43" fmla="*/ 217 h 288"/>
                        <a:gd name="T44" fmla="*/ 34 w 288"/>
                        <a:gd name="T45" fmla="*/ 237 h 288"/>
                        <a:gd name="T46" fmla="*/ 51 w 288"/>
                        <a:gd name="T47" fmla="*/ 254 h 288"/>
                        <a:gd name="T48" fmla="*/ 71 w 288"/>
                        <a:gd name="T49" fmla="*/ 268 h 288"/>
                        <a:gd name="T50" fmla="*/ 94 w 288"/>
                        <a:gd name="T51" fmla="*/ 279 h 288"/>
                        <a:gd name="T52" fmla="*/ 118 w 288"/>
                        <a:gd name="T53" fmla="*/ 286 h 288"/>
                        <a:gd name="T54" fmla="*/ 144 w 288"/>
                        <a:gd name="T55" fmla="*/ 288 h 288"/>
                        <a:gd name="T56" fmla="*/ 170 w 288"/>
                        <a:gd name="T57" fmla="*/ 286 h 288"/>
                        <a:gd name="T58" fmla="*/ 195 w 288"/>
                        <a:gd name="T59" fmla="*/ 279 h 288"/>
                        <a:gd name="T60" fmla="*/ 217 w 288"/>
                        <a:gd name="T61" fmla="*/ 268 h 288"/>
                        <a:gd name="T62" fmla="*/ 237 w 288"/>
                        <a:gd name="T63" fmla="*/ 254 h 288"/>
                        <a:gd name="T64" fmla="*/ 254 w 288"/>
                        <a:gd name="T65" fmla="*/ 237 h 288"/>
                        <a:gd name="T66" fmla="*/ 268 w 288"/>
                        <a:gd name="T67" fmla="*/ 217 h 288"/>
                        <a:gd name="T68" fmla="*/ 279 w 288"/>
                        <a:gd name="T69" fmla="*/ 194 h 288"/>
                        <a:gd name="T70" fmla="*/ 286 w 288"/>
                        <a:gd name="T71" fmla="*/ 169 h 288"/>
                        <a:gd name="T72" fmla="*/ 288 w 288"/>
                        <a:gd name="T73" fmla="*/ 143 h 288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88"/>
                        <a:gd name="T112" fmla="*/ 0 h 288"/>
                        <a:gd name="T113" fmla="*/ 288 w 288"/>
                        <a:gd name="T114" fmla="*/ 288 h 288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88" h="288">
                          <a:moveTo>
                            <a:pt x="288" y="143"/>
                          </a:moveTo>
                          <a:lnTo>
                            <a:pt x="286" y="118"/>
                          </a:lnTo>
                          <a:lnTo>
                            <a:pt x="279" y="93"/>
                          </a:lnTo>
                          <a:lnTo>
                            <a:pt x="268" y="71"/>
                          </a:lnTo>
                          <a:lnTo>
                            <a:pt x="254" y="51"/>
                          </a:lnTo>
                          <a:lnTo>
                            <a:pt x="237" y="33"/>
                          </a:lnTo>
                          <a:lnTo>
                            <a:pt x="217" y="19"/>
                          </a:lnTo>
                          <a:lnTo>
                            <a:pt x="195" y="8"/>
                          </a:lnTo>
                          <a:lnTo>
                            <a:pt x="170" y="2"/>
                          </a:lnTo>
                          <a:lnTo>
                            <a:pt x="144" y="0"/>
                          </a:lnTo>
                          <a:lnTo>
                            <a:pt x="118" y="2"/>
                          </a:lnTo>
                          <a:lnTo>
                            <a:pt x="94" y="8"/>
                          </a:lnTo>
                          <a:lnTo>
                            <a:pt x="71" y="19"/>
                          </a:lnTo>
                          <a:lnTo>
                            <a:pt x="51" y="33"/>
                          </a:lnTo>
                          <a:lnTo>
                            <a:pt x="34" y="51"/>
                          </a:lnTo>
                          <a:lnTo>
                            <a:pt x="19" y="71"/>
                          </a:lnTo>
                          <a:lnTo>
                            <a:pt x="8" y="93"/>
                          </a:lnTo>
                          <a:lnTo>
                            <a:pt x="2" y="118"/>
                          </a:lnTo>
                          <a:lnTo>
                            <a:pt x="0" y="143"/>
                          </a:lnTo>
                          <a:lnTo>
                            <a:pt x="2" y="169"/>
                          </a:lnTo>
                          <a:lnTo>
                            <a:pt x="8" y="194"/>
                          </a:lnTo>
                          <a:lnTo>
                            <a:pt x="19" y="217"/>
                          </a:lnTo>
                          <a:lnTo>
                            <a:pt x="34" y="237"/>
                          </a:lnTo>
                          <a:lnTo>
                            <a:pt x="51" y="254"/>
                          </a:lnTo>
                          <a:lnTo>
                            <a:pt x="71" y="268"/>
                          </a:lnTo>
                          <a:lnTo>
                            <a:pt x="94" y="279"/>
                          </a:lnTo>
                          <a:lnTo>
                            <a:pt x="118" y="286"/>
                          </a:lnTo>
                          <a:lnTo>
                            <a:pt x="144" y="288"/>
                          </a:lnTo>
                          <a:lnTo>
                            <a:pt x="170" y="286"/>
                          </a:lnTo>
                          <a:lnTo>
                            <a:pt x="195" y="279"/>
                          </a:lnTo>
                          <a:lnTo>
                            <a:pt x="217" y="268"/>
                          </a:lnTo>
                          <a:lnTo>
                            <a:pt x="237" y="254"/>
                          </a:lnTo>
                          <a:lnTo>
                            <a:pt x="254" y="237"/>
                          </a:lnTo>
                          <a:lnTo>
                            <a:pt x="268" y="217"/>
                          </a:lnTo>
                          <a:lnTo>
                            <a:pt x="279" y="194"/>
                          </a:lnTo>
                          <a:lnTo>
                            <a:pt x="286" y="169"/>
                          </a:lnTo>
                          <a:lnTo>
                            <a:pt x="288" y="14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4" name="Freeform 31"/>
                    <p:cNvSpPr>
                      <a:spLocks/>
                    </p:cNvSpPr>
                    <p:nvPr/>
                  </p:nvSpPr>
                  <p:spPr bwMode="auto">
                    <a:xfrm>
                      <a:off x="4097" y="2698"/>
                      <a:ext cx="269" cy="269"/>
                    </a:xfrm>
                    <a:custGeom>
                      <a:avLst/>
                      <a:gdLst>
                        <a:gd name="T0" fmla="*/ 269 w 269"/>
                        <a:gd name="T1" fmla="*/ 135 h 269"/>
                        <a:gd name="T2" fmla="*/ 267 w 269"/>
                        <a:gd name="T3" fmla="*/ 110 h 269"/>
                        <a:gd name="T4" fmla="*/ 261 w 269"/>
                        <a:gd name="T5" fmla="*/ 88 h 269"/>
                        <a:gd name="T6" fmla="*/ 251 w 269"/>
                        <a:gd name="T7" fmla="*/ 66 h 269"/>
                        <a:gd name="T8" fmla="*/ 238 w 269"/>
                        <a:gd name="T9" fmla="*/ 48 h 269"/>
                        <a:gd name="T10" fmla="*/ 221 w 269"/>
                        <a:gd name="T11" fmla="*/ 31 h 269"/>
                        <a:gd name="T12" fmla="*/ 203 w 269"/>
                        <a:gd name="T13" fmla="*/ 18 h 269"/>
                        <a:gd name="T14" fmla="*/ 182 w 269"/>
                        <a:gd name="T15" fmla="*/ 8 h 269"/>
                        <a:gd name="T16" fmla="*/ 159 w 269"/>
                        <a:gd name="T17" fmla="*/ 2 h 269"/>
                        <a:gd name="T18" fmla="*/ 135 w 269"/>
                        <a:gd name="T19" fmla="*/ 0 h 269"/>
                        <a:gd name="T20" fmla="*/ 110 w 269"/>
                        <a:gd name="T21" fmla="*/ 2 h 269"/>
                        <a:gd name="T22" fmla="*/ 88 w 269"/>
                        <a:gd name="T23" fmla="*/ 8 h 269"/>
                        <a:gd name="T24" fmla="*/ 66 w 269"/>
                        <a:gd name="T25" fmla="*/ 18 h 269"/>
                        <a:gd name="T26" fmla="*/ 48 w 269"/>
                        <a:gd name="T27" fmla="*/ 31 h 269"/>
                        <a:gd name="T28" fmla="*/ 31 w 269"/>
                        <a:gd name="T29" fmla="*/ 48 h 269"/>
                        <a:gd name="T30" fmla="*/ 18 w 269"/>
                        <a:gd name="T31" fmla="*/ 66 h 269"/>
                        <a:gd name="T32" fmla="*/ 8 w 269"/>
                        <a:gd name="T33" fmla="*/ 88 h 269"/>
                        <a:gd name="T34" fmla="*/ 2 w 269"/>
                        <a:gd name="T35" fmla="*/ 110 h 269"/>
                        <a:gd name="T36" fmla="*/ 0 w 269"/>
                        <a:gd name="T37" fmla="*/ 135 h 269"/>
                        <a:gd name="T38" fmla="*/ 2 w 269"/>
                        <a:gd name="T39" fmla="*/ 159 h 269"/>
                        <a:gd name="T40" fmla="*/ 8 w 269"/>
                        <a:gd name="T41" fmla="*/ 182 h 269"/>
                        <a:gd name="T42" fmla="*/ 18 w 269"/>
                        <a:gd name="T43" fmla="*/ 203 h 269"/>
                        <a:gd name="T44" fmla="*/ 31 w 269"/>
                        <a:gd name="T45" fmla="*/ 221 h 269"/>
                        <a:gd name="T46" fmla="*/ 48 w 269"/>
                        <a:gd name="T47" fmla="*/ 238 h 269"/>
                        <a:gd name="T48" fmla="*/ 66 w 269"/>
                        <a:gd name="T49" fmla="*/ 251 h 269"/>
                        <a:gd name="T50" fmla="*/ 88 w 269"/>
                        <a:gd name="T51" fmla="*/ 261 h 269"/>
                        <a:gd name="T52" fmla="*/ 110 w 269"/>
                        <a:gd name="T53" fmla="*/ 267 h 269"/>
                        <a:gd name="T54" fmla="*/ 135 w 269"/>
                        <a:gd name="T55" fmla="*/ 269 h 269"/>
                        <a:gd name="T56" fmla="*/ 159 w 269"/>
                        <a:gd name="T57" fmla="*/ 267 h 269"/>
                        <a:gd name="T58" fmla="*/ 182 w 269"/>
                        <a:gd name="T59" fmla="*/ 261 h 269"/>
                        <a:gd name="T60" fmla="*/ 203 w 269"/>
                        <a:gd name="T61" fmla="*/ 251 h 269"/>
                        <a:gd name="T62" fmla="*/ 221 w 269"/>
                        <a:gd name="T63" fmla="*/ 238 h 269"/>
                        <a:gd name="T64" fmla="*/ 238 w 269"/>
                        <a:gd name="T65" fmla="*/ 221 h 269"/>
                        <a:gd name="T66" fmla="*/ 251 w 269"/>
                        <a:gd name="T67" fmla="*/ 203 h 269"/>
                        <a:gd name="T68" fmla="*/ 261 w 269"/>
                        <a:gd name="T69" fmla="*/ 182 h 269"/>
                        <a:gd name="T70" fmla="*/ 267 w 269"/>
                        <a:gd name="T71" fmla="*/ 159 h 269"/>
                        <a:gd name="T72" fmla="*/ 269 w 269"/>
                        <a:gd name="T73" fmla="*/ 135 h 269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69"/>
                        <a:gd name="T112" fmla="*/ 0 h 269"/>
                        <a:gd name="T113" fmla="*/ 269 w 269"/>
                        <a:gd name="T114" fmla="*/ 269 h 269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69" h="269">
                          <a:moveTo>
                            <a:pt x="269" y="135"/>
                          </a:moveTo>
                          <a:lnTo>
                            <a:pt x="267" y="110"/>
                          </a:lnTo>
                          <a:lnTo>
                            <a:pt x="261" y="88"/>
                          </a:lnTo>
                          <a:lnTo>
                            <a:pt x="251" y="66"/>
                          </a:lnTo>
                          <a:lnTo>
                            <a:pt x="238" y="48"/>
                          </a:lnTo>
                          <a:lnTo>
                            <a:pt x="221" y="31"/>
                          </a:lnTo>
                          <a:lnTo>
                            <a:pt x="203" y="18"/>
                          </a:lnTo>
                          <a:lnTo>
                            <a:pt x="182" y="8"/>
                          </a:lnTo>
                          <a:lnTo>
                            <a:pt x="159" y="2"/>
                          </a:lnTo>
                          <a:lnTo>
                            <a:pt x="135" y="0"/>
                          </a:lnTo>
                          <a:lnTo>
                            <a:pt x="110" y="2"/>
                          </a:lnTo>
                          <a:lnTo>
                            <a:pt x="88" y="8"/>
                          </a:lnTo>
                          <a:lnTo>
                            <a:pt x="66" y="18"/>
                          </a:lnTo>
                          <a:lnTo>
                            <a:pt x="48" y="31"/>
                          </a:lnTo>
                          <a:lnTo>
                            <a:pt x="31" y="48"/>
                          </a:lnTo>
                          <a:lnTo>
                            <a:pt x="18" y="66"/>
                          </a:lnTo>
                          <a:lnTo>
                            <a:pt x="8" y="88"/>
                          </a:lnTo>
                          <a:lnTo>
                            <a:pt x="2" y="110"/>
                          </a:lnTo>
                          <a:lnTo>
                            <a:pt x="0" y="135"/>
                          </a:lnTo>
                          <a:lnTo>
                            <a:pt x="2" y="159"/>
                          </a:lnTo>
                          <a:lnTo>
                            <a:pt x="8" y="182"/>
                          </a:lnTo>
                          <a:lnTo>
                            <a:pt x="18" y="203"/>
                          </a:lnTo>
                          <a:lnTo>
                            <a:pt x="31" y="221"/>
                          </a:lnTo>
                          <a:lnTo>
                            <a:pt x="48" y="238"/>
                          </a:lnTo>
                          <a:lnTo>
                            <a:pt x="66" y="251"/>
                          </a:lnTo>
                          <a:lnTo>
                            <a:pt x="88" y="261"/>
                          </a:lnTo>
                          <a:lnTo>
                            <a:pt x="110" y="267"/>
                          </a:lnTo>
                          <a:lnTo>
                            <a:pt x="135" y="269"/>
                          </a:lnTo>
                          <a:lnTo>
                            <a:pt x="159" y="267"/>
                          </a:lnTo>
                          <a:lnTo>
                            <a:pt x="182" y="261"/>
                          </a:lnTo>
                          <a:lnTo>
                            <a:pt x="203" y="251"/>
                          </a:lnTo>
                          <a:lnTo>
                            <a:pt x="221" y="238"/>
                          </a:lnTo>
                          <a:lnTo>
                            <a:pt x="238" y="221"/>
                          </a:lnTo>
                          <a:lnTo>
                            <a:pt x="251" y="203"/>
                          </a:lnTo>
                          <a:lnTo>
                            <a:pt x="261" y="182"/>
                          </a:lnTo>
                          <a:lnTo>
                            <a:pt x="267" y="159"/>
                          </a:lnTo>
                          <a:lnTo>
                            <a:pt x="269" y="13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5" name="Freeform 32"/>
                    <p:cNvSpPr>
                      <a:spLocks/>
                    </p:cNvSpPr>
                    <p:nvPr/>
                  </p:nvSpPr>
                  <p:spPr bwMode="auto">
                    <a:xfrm>
                      <a:off x="4097" y="2698"/>
                      <a:ext cx="269" cy="269"/>
                    </a:xfrm>
                    <a:custGeom>
                      <a:avLst/>
                      <a:gdLst>
                        <a:gd name="T0" fmla="*/ 269 w 269"/>
                        <a:gd name="T1" fmla="*/ 135 h 269"/>
                        <a:gd name="T2" fmla="*/ 267 w 269"/>
                        <a:gd name="T3" fmla="*/ 110 h 269"/>
                        <a:gd name="T4" fmla="*/ 261 w 269"/>
                        <a:gd name="T5" fmla="*/ 88 h 269"/>
                        <a:gd name="T6" fmla="*/ 251 w 269"/>
                        <a:gd name="T7" fmla="*/ 66 h 269"/>
                        <a:gd name="T8" fmla="*/ 238 w 269"/>
                        <a:gd name="T9" fmla="*/ 48 h 269"/>
                        <a:gd name="T10" fmla="*/ 221 w 269"/>
                        <a:gd name="T11" fmla="*/ 31 h 269"/>
                        <a:gd name="T12" fmla="*/ 203 w 269"/>
                        <a:gd name="T13" fmla="*/ 18 h 269"/>
                        <a:gd name="T14" fmla="*/ 182 w 269"/>
                        <a:gd name="T15" fmla="*/ 8 h 269"/>
                        <a:gd name="T16" fmla="*/ 159 w 269"/>
                        <a:gd name="T17" fmla="*/ 2 h 269"/>
                        <a:gd name="T18" fmla="*/ 135 w 269"/>
                        <a:gd name="T19" fmla="*/ 0 h 269"/>
                        <a:gd name="T20" fmla="*/ 110 w 269"/>
                        <a:gd name="T21" fmla="*/ 2 h 269"/>
                        <a:gd name="T22" fmla="*/ 88 w 269"/>
                        <a:gd name="T23" fmla="*/ 8 h 269"/>
                        <a:gd name="T24" fmla="*/ 66 w 269"/>
                        <a:gd name="T25" fmla="*/ 18 h 269"/>
                        <a:gd name="T26" fmla="*/ 48 w 269"/>
                        <a:gd name="T27" fmla="*/ 31 h 269"/>
                        <a:gd name="T28" fmla="*/ 31 w 269"/>
                        <a:gd name="T29" fmla="*/ 48 h 269"/>
                        <a:gd name="T30" fmla="*/ 18 w 269"/>
                        <a:gd name="T31" fmla="*/ 66 h 269"/>
                        <a:gd name="T32" fmla="*/ 8 w 269"/>
                        <a:gd name="T33" fmla="*/ 88 h 269"/>
                        <a:gd name="T34" fmla="*/ 2 w 269"/>
                        <a:gd name="T35" fmla="*/ 110 h 269"/>
                        <a:gd name="T36" fmla="*/ 0 w 269"/>
                        <a:gd name="T37" fmla="*/ 135 h 269"/>
                        <a:gd name="T38" fmla="*/ 2 w 269"/>
                        <a:gd name="T39" fmla="*/ 159 h 269"/>
                        <a:gd name="T40" fmla="*/ 8 w 269"/>
                        <a:gd name="T41" fmla="*/ 182 h 269"/>
                        <a:gd name="T42" fmla="*/ 18 w 269"/>
                        <a:gd name="T43" fmla="*/ 203 h 269"/>
                        <a:gd name="T44" fmla="*/ 31 w 269"/>
                        <a:gd name="T45" fmla="*/ 221 h 269"/>
                        <a:gd name="T46" fmla="*/ 48 w 269"/>
                        <a:gd name="T47" fmla="*/ 238 h 269"/>
                        <a:gd name="T48" fmla="*/ 66 w 269"/>
                        <a:gd name="T49" fmla="*/ 251 h 269"/>
                        <a:gd name="T50" fmla="*/ 88 w 269"/>
                        <a:gd name="T51" fmla="*/ 261 h 269"/>
                        <a:gd name="T52" fmla="*/ 110 w 269"/>
                        <a:gd name="T53" fmla="*/ 267 h 269"/>
                        <a:gd name="T54" fmla="*/ 135 w 269"/>
                        <a:gd name="T55" fmla="*/ 269 h 269"/>
                        <a:gd name="T56" fmla="*/ 159 w 269"/>
                        <a:gd name="T57" fmla="*/ 267 h 269"/>
                        <a:gd name="T58" fmla="*/ 182 w 269"/>
                        <a:gd name="T59" fmla="*/ 261 h 269"/>
                        <a:gd name="T60" fmla="*/ 203 w 269"/>
                        <a:gd name="T61" fmla="*/ 251 h 269"/>
                        <a:gd name="T62" fmla="*/ 221 w 269"/>
                        <a:gd name="T63" fmla="*/ 238 h 269"/>
                        <a:gd name="T64" fmla="*/ 238 w 269"/>
                        <a:gd name="T65" fmla="*/ 221 h 269"/>
                        <a:gd name="T66" fmla="*/ 251 w 269"/>
                        <a:gd name="T67" fmla="*/ 203 h 269"/>
                        <a:gd name="T68" fmla="*/ 261 w 269"/>
                        <a:gd name="T69" fmla="*/ 182 h 269"/>
                        <a:gd name="T70" fmla="*/ 267 w 269"/>
                        <a:gd name="T71" fmla="*/ 159 h 269"/>
                        <a:gd name="T72" fmla="*/ 269 w 269"/>
                        <a:gd name="T73" fmla="*/ 135 h 269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69"/>
                        <a:gd name="T112" fmla="*/ 0 h 269"/>
                        <a:gd name="T113" fmla="*/ 269 w 269"/>
                        <a:gd name="T114" fmla="*/ 269 h 269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69" h="269">
                          <a:moveTo>
                            <a:pt x="269" y="135"/>
                          </a:moveTo>
                          <a:lnTo>
                            <a:pt x="267" y="110"/>
                          </a:lnTo>
                          <a:lnTo>
                            <a:pt x="261" y="88"/>
                          </a:lnTo>
                          <a:lnTo>
                            <a:pt x="251" y="66"/>
                          </a:lnTo>
                          <a:lnTo>
                            <a:pt x="238" y="48"/>
                          </a:lnTo>
                          <a:lnTo>
                            <a:pt x="221" y="31"/>
                          </a:lnTo>
                          <a:lnTo>
                            <a:pt x="203" y="18"/>
                          </a:lnTo>
                          <a:lnTo>
                            <a:pt x="182" y="8"/>
                          </a:lnTo>
                          <a:lnTo>
                            <a:pt x="159" y="2"/>
                          </a:lnTo>
                          <a:lnTo>
                            <a:pt x="135" y="0"/>
                          </a:lnTo>
                          <a:lnTo>
                            <a:pt x="110" y="2"/>
                          </a:lnTo>
                          <a:lnTo>
                            <a:pt x="88" y="8"/>
                          </a:lnTo>
                          <a:lnTo>
                            <a:pt x="66" y="18"/>
                          </a:lnTo>
                          <a:lnTo>
                            <a:pt x="48" y="31"/>
                          </a:lnTo>
                          <a:lnTo>
                            <a:pt x="31" y="48"/>
                          </a:lnTo>
                          <a:lnTo>
                            <a:pt x="18" y="66"/>
                          </a:lnTo>
                          <a:lnTo>
                            <a:pt x="8" y="88"/>
                          </a:lnTo>
                          <a:lnTo>
                            <a:pt x="2" y="110"/>
                          </a:lnTo>
                          <a:lnTo>
                            <a:pt x="0" y="135"/>
                          </a:lnTo>
                          <a:lnTo>
                            <a:pt x="2" y="159"/>
                          </a:lnTo>
                          <a:lnTo>
                            <a:pt x="8" y="182"/>
                          </a:lnTo>
                          <a:lnTo>
                            <a:pt x="18" y="203"/>
                          </a:lnTo>
                          <a:lnTo>
                            <a:pt x="31" y="221"/>
                          </a:lnTo>
                          <a:lnTo>
                            <a:pt x="48" y="238"/>
                          </a:lnTo>
                          <a:lnTo>
                            <a:pt x="66" y="251"/>
                          </a:lnTo>
                          <a:lnTo>
                            <a:pt x="88" y="261"/>
                          </a:lnTo>
                          <a:lnTo>
                            <a:pt x="110" y="267"/>
                          </a:lnTo>
                          <a:lnTo>
                            <a:pt x="135" y="269"/>
                          </a:lnTo>
                          <a:lnTo>
                            <a:pt x="159" y="267"/>
                          </a:lnTo>
                          <a:lnTo>
                            <a:pt x="182" y="261"/>
                          </a:lnTo>
                          <a:lnTo>
                            <a:pt x="203" y="251"/>
                          </a:lnTo>
                          <a:lnTo>
                            <a:pt x="221" y="238"/>
                          </a:lnTo>
                          <a:lnTo>
                            <a:pt x="238" y="221"/>
                          </a:lnTo>
                          <a:lnTo>
                            <a:pt x="251" y="203"/>
                          </a:lnTo>
                          <a:lnTo>
                            <a:pt x="261" y="182"/>
                          </a:lnTo>
                          <a:lnTo>
                            <a:pt x="267" y="159"/>
                          </a:lnTo>
                          <a:lnTo>
                            <a:pt x="269" y="13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6" name="Freeform 33"/>
                    <p:cNvSpPr>
                      <a:spLocks/>
                    </p:cNvSpPr>
                    <p:nvPr/>
                  </p:nvSpPr>
                  <p:spPr bwMode="auto">
                    <a:xfrm>
                      <a:off x="4464" y="2047"/>
                      <a:ext cx="269" cy="270"/>
                    </a:xfrm>
                    <a:custGeom>
                      <a:avLst/>
                      <a:gdLst>
                        <a:gd name="T0" fmla="*/ 269 w 269"/>
                        <a:gd name="T1" fmla="*/ 135 h 270"/>
                        <a:gd name="T2" fmla="*/ 267 w 269"/>
                        <a:gd name="T3" fmla="*/ 111 h 270"/>
                        <a:gd name="T4" fmla="*/ 260 w 269"/>
                        <a:gd name="T5" fmla="*/ 88 h 270"/>
                        <a:gd name="T6" fmla="*/ 251 w 269"/>
                        <a:gd name="T7" fmla="*/ 67 h 270"/>
                        <a:gd name="T8" fmla="*/ 238 w 269"/>
                        <a:gd name="T9" fmla="*/ 48 h 270"/>
                        <a:gd name="T10" fmla="*/ 221 w 269"/>
                        <a:gd name="T11" fmla="*/ 32 h 270"/>
                        <a:gd name="T12" fmla="*/ 202 w 269"/>
                        <a:gd name="T13" fmla="*/ 18 h 270"/>
                        <a:gd name="T14" fmla="*/ 181 w 269"/>
                        <a:gd name="T15" fmla="*/ 9 h 270"/>
                        <a:gd name="T16" fmla="*/ 158 w 269"/>
                        <a:gd name="T17" fmla="*/ 2 h 270"/>
                        <a:gd name="T18" fmla="*/ 134 w 269"/>
                        <a:gd name="T19" fmla="*/ 0 h 270"/>
                        <a:gd name="T20" fmla="*/ 110 w 269"/>
                        <a:gd name="T21" fmla="*/ 2 h 270"/>
                        <a:gd name="T22" fmla="*/ 88 w 269"/>
                        <a:gd name="T23" fmla="*/ 9 h 270"/>
                        <a:gd name="T24" fmla="*/ 66 w 269"/>
                        <a:gd name="T25" fmla="*/ 18 h 270"/>
                        <a:gd name="T26" fmla="*/ 48 w 269"/>
                        <a:gd name="T27" fmla="*/ 32 h 270"/>
                        <a:gd name="T28" fmla="*/ 31 w 269"/>
                        <a:gd name="T29" fmla="*/ 48 h 270"/>
                        <a:gd name="T30" fmla="*/ 18 w 269"/>
                        <a:gd name="T31" fmla="*/ 67 h 270"/>
                        <a:gd name="T32" fmla="*/ 8 w 269"/>
                        <a:gd name="T33" fmla="*/ 88 h 270"/>
                        <a:gd name="T34" fmla="*/ 2 w 269"/>
                        <a:gd name="T35" fmla="*/ 111 h 270"/>
                        <a:gd name="T36" fmla="*/ 0 w 269"/>
                        <a:gd name="T37" fmla="*/ 135 h 270"/>
                        <a:gd name="T38" fmla="*/ 2 w 269"/>
                        <a:gd name="T39" fmla="*/ 160 h 270"/>
                        <a:gd name="T40" fmla="*/ 8 w 269"/>
                        <a:gd name="T41" fmla="*/ 182 h 270"/>
                        <a:gd name="T42" fmla="*/ 18 w 269"/>
                        <a:gd name="T43" fmla="*/ 203 h 270"/>
                        <a:gd name="T44" fmla="*/ 31 w 269"/>
                        <a:gd name="T45" fmla="*/ 222 h 270"/>
                        <a:gd name="T46" fmla="*/ 48 w 269"/>
                        <a:gd name="T47" fmla="*/ 238 h 270"/>
                        <a:gd name="T48" fmla="*/ 66 w 269"/>
                        <a:gd name="T49" fmla="*/ 252 h 270"/>
                        <a:gd name="T50" fmla="*/ 88 w 269"/>
                        <a:gd name="T51" fmla="*/ 261 h 270"/>
                        <a:gd name="T52" fmla="*/ 110 w 269"/>
                        <a:gd name="T53" fmla="*/ 267 h 270"/>
                        <a:gd name="T54" fmla="*/ 134 w 269"/>
                        <a:gd name="T55" fmla="*/ 270 h 270"/>
                        <a:gd name="T56" fmla="*/ 158 w 269"/>
                        <a:gd name="T57" fmla="*/ 267 h 270"/>
                        <a:gd name="T58" fmla="*/ 181 w 269"/>
                        <a:gd name="T59" fmla="*/ 261 h 270"/>
                        <a:gd name="T60" fmla="*/ 202 w 269"/>
                        <a:gd name="T61" fmla="*/ 252 h 270"/>
                        <a:gd name="T62" fmla="*/ 221 w 269"/>
                        <a:gd name="T63" fmla="*/ 238 h 270"/>
                        <a:gd name="T64" fmla="*/ 238 w 269"/>
                        <a:gd name="T65" fmla="*/ 222 h 270"/>
                        <a:gd name="T66" fmla="*/ 251 w 269"/>
                        <a:gd name="T67" fmla="*/ 203 h 270"/>
                        <a:gd name="T68" fmla="*/ 260 w 269"/>
                        <a:gd name="T69" fmla="*/ 182 h 270"/>
                        <a:gd name="T70" fmla="*/ 267 w 269"/>
                        <a:gd name="T71" fmla="*/ 160 h 270"/>
                        <a:gd name="T72" fmla="*/ 269 w 269"/>
                        <a:gd name="T73" fmla="*/ 135 h 270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69"/>
                        <a:gd name="T112" fmla="*/ 0 h 270"/>
                        <a:gd name="T113" fmla="*/ 269 w 269"/>
                        <a:gd name="T114" fmla="*/ 270 h 270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69" h="270">
                          <a:moveTo>
                            <a:pt x="269" y="135"/>
                          </a:moveTo>
                          <a:lnTo>
                            <a:pt x="267" y="111"/>
                          </a:lnTo>
                          <a:lnTo>
                            <a:pt x="260" y="88"/>
                          </a:lnTo>
                          <a:lnTo>
                            <a:pt x="251" y="67"/>
                          </a:lnTo>
                          <a:lnTo>
                            <a:pt x="238" y="48"/>
                          </a:lnTo>
                          <a:lnTo>
                            <a:pt x="221" y="32"/>
                          </a:lnTo>
                          <a:lnTo>
                            <a:pt x="202" y="18"/>
                          </a:lnTo>
                          <a:lnTo>
                            <a:pt x="181" y="9"/>
                          </a:lnTo>
                          <a:lnTo>
                            <a:pt x="158" y="2"/>
                          </a:lnTo>
                          <a:lnTo>
                            <a:pt x="134" y="0"/>
                          </a:lnTo>
                          <a:lnTo>
                            <a:pt x="110" y="2"/>
                          </a:lnTo>
                          <a:lnTo>
                            <a:pt x="88" y="9"/>
                          </a:lnTo>
                          <a:lnTo>
                            <a:pt x="66" y="18"/>
                          </a:lnTo>
                          <a:lnTo>
                            <a:pt x="48" y="32"/>
                          </a:lnTo>
                          <a:lnTo>
                            <a:pt x="31" y="48"/>
                          </a:lnTo>
                          <a:lnTo>
                            <a:pt x="18" y="67"/>
                          </a:lnTo>
                          <a:lnTo>
                            <a:pt x="8" y="88"/>
                          </a:lnTo>
                          <a:lnTo>
                            <a:pt x="2" y="111"/>
                          </a:lnTo>
                          <a:lnTo>
                            <a:pt x="0" y="135"/>
                          </a:lnTo>
                          <a:lnTo>
                            <a:pt x="2" y="160"/>
                          </a:lnTo>
                          <a:lnTo>
                            <a:pt x="8" y="182"/>
                          </a:lnTo>
                          <a:lnTo>
                            <a:pt x="18" y="203"/>
                          </a:lnTo>
                          <a:lnTo>
                            <a:pt x="31" y="222"/>
                          </a:lnTo>
                          <a:lnTo>
                            <a:pt x="48" y="238"/>
                          </a:lnTo>
                          <a:lnTo>
                            <a:pt x="66" y="252"/>
                          </a:lnTo>
                          <a:lnTo>
                            <a:pt x="88" y="261"/>
                          </a:lnTo>
                          <a:lnTo>
                            <a:pt x="110" y="267"/>
                          </a:lnTo>
                          <a:lnTo>
                            <a:pt x="134" y="270"/>
                          </a:lnTo>
                          <a:lnTo>
                            <a:pt x="158" y="267"/>
                          </a:lnTo>
                          <a:lnTo>
                            <a:pt x="181" y="261"/>
                          </a:lnTo>
                          <a:lnTo>
                            <a:pt x="202" y="252"/>
                          </a:lnTo>
                          <a:lnTo>
                            <a:pt x="221" y="238"/>
                          </a:lnTo>
                          <a:lnTo>
                            <a:pt x="238" y="222"/>
                          </a:lnTo>
                          <a:lnTo>
                            <a:pt x="251" y="203"/>
                          </a:lnTo>
                          <a:lnTo>
                            <a:pt x="260" y="182"/>
                          </a:lnTo>
                          <a:lnTo>
                            <a:pt x="267" y="160"/>
                          </a:lnTo>
                          <a:lnTo>
                            <a:pt x="269" y="13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7" name="Freeform 34"/>
                    <p:cNvSpPr>
                      <a:spLocks/>
                    </p:cNvSpPr>
                    <p:nvPr/>
                  </p:nvSpPr>
                  <p:spPr bwMode="auto">
                    <a:xfrm>
                      <a:off x="4464" y="2047"/>
                      <a:ext cx="269" cy="270"/>
                    </a:xfrm>
                    <a:custGeom>
                      <a:avLst/>
                      <a:gdLst>
                        <a:gd name="T0" fmla="*/ 269 w 269"/>
                        <a:gd name="T1" fmla="*/ 135 h 270"/>
                        <a:gd name="T2" fmla="*/ 267 w 269"/>
                        <a:gd name="T3" fmla="*/ 111 h 270"/>
                        <a:gd name="T4" fmla="*/ 260 w 269"/>
                        <a:gd name="T5" fmla="*/ 88 h 270"/>
                        <a:gd name="T6" fmla="*/ 251 w 269"/>
                        <a:gd name="T7" fmla="*/ 67 h 270"/>
                        <a:gd name="T8" fmla="*/ 238 w 269"/>
                        <a:gd name="T9" fmla="*/ 48 h 270"/>
                        <a:gd name="T10" fmla="*/ 221 w 269"/>
                        <a:gd name="T11" fmla="*/ 32 h 270"/>
                        <a:gd name="T12" fmla="*/ 202 w 269"/>
                        <a:gd name="T13" fmla="*/ 18 h 270"/>
                        <a:gd name="T14" fmla="*/ 181 w 269"/>
                        <a:gd name="T15" fmla="*/ 9 h 270"/>
                        <a:gd name="T16" fmla="*/ 158 w 269"/>
                        <a:gd name="T17" fmla="*/ 2 h 270"/>
                        <a:gd name="T18" fmla="*/ 134 w 269"/>
                        <a:gd name="T19" fmla="*/ 0 h 270"/>
                        <a:gd name="T20" fmla="*/ 110 w 269"/>
                        <a:gd name="T21" fmla="*/ 2 h 270"/>
                        <a:gd name="T22" fmla="*/ 88 w 269"/>
                        <a:gd name="T23" fmla="*/ 9 h 270"/>
                        <a:gd name="T24" fmla="*/ 66 w 269"/>
                        <a:gd name="T25" fmla="*/ 18 h 270"/>
                        <a:gd name="T26" fmla="*/ 48 w 269"/>
                        <a:gd name="T27" fmla="*/ 32 h 270"/>
                        <a:gd name="T28" fmla="*/ 31 w 269"/>
                        <a:gd name="T29" fmla="*/ 48 h 270"/>
                        <a:gd name="T30" fmla="*/ 18 w 269"/>
                        <a:gd name="T31" fmla="*/ 67 h 270"/>
                        <a:gd name="T32" fmla="*/ 8 w 269"/>
                        <a:gd name="T33" fmla="*/ 88 h 270"/>
                        <a:gd name="T34" fmla="*/ 2 w 269"/>
                        <a:gd name="T35" fmla="*/ 111 h 270"/>
                        <a:gd name="T36" fmla="*/ 0 w 269"/>
                        <a:gd name="T37" fmla="*/ 135 h 270"/>
                        <a:gd name="T38" fmla="*/ 2 w 269"/>
                        <a:gd name="T39" fmla="*/ 160 h 270"/>
                        <a:gd name="T40" fmla="*/ 8 w 269"/>
                        <a:gd name="T41" fmla="*/ 182 h 270"/>
                        <a:gd name="T42" fmla="*/ 18 w 269"/>
                        <a:gd name="T43" fmla="*/ 203 h 270"/>
                        <a:gd name="T44" fmla="*/ 31 w 269"/>
                        <a:gd name="T45" fmla="*/ 222 h 270"/>
                        <a:gd name="T46" fmla="*/ 48 w 269"/>
                        <a:gd name="T47" fmla="*/ 238 h 270"/>
                        <a:gd name="T48" fmla="*/ 66 w 269"/>
                        <a:gd name="T49" fmla="*/ 252 h 270"/>
                        <a:gd name="T50" fmla="*/ 88 w 269"/>
                        <a:gd name="T51" fmla="*/ 261 h 270"/>
                        <a:gd name="T52" fmla="*/ 110 w 269"/>
                        <a:gd name="T53" fmla="*/ 267 h 270"/>
                        <a:gd name="T54" fmla="*/ 134 w 269"/>
                        <a:gd name="T55" fmla="*/ 270 h 270"/>
                        <a:gd name="T56" fmla="*/ 158 w 269"/>
                        <a:gd name="T57" fmla="*/ 267 h 270"/>
                        <a:gd name="T58" fmla="*/ 181 w 269"/>
                        <a:gd name="T59" fmla="*/ 261 h 270"/>
                        <a:gd name="T60" fmla="*/ 202 w 269"/>
                        <a:gd name="T61" fmla="*/ 252 h 270"/>
                        <a:gd name="T62" fmla="*/ 221 w 269"/>
                        <a:gd name="T63" fmla="*/ 238 h 270"/>
                        <a:gd name="T64" fmla="*/ 238 w 269"/>
                        <a:gd name="T65" fmla="*/ 222 h 270"/>
                        <a:gd name="T66" fmla="*/ 251 w 269"/>
                        <a:gd name="T67" fmla="*/ 203 h 270"/>
                        <a:gd name="T68" fmla="*/ 260 w 269"/>
                        <a:gd name="T69" fmla="*/ 182 h 270"/>
                        <a:gd name="T70" fmla="*/ 267 w 269"/>
                        <a:gd name="T71" fmla="*/ 160 h 270"/>
                        <a:gd name="T72" fmla="*/ 269 w 269"/>
                        <a:gd name="T73" fmla="*/ 135 h 270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69"/>
                        <a:gd name="T112" fmla="*/ 0 h 270"/>
                        <a:gd name="T113" fmla="*/ 269 w 269"/>
                        <a:gd name="T114" fmla="*/ 270 h 270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69" h="270">
                          <a:moveTo>
                            <a:pt x="269" y="135"/>
                          </a:moveTo>
                          <a:lnTo>
                            <a:pt x="267" y="111"/>
                          </a:lnTo>
                          <a:lnTo>
                            <a:pt x="260" y="88"/>
                          </a:lnTo>
                          <a:lnTo>
                            <a:pt x="251" y="67"/>
                          </a:lnTo>
                          <a:lnTo>
                            <a:pt x="238" y="48"/>
                          </a:lnTo>
                          <a:lnTo>
                            <a:pt x="221" y="32"/>
                          </a:lnTo>
                          <a:lnTo>
                            <a:pt x="202" y="18"/>
                          </a:lnTo>
                          <a:lnTo>
                            <a:pt x="181" y="9"/>
                          </a:lnTo>
                          <a:lnTo>
                            <a:pt x="158" y="2"/>
                          </a:lnTo>
                          <a:lnTo>
                            <a:pt x="134" y="0"/>
                          </a:lnTo>
                          <a:lnTo>
                            <a:pt x="110" y="2"/>
                          </a:lnTo>
                          <a:lnTo>
                            <a:pt x="88" y="9"/>
                          </a:lnTo>
                          <a:lnTo>
                            <a:pt x="66" y="18"/>
                          </a:lnTo>
                          <a:lnTo>
                            <a:pt x="48" y="32"/>
                          </a:lnTo>
                          <a:lnTo>
                            <a:pt x="31" y="48"/>
                          </a:lnTo>
                          <a:lnTo>
                            <a:pt x="18" y="67"/>
                          </a:lnTo>
                          <a:lnTo>
                            <a:pt x="8" y="88"/>
                          </a:lnTo>
                          <a:lnTo>
                            <a:pt x="2" y="111"/>
                          </a:lnTo>
                          <a:lnTo>
                            <a:pt x="0" y="135"/>
                          </a:lnTo>
                          <a:lnTo>
                            <a:pt x="2" y="160"/>
                          </a:lnTo>
                          <a:lnTo>
                            <a:pt x="8" y="182"/>
                          </a:lnTo>
                          <a:lnTo>
                            <a:pt x="18" y="203"/>
                          </a:lnTo>
                          <a:lnTo>
                            <a:pt x="31" y="222"/>
                          </a:lnTo>
                          <a:lnTo>
                            <a:pt x="48" y="238"/>
                          </a:lnTo>
                          <a:lnTo>
                            <a:pt x="66" y="252"/>
                          </a:lnTo>
                          <a:lnTo>
                            <a:pt x="88" y="261"/>
                          </a:lnTo>
                          <a:lnTo>
                            <a:pt x="110" y="267"/>
                          </a:lnTo>
                          <a:lnTo>
                            <a:pt x="134" y="270"/>
                          </a:lnTo>
                          <a:lnTo>
                            <a:pt x="158" y="267"/>
                          </a:lnTo>
                          <a:lnTo>
                            <a:pt x="181" y="261"/>
                          </a:lnTo>
                          <a:lnTo>
                            <a:pt x="202" y="252"/>
                          </a:lnTo>
                          <a:lnTo>
                            <a:pt x="221" y="238"/>
                          </a:lnTo>
                          <a:lnTo>
                            <a:pt x="238" y="222"/>
                          </a:lnTo>
                          <a:lnTo>
                            <a:pt x="251" y="203"/>
                          </a:lnTo>
                          <a:lnTo>
                            <a:pt x="260" y="182"/>
                          </a:lnTo>
                          <a:lnTo>
                            <a:pt x="267" y="160"/>
                          </a:lnTo>
                          <a:lnTo>
                            <a:pt x="269" y="13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8" name="Freeform 35"/>
                    <p:cNvSpPr>
                      <a:spLocks/>
                    </p:cNvSpPr>
                    <p:nvPr/>
                  </p:nvSpPr>
                  <p:spPr bwMode="auto">
                    <a:xfrm>
                      <a:off x="4062" y="1049"/>
                      <a:ext cx="260" cy="260"/>
                    </a:xfrm>
                    <a:custGeom>
                      <a:avLst/>
                      <a:gdLst>
                        <a:gd name="T0" fmla="*/ 260 w 260"/>
                        <a:gd name="T1" fmla="*/ 130 h 260"/>
                        <a:gd name="T2" fmla="*/ 258 w 260"/>
                        <a:gd name="T3" fmla="*/ 106 h 260"/>
                        <a:gd name="T4" fmla="*/ 252 w 260"/>
                        <a:gd name="T5" fmla="*/ 84 h 260"/>
                        <a:gd name="T6" fmla="*/ 242 w 260"/>
                        <a:gd name="T7" fmla="*/ 65 h 260"/>
                        <a:gd name="T8" fmla="*/ 230 w 260"/>
                        <a:gd name="T9" fmla="*/ 47 h 260"/>
                        <a:gd name="T10" fmla="*/ 214 w 260"/>
                        <a:gd name="T11" fmla="*/ 31 h 260"/>
                        <a:gd name="T12" fmla="*/ 196 w 260"/>
                        <a:gd name="T13" fmla="*/ 18 h 260"/>
                        <a:gd name="T14" fmla="*/ 176 w 260"/>
                        <a:gd name="T15" fmla="*/ 8 h 260"/>
                        <a:gd name="T16" fmla="*/ 154 w 260"/>
                        <a:gd name="T17" fmla="*/ 3 h 260"/>
                        <a:gd name="T18" fmla="*/ 131 w 260"/>
                        <a:gd name="T19" fmla="*/ 0 h 260"/>
                        <a:gd name="T20" fmla="*/ 107 w 260"/>
                        <a:gd name="T21" fmla="*/ 3 h 260"/>
                        <a:gd name="T22" fmla="*/ 85 w 260"/>
                        <a:gd name="T23" fmla="*/ 8 h 260"/>
                        <a:gd name="T24" fmla="*/ 65 w 260"/>
                        <a:gd name="T25" fmla="*/ 18 h 260"/>
                        <a:gd name="T26" fmla="*/ 46 w 260"/>
                        <a:gd name="T27" fmla="*/ 31 h 260"/>
                        <a:gd name="T28" fmla="*/ 31 w 260"/>
                        <a:gd name="T29" fmla="*/ 47 h 260"/>
                        <a:gd name="T30" fmla="*/ 18 w 260"/>
                        <a:gd name="T31" fmla="*/ 65 h 260"/>
                        <a:gd name="T32" fmla="*/ 8 w 260"/>
                        <a:gd name="T33" fmla="*/ 84 h 260"/>
                        <a:gd name="T34" fmla="*/ 2 w 260"/>
                        <a:gd name="T35" fmla="*/ 106 h 260"/>
                        <a:gd name="T36" fmla="*/ 0 w 260"/>
                        <a:gd name="T37" fmla="*/ 130 h 260"/>
                        <a:gd name="T38" fmla="*/ 2 w 260"/>
                        <a:gd name="T39" fmla="*/ 153 h 260"/>
                        <a:gd name="T40" fmla="*/ 8 w 260"/>
                        <a:gd name="T41" fmla="*/ 175 h 260"/>
                        <a:gd name="T42" fmla="*/ 18 w 260"/>
                        <a:gd name="T43" fmla="*/ 196 h 260"/>
                        <a:gd name="T44" fmla="*/ 31 w 260"/>
                        <a:gd name="T45" fmla="*/ 214 h 260"/>
                        <a:gd name="T46" fmla="*/ 46 w 260"/>
                        <a:gd name="T47" fmla="*/ 230 h 260"/>
                        <a:gd name="T48" fmla="*/ 65 w 260"/>
                        <a:gd name="T49" fmla="*/ 242 h 260"/>
                        <a:gd name="T50" fmla="*/ 85 w 260"/>
                        <a:gd name="T51" fmla="*/ 252 h 260"/>
                        <a:gd name="T52" fmla="*/ 107 w 260"/>
                        <a:gd name="T53" fmla="*/ 258 h 260"/>
                        <a:gd name="T54" fmla="*/ 131 w 260"/>
                        <a:gd name="T55" fmla="*/ 260 h 260"/>
                        <a:gd name="T56" fmla="*/ 154 w 260"/>
                        <a:gd name="T57" fmla="*/ 258 h 260"/>
                        <a:gd name="T58" fmla="*/ 176 w 260"/>
                        <a:gd name="T59" fmla="*/ 252 h 260"/>
                        <a:gd name="T60" fmla="*/ 196 w 260"/>
                        <a:gd name="T61" fmla="*/ 242 h 260"/>
                        <a:gd name="T62" fmla="*/ 214 w 260"/>
                        <a:gd name="T63" fmla="*/ 230 h 260"/>
                        <a:gd name="T64" fmla="*/ 230 w 260"/>
                        <a:gd name="T65" fmla="*/ 214 h 260"/>
                        <a:gd name="T66" fmla="*/ 242 w 260"/>
                        <a:gd name="T67" fmla="*/ 196 h 260"/>
                        <a:gd name="T68" fmla="*/ 252 w 260"/>
                        <a:gd name="T69" fmla="*/ 175 h 260"/>
                        <a:gd name="T70" fmla="*/ 258 w 260"/>
                        <a:gd name="T71" fmla="*/ 153 h 260"/>
                        <a:gd name="T72" fmla="*/ 260 w 260"/>
                        <a:gd name="T73" fmla="*/ 130 h 260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60"/>
                        <a:gd name="T112" fmla="*/ 0 h 260"/>
                        <a:gd name="T113" fmla="*/ 260 w 260"/>
                        <a:gd name="T114" fmla="*/ 260 h 260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60" h="260">
                          <a:moveTo>
                            <a:pt x="260" y="130"/>
                          </a:moveTo>
                          <a:lnTo>
                            <a:pt x="258" y="106"/>
                          </a:lnTo>
                          <a:lnTo>
                            <a:pt x="252" y="84"/>
                          </a:lnTo>
                          <a:lnTo>
                            <a:pt x="242" y="65"/>
                          </a:lnTo>
                          <a:lnTo>
                            <a:pt x="230" y="47"/>
                          </a:lnTo>
                          <a:lnTo>
                            <a:pt x="214" y="31"/>
                          </a:lnTo>
                          <a:lnTo>
                            <a:pt x="196" y="18"/>
                          </a:lnTo>
                          <a:lnTo>
                            <a:pt x="176" y="8"/>
                          </a:lnTo>
                          <a:lnTo>
                            <a:pt x="154" y="3"/>
                          </a:lnTo>
                          <a:lnTo>
                            <a:pt x="131" y="0"/>
                          </a:lnTo>
                          <a:lnTo>
                            <a:pt x="107" y="3"/>
                          </a:lnTo>
                          <a:lnTo>
                            <a:pt x="85" y="8"/>
                          </a:lnTo>
                          <a:lnTo>
                            <a:pt x="65" y="18"/>
                          </a:lnTo>
                          <a:lnTo>
                            <a:pt x="46" y="31"/>
                          </a:lnTo>
                          <a:lnTo>
                            <a:pt x="31" y="47"/>
                          </a:lnTo>
                          <a:lnTo>
                            <a:pt x="18" y="65"/>
                          </a:lnTo>
                          <a:lnTo>
                            <a:pt x="8" y="84"/>
                          </a:lnTo>
                          <a:lnTo>
                            <a:pt x="2" y="106"/>
                          </a:lnTo>
                          <a:lnTo>
                            <a:pt x="0" y="130"/>
                          </a:lnTo>
                          <a:lnTo>
                            <a:pt x="2" y="153"/>
                          </a:lnTo>
                          <a:lnTo>
                            <a:pt x="8" y="175"/>
                          </a:lnTo>
                          <a:lnTo>
                            <a:pt x="18" y="196"/>
                          </a:lnTo>
                          <a:lnTo>
                            <a:pt x="31" y="214"/>
                          </a:lnTo>
                          <a:lnTo>
                            <a:pt x="46" y="230"/>
                          </a:lnTo>
                          <a:lnTo>
                            <a:pt x="65" y="242"/>
                          </a:lnTo>
                          <a:lnTo>
                            <a:pt x="85" y="252"/>
                          </a:lnTo>
                          <a:lnTo>
                            <a:pt x="107" y="258"/>
                          </a:lnTo>
                          <a:lnTo>
                            <a:pt x="131" y="260"/>
                          </a:lnTo>
                          <a:lnTo>
                            <a:pt x="154" y="258"/>
                          </a:lnTo>
                          <a:lnTo>
                            <a:pt x="176" y="252"/>
                          </a:lnTo>
                          <a:lnTo>
                            <a:pt x="196" y="242"/>
                          </a:lnTo>
                          <a:lnTo>
                            <a:pt x="214" y="230"/>
                          </a:lnTo>
                          <a:lnTo>
                            <a:pt x="230" y="214"/>
                          </a:lnTo>
                          <a:lnTo>
                            <a:pt x="242" y="196"/>
                          </a:lnTo>
                          <a:lnTo>
                            <a:pt x="252" y="175"/>
                          </a:lnTo>
                          <a:lnTo>
                            <a:pt x="258" y="153"/>
                          </a:lnTo>
                          <a:lnTo>
                            <a:pt x="260" y="13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79" name="Freeform 36"/>
                    <p:cNvSpPr>
                      <a:spLocks/>
                    </p:cNvSpPr>
                    <p:nvPr/>
                  </p:nvSpPr>
                  <p:spPr bwMode="auto">
                    <a:xfrm>
                      <a:off x="4062" y="1049"/>
                      <a:ext cx="260" cy="260"/>
                    </a:xfrm>
                    <a:custGeom>
                      <a:avLst/>
                      <a:gdLst>
                        <a:gd name="T0" fmla="*/ 260 w 260"/>
                        <a:gd name="T1" fmla="*/ 130 h 260"/>
                        <a:gd name="T2" fmla="*/ 258 w 260"/>
                        <a:gd name="T3" fmla="*/ 106 h 260"/>
                        <a:gd name="T4" fmla="*/ 252 w 260"/>
                        <a:gd name="T5" fmla="*/ 84 h 260"/>
                        <a:gd name="T6" fmla="*/ 242 w 260"/>
                        <a:gd name="T7" fmla="*/ 65 h 260"/>
                        <a:gd name="T8" fmla="*/ 230 w 260"/>
                        <a:gd name="T9" fmla="*/ 47 h 260"/>
                        <a:gd name="T10" fmla="*/ 214 w 260"/>
                        <a:gd name="T11" fmla="*/ 31 h 260"/>
                        <a:gd name="T12" fmla="*/ 196 w 260"/>
                        <a:gd name="T13" fmla="*/ 18 h 260"/>
                        <a:gd name="T14" fmla="*/ 176 w 260"/>
                        <a:gd name="T15" fmla="*/ 8 h 260"/>
                        <a:gd name="T16" fmla="*/ 154 w 260"/>
                        <a:gd name="T17" fmla="*/ 3 h 260"/>
                        <a:gd name="T18" fmla="*/ 131 w 260"/>
                        <a:gd name="T19" fmla="*/ 0 h 260"/>
                        <a:gd name="T20" fmla="*/ 107 w 260"/>
                        <a:gd name="T21" fmla="*/ 3 h 260"/>
                        <a:gd name="T22" fmla="*/ 85 w 260"/>
                        <a:gd name="T23" fmla="*/ 8 h 260"/>
                        <a:gd name="T24" fmla="*/ 65 w 260"/>
                        <a:gd name="T25" fmla="*/ 18 h 260"/>
                        <a:gd name="T26" fmla="*/ 46 w 260"/>
                        <a:gd name="T27" fmla="*/ 31 h 260"/>
                        <a:gd name="T28" fmla="*/ 31 w 260"/>
                        <a:gd name="T29" fmla="*/ 47 h 260"/>
                        <a:gd name="T30" fmla="*/ 18 w 260"/>
                        <a:gd name="T31" fmla="*/ 65 h 260"/>
                        <a:gd name="T32" fmla="*/ 8 w 260"/>
                        <a:gd name="T33" fmla="*/ 84 h 260"/>
                        <a:gd name="T34" fmla="*/ 2 w 260"/>
                        <a:gd name="T35" fmla="*/ 106 h 260"/>
                        <a:gd name="T36" fmla="*/ 0 w 260"/>
                        <a:gd name="T37" fmla="*/ 130 h 260"/>
                        <a:gd name="T38" fmla="*/ 2 w 260"/>
                        <a:gd name="T39" fmla="*/ 153 h 260"/>
                        <a:gd name="T40" fmla="*/ 8 w 260"/>
                        <a:gd name="T41" fmla="*/ 175 h 260"/>
                        <a:gd name="T42" fmla="*/ 18 w 260"/>
                        <a:gd name="T43" fmla="*/ 196 h 260"/>
                        <a:gd name="T44" fmla="*/ 31 w 260"/>
                        <a:gd name="T45" fmla="*/ 214 h 260"/>
                        <a:gd name="T46" fmla="*/ 46 w 260"/>
                        <a:gd name="T47" fmla="*/ 230 h 260"/>
                        <a:gd name="T48" fmla="*/ 65 w 260"/>
                        <a:gd name="T49" fmla="*/ 242 h 260"/>
                        <a:gd name="T50" fmla="*/ 85 w 260"/>
                        <a:gd name="T51" fmla="*/ 252 h 260"/>
                        <a:gd name="T52" fmla="*/ 107 w 260"/>
                        <a:gd name="T53" fmla="*/ 258 h 260"/>
                        <a:gd name="T54" fmla="*/ 131 w 260"/>
                        <a:gd name="T55" fmla="*/ 260 h 260"/>
                        <a:gd name="T56" fmla="*/ 154 w 260"/>
                        <a:gd name="T57" fmla="*/ 258 h 260"/>
                        <a:gd name="T58" fmla="*/ 176 w 260"/>
                        <a:gd name="T59" fmla="*/ 252 h 260"/>
                        <a:gd name="T60" fmla="*/ 196 w 260"/>
                        <a:gd name="T61" fmla="*/ 242 h 260"/>
                        <a:gd name="T62" fmla="*/ 214 w 260"/>
                        <a:gd name="T63" fmla="*/ 230 h 260"/>
                        <a:gd name="T64" fmla="*/ 230 w 260"/>
                        <a:gd name="T65" fmla="*/ 214 h 260"/>
                        <a:gd name="T66" fmla="*/ 242 w 260"/>
                        <a:gd name="T67" fmla="*/ 196 h 260"/>
                        <a:gd name="T68" fmla="*/ 252 w 260"/>
                        <a:gd name="T69" fmla="*/ 175 h 260"/>
                        <a:gd name="T70" fmla="*/ 258 w 260"/>
                        <a:gd name="T71" fmla="*/ 153 h 260"/>
                        <a:gd name="T72" fmla="*/ 260 w 260"/>
                        <a:gd name="T73" fmla="*/ 130 h 260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60"/>
                        <a:gd name="T112" fmla="*/ 0 h 260"/>
                        <a:gd name="T113" fmla="*/ 260 w 260"/>
                        <a:gd name="T114" fmla="*/ 260 h 260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60" h="260">
                          <a:moveTo>
                            <a:pt x="260" y="130"/>
                          </a:moveTo>
                          <a:lnTo>
                            <a:pt x="258" y="106"/>
                          </a:lnTo>
                          <a:lnTo>
                            <a:pt x="252" y="84"/>
                          </a:lnTo>
                          <a:lnTo>
                            <a:pt x="242" y="65"/>
                          </a:lnTo>
                          <a:lnTo>
                            <a:pt x="230" y="47"/>
                          </a:lnTo>
                          <a:lnTo>
                            <a:pt x="214" y="31"/>
                          </a:lnTo>
                          <a:lnTo>
                            <a:pt x="196" y="18"/>
                          </a:lnTo>
                          <a:lnTo>
                            <a:pt x="176" y="8"/>
                          </a:lnTo>
                          <a:lnTo>
                            <a:pt x="154" y="3"/>
                          </a:lnTo>
                          <a:lnTo>
                            <a:pt x="131" y="0"/>
                          </a:lnTo>
                          <a:lnTo>
                            <a:pt x="107" y="3"/>
                          </a:lnTo>
                          <a:lnTo>
                            <a:pt x="85" y="8"/>
                          </a:lnTo>
                          <a:lnTo>
                            <a:pt x="65" y="18"/>
                          </a:lnTo>
                          <a:lnTo>
                            <a:pt x="46" y="31"/>
                          </a:lnTo>
                          <a:lnTo>
                            <a:pt x="31" y="47"/>
                          </a:lnTo>
                          <a:lnTo>
                            <a:pt x="18" y="65"/>
                          </a:lnTo>
                          <a:lnTo>
                            <a:pt x="8" y="84"/>
                          </a:lnTo>
                          <a:lnTo>
                            <a:pt x="2" y="106"/>
                          </a:lnTo>
                          <a:lnTo>
                            <a:pt x="0" y="130"/>
                          </a:lnTo>
                          <a:lnTo>
                            <a:pt x="2" y="153"/>
                          </a:lnTo>
                          <a:lnTo>
                            <a:pt x="8" y="175"/>
                          </a:lnTo>
                          <a:lnTo>
                            <a:pt x="18" y="196"/>
                          </a:lnTo>
                          <a:lnTo>
                            <a:pt x="31" y="214"/>
                          </a:lnTo>
                          <a:lnTo>
                            <a:pt x="46" y="230"/>
                          </a:lnTo>
                          <a:lnTo>
                            <a:pt x="65" y="242"/>
                          </a:lnTo>
                          <a:lnTo>
                            <a:pt x="85" y="252"/>
                          </a:lnTo>
                          <a:lnTo>
                            <a:pt x="107" y="258"/>
                          </a:lnTo>
                          <a:lnTo>
                            <a:pt x="131" y="260"/>
                          </a:lnTo>
                          <a:lnTo>
                            <a:pt x="154" y="258"/>
                          </a:lnTo>
                          <a:lnTo>
                            <a:pt x="176" y="252"/>
                          </a:lnTo>
                          <a:lnTo>
                            <a:pt x="196" y="242"/>
                          </a:lnTo>
                          <a:lnTo>
                            <a:pt x="214" y="230"/>
                          </a:lnTo>
                          <a:lnTo>
                            <a:pt x="230" y="214"/>
                          </a:lnTo>
                          <a:lnTo>
                            <a:pt x="242" y="196"/>
                          </a:lnTo>
                          <a:lnTo>
                            <a:pt x="252" y="175"/>
                          </a:lnTo>
                          <a:lnTo>
                            <a:pt x="258" y="153"/>
                          </a:lnTo>
                          <a:lnTo>
                            <a:pt x="260" y="13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0" name="Freeform 37"/>
                    <p:cNvSpPr>
                      <a:spLocks/>
                    </p:cNvSpPr>
                    <p:nvPr/>
                  </p:nvSpPr>
                  <p:spPr bwMode="auto">
                    <a:xfrm>
                      <a:off x="4996" y="1400"/>
                      <a:ext cx="257" cy="258"/>
                    </a:xfrm>
                    <a:custGeom>
                      <a:avLst/>
                      <a:gdLst>
                        <a:gd name="T0" fmla="*/ 257 w 257"/>
                        <a:gd name="T1" fmla="*/ 129 h 258"/>
                        <a:gd name="T2" fmla="*/ 255 w 257"/>
                        <a:gd name="T3" fmla="*/ 107 h 258"/>
                        <a:gd name="T4" fmla="*/ 249 w 257"/>
                        <a:gd name="T5" fmla="*/ 85 h 258"/>
                        <a:gd name="T6" fmla="*/ 239 w 257"/>
                        <a:gd name="T7" fmla="*/ 64 h 258"/>
                        <a:gd name="T8" fmla="*/ 227 w 257"/>
                        <a:gd name="T9" fmla="*/ 47 h 258"/>
                        <a:gd name="T10" fmla="*/ 211 w 257"/>
                        <a:gd name="T11" fmla="*/ 31 h 258"/>
                        <a:gd name="T12" fmla="*/ 194 w 257"/>
                        <a:gd name="T13" fmla="*/ 19 h 258"/>
                        <a:gd name="T14" fmla="*/ 173 w 257"/>
                        <a:gd name="T15" fmla="*/ 8 h 258"/>
                        <a:gd name="T16" fmla="*/ 151 w 257"/>
                        <a:gd name="T17" fmla="*/ 3 h 258"/>
                        <a:gd name="T18" fmla="*/ 128 w 257"/>
                        <a:gd name="T19" fmla="*/ 0 h 258"/>
                        <a:gd name="T20" fmla="*/ 105 w 257"/>
                        <a:gd name="T21" fmla="*/ 3 h 258"/>
                        <a:gd name="T22" fmla="*/ 84 w 257"/>
                        <a:gd name="T23" fmla="*/ 8 h 258"/>
                        <a:gd name="T24" fmla="*/ 63 w 257"/>
                        <a:gd name="T25" fmla="*/ 19 h 258"/>
                        <a:gd name="T26" fmla="*/ 45 w 257"/>
                        <a:gd name="T27" fmla="*/ 31 h 258"/>
                        <a:gd name="T28" fmla="*/ 29 w 257"/>
                        <a:gd name="T29" fmla="*/ 47 h 258"/>
                        <a:gd name="T30" fmla="*/ 17 w 257"/>
                        <a:gd name="T31" fmla="*/ 64 h 258"/>
                        <a:gd name="T32" fmla="*/ 7 w 257"/>
                        <a:gd name="T33" fmla="*/ 85 h 258"/>
                        <a:gd name="T34" fmla="*/ 2 w 257"/>
                        <a:gd name="T35" fmla="*/ 107 h 258"/>
                        <a:gd name="T36" fmla="*/ 0 w 257"/>
                        <a:gd name="T37" fmla="*/ 129 h 258"/>
                        <a:gd name="T38" fmla="*/ 2 w 257"/>
                        <a:gd name="T39" fmla="*/ 153 h 258"/>
                        <a:gd name="T40" fmla="*/ 7 w 257"/>
                        <a:gd name="T41" fmla="*/ 174 h 258"/>
                        <a:gd name="T42" fmla="*/ 17 w 257"/>
                        <a:gd name="T43" fmla="*/ 195 h 258"/>
                        <a:gd name="T44" fmla="*/ 29 w 257"/>
                        <a:gd name="T45" fmla="*/ 213 h 258"/>
                        <a:gd name="T46" fmla="*/ 45 w 257"/>
                        <a:gd name="T47" fmla="*/ 228 h 258"/>
                        <a:gd name="T48" fmla="*/ 63 w 257"/>
                        <a:gd name="T49" fmla="*/ 241 h 258"/>
                        <a:gd name="T50" fmla="*/ 84 w 257"/>
                        <a:gd name="T51" fmla="*/ 250 h 258"/>
                        <a:gd name="T52" fmla="*/ 105 w 257"/>
                        <a:gd name="T53" fmla="*/ 256 h 258"/>
                        <a:gd name="T54" fmla="*/ 128 w 257"/>
                        <a:gd name="T55" fmla="*/ 258 h 258"/>
                        <a:gd name="T56" fmla="*/ 151 w 257"/>
                        <a:gd name="T57" fmla="*/ 256 h 258"/>
                        <a:gd name="T58" fmla="*/ 173 w 257"/>
                        <a:gd name="T59" fmla="*/ 250 h 258"/>
                        <a:gd name="T60" fmla="*/ 194 w 257"/>
                        <a:gd name="T61" fmla="*/ 241 h 258"/>
                        <a:gd name="T62" fmla="*/ 211 w 257"/>
                        <a:gd name="T63" fmla="*/ 228 h 258"/>
                        <a:gd name="T64" fmla="*/ 227 w 257"/>
                        <a:gd name="T65" fmla="*/ 213 h 258"/>
                        <a:gd name="T66" fmla="*/ 239 w 257"/>
                        <a:gd name="T67" fmla="*/ 195 h 258"/>
                        <a:gd name="T68" fmla="*/ 249 w 257"/>
                        <a:gd name="T69" fmla="*/ 174 h 258"/>
                        <a:gd name="T70" fmla="*/ 255 w 257"/>
                        <a:gd name="T71" fmla="*/ 153 h 258"/>
                        <a:gd name="T72" fmla="*/ 257 w 257"/>
                        <a:gd name="T73" fmla="*/ 129 h 258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57"/>
                        <a:gd name="T112" fmla="*/ 0 h 258"/>
                        <a:gd name="T113" fmla="*/ 257 w 257"/>
                        <a:gd name="T114" fmla="*/ 258 h 258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57" h="258">
                          <a:moveTo>
                            <a:pt x="257" y="129"/>
                          </a:moveTo>
                          <a:lnTo>
                            <a:pt x="255" y="107"/>
                          </a:lnTo>
                          <a:lnTo>
                            <a:pt x="249" y="85"/>
                          </a:lnTo>
                          <a:lnTo>
                            <a:pt x="239" y="64"/>
                          </a:lnTo>
                          <a:lnTo>
                            <a:pt x="227" y="47"/>
                          </a:lnTo>
                          <a:lnTo>
                            <a:pt x="211" y="31"/>
                          </a:lnTo>
                          <a:lnTo>
                            <a:pt x="194" y="19"/>
                          </a:lnTo>
                          <a:lnTo>
                            <a:pt x="173" y="8"/>
                          </a:lnTo>
                          <a:lnTo>
                            <a:pt x="151" y="3"/>
                          </a:lnTo>
                          <a:lnTo>
                            <a:pt x="128" y="0"/>
                          </a:lnTo>
                          <a:lnTo>
                            <a:pt x="105" y="3"/>
                          </a:lnTo>
                          <a:lnTo>
                            <a:pt x="84" y="8"/>
                          </a:lnTo>
                          <a:lnTo>
                            <a:pt x="63" y="19"/>
                          </a:lnTo>
                          <a:lnTo>
                            <a:pt x="45" y="31"/>
                          </a:lnTo>
                          <a:lnTo>
                            <a:pt x="29" y="47"/>
                          </a:lnTo>
                          <a:lnTo>
                            <a:pt x="17" y="64"/>
                          </a:lnTo>
                          <a:lnTo>
                            <a:pt x="7" y="85"/>
                          </a:lnTo>
                          <a:lnTo>
                            <a:pt x="2" y="107"/>
                          </a:lnTo>
                          <a:lnTo>
                            <a:pt x="0" y="129"/>
                          </a:lnTo>
                          <a:lnTo>
                            <a:pt x="2" y="153"/>
                          </a:lnTo>
                          <a:lnTo>
                            <a:pt x="7" y="174"/>
                          </a:lnTo>
                          <a:lnTo>
                            <a:pt x="17" y="195"/>
                          </a:lnTo>
                          <a:lnTo>
                            <a:pt x="29" y="213"/>
                          </a:lnTo>
                          <a:lnTo>
                            <a:pt x="45" y="228"/>
                          </a:lnTo>
                          <a:lnTo>
                            <a:pt x="63" y="241"/>
                          </a:lnTo>
                          <a:lnTo>
                            <a:pt x="84" y="250"/>
                          </a:lnTo>
                          <a:lnTo>
                            <a:pt x="105" y="256"/>
                          </a:lnTo>
                          <a:lnTo>
                            <a:pt x="128" y="258"/>
                          </a:lnTo>
                          <a:lnTo>
                            <a:pt x="151" y="256"/>
                          </a:lnTo>
                          <a:lnTo>
                            <a:pt x="173" y="250"/>
                          </a:lnTo>
                          <a:lnTo>
                            <a:pt x="194" y="241"/>
                          </a:lnTo>
                          <a:lnTo>
                            <a:pt x="211" y="228"/>
                          </a:lnTo>
                          <a:lnTo>
                            <a:pt x="227" y="213"/>
                          </a:lnTo>
                          <a:lnTo>
                            <a:pt x="239" y="195"/>
                          </a:lnTo>
                          <a:lnTo>
                            <a:pt x="249" y="174"/>
                          </a:lnTo>
                          <a:lnTo>
                            <a:pt x="255" y="153"/>
                          </a:lnTo>
                          <a:lnTo>
                            <a:pt x="257" y="129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1" name="Freeform 38"/>
                    <p:cNvSpPr>
                      <a:spLocks/>
                    </p:cNvSpPr>
                    <p:nvPr/>
                  </p:nvSpPr>
                  <p:spPr bwMode="auto">
                    <a:xfrm>
                      <a:off x="4996" y="1400"/>
                      <a:ext cx="257" cy="258"/>
                    </a:xfrm>
                    <a:custGeom>
                      <a:avLst/>
                      <a:gdLst>
                        <a:gd name="T0" fmla="*/ 257 w 257"/>
                        <a:gd name="T1" fmla="*/ 129 h 258"/>
                        <a:gd name="T2" fmla="*/ 255 w 257"/>
                        <a:gd name="T3" fmla="*/ 107 h 258"/>
                        <a:gd name="T4" fmla="*/ 249 w 257"/>
                        <a:gd name="T5" fmla="*/ 85 h 258"/>
                        <a:gd name="T6" fmla="*/ 239 w 257"/>
                        <a:gd name="T7" fmla="*/ 64 h 258"/>
                        <a:gd name="T8" fmla="*/ 227 w 257"/>
                        <a:gd name="T9" fmla="*/ 47 h 258"/>
                        <a:gd name="T10" fmla="*/ 211 w 257"/>
                        <a:gd name="T11" fmla="*/ 31 h 258"/>
                        <a:gd name="T12" fmla="*/ 194 w 257"/>
                        <a:gd name="T13" fmla="*/ 19 h 258"/>
                        <a:gd name="T14" fmla="*/ 173 w 257"/>
                        <a:gd name="T15" fmla="*/ 8 h 258"/>
                        <a:gd name="T16" fmla="*/ 151 w 257"/>
                        <a:gd name="T17" fmla="*/ 3 h 258"/>
                        <a:gd name="T18" fmla="*/ 128 w 257"/>
                        <a:gd name="T19" fmla="*/ 0 h 258"/>
                        <a:gd name="T20" fmla="*/ 105 w 257"/>
                        <a:gd name="T21" fmla="*/ 3 h 258"/>
                        <a:gd name="T22" fmla="*/ 84 w 257"/>
                        <a:gd name="T23" fmla="*/ 8 h 258"/>
                        <a:gd name="T24" fmla="*/ 63 w 257"/>
                        <a:gd name="T25" fmla="*/ 19 h 258"/>
                        <a:gd name="T26" fmla="*/ 45 w 257"/>
                        <a:gd name="T27" fmla="*/ 31 h 258"/>
                        <a:gd name="T28" fmla="*/ 29 w 257"/>
                        <a:gd name="T29" fmla="*/ 47 h 258"/>
                        <a:gd name="T30" fmla="*/ 17 w 257"/>
                        <a:gd name="T31" fmla="*/ 64 h 258"/>
                        <a:gd name="T32" fmla="*/ 7 w 257"/>
                        <a:gd name="T33" fmla="*/ 85 h 258"/>
                        <a:gd name="T34" fmla="*/ 2 w 257"/>
                        <a:gd name="T35" fmla="*/ 107 h 258"/>
                        <a:gd name="T36" fmla="*/ 0 w 257"/>
                        <a:gd name="T37" fmla="*/ 129 h 258"/>
                        <a:gd name="T38" fmla="*/ 2 w 257"/>
                        <a:gd name="T39" fmla="*/ 153 h 258"/>
                        <a:gd name="T40" fmla="*/ 7 w 257"/>
                        <a:gd name="T41" fmla="*/ 174 h 258"/>
                        <a:gd name="T42" fmla="*/ 17 w 257"/>
                        <a:gd name="T43" fmla="*/ 195 h 258"/>
                        <a:gd name="T44" fmla="*/ 29 w 257"/>
                        <a:gd name="T45" fmla="*/ 213 h 258"/>
                        <a:gd name="T46" fmla="*/ 45 w 257"/>
                        <a:gd name="T47" fmla="*/ 228 h 258"/>
                        <a:gd name="T48" fmla="*/ 63 w 257"/>
                        <a:gd name="T49" fmla="*/ 241 h 258"/>
                        <a:gd name="T50" fmla="*/ 84 w 257"/>
                        <a:gd name="T51" fmla="*/ 250 h 258"/>
                        <a:gd name="T52" fmla="*/ 105 w 257"/>
                        <a:gd name="T53" fmla="*/ 256 h 258"/>
                        <a:gd name="T54" fmla="*/ 128 w 257"/>
                        <a:gd name="T55" fmla="*/ 258 h 258"/>
                        <a:gd name="T56" fmla="*/ 151 w 257"/>
                        <a:gd name="T57" fmla="*/ 256 h 258"/>
                        <a:gd name="T58" fmla="*/ 173 w 257"/>
                        <a:gd name="T59" fmla="*/ 250 h 258"/>
                        <a:gd name="T60" fmla="*/ 194 w 257"/>
                        <a:gd name="T61" fmla="*/ 241 h 258"/>
                        <a:gd name="T62" fmla="*/ 211 w 257"/>
                        <a:gd name="T63" fmla="*/ 228 h 258"/>
                        <a:gd name="T64" fmla="*/ 227 w 257"/>
                        <a:gd name="T65" fmla="*/ 213 h 258"/>
                        <a:gd name="T66" fmla="*/ 239 w 257"/>
                        <a:gd name="T67" fmla="*/ 195 h 258"/>
                        <a:gd name="T68" fmla="*/ 249 w 257"/>
                        <a:gd name="T69" fmla="*/ 174 h 258"/>
                        <a:gd name="T70" fmla="*/ 255 w 257"/>
                        <a:gd name="T71" fmla="*/ 153 h 258"/>
                        <a:gd name="T72" fmla="*/ 257 w 257"/>
                        <a:gd name="T73" fmla="*/ 129 h 258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57"/>
                        <a:gd name="T112" fmla="*/ 0 h 258"/>
                        <a:gd name="T113" fmla="*/ 257 w 257"/>
                        <a:gd name="T114" fmla="*/ 258 h 258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57" h="258">
                          <a:moveTo>
                            <a:pt x="257" y="129"/>
                          </a:moveTo>
                          <a:lnTo>
                            <a:pt x="255" y="107"/>
                          </a:lnTo>
                          <a:lnTo>
                            <a:pt x="249" y="85"/>
                          </a:lnTo>
                          <a:lnTo>
                            <a:pt x="239" y="64"/>
                          </a:lnTo>
                          <a:lnTo>
                            <a:pt x="227" y="47"/>
                          </a:lnTo>
                          <a:lnTo>
                            <a:pt x="211" y="31"/>
                          </a:lnTo>
                          <a:lnTo>
                            <a:pt x="194" y="19"/>
                          </a:lnTo>
                          <a:lnTo>
                            <a:pt x="173" y="8"/>
                          </a:lnTo>
                          <a:lnTo>
                            <a:pt x="151" y="3"/>
                          </a:lnTo>
                          <a:lnTo>
                            <a:pt x="128" y="0"/>
                          </a:lnTo>
                          <a:lnTo>
                            <a:pt x="105" y="3"/>
                          </a:lnTo>
                          <a:lnTo>
                            <a:pt x="84" y="8"/>
                          </a:lnTo>
                          <a:lnTo>
                            <a:pt x="63" y="19"/>
                          </a:lnTo>
                          <a:lnTo>
                            <a:pt x="45" y="31"/>
                          </a:lnTo>
                          <a:lnTo>
                            <a:pt x="29" y="47"/>
                          </a:lnTo>
                          <a:lnTo>
                            <a:pt x="17" y="64"/>
                          </a:lnTo>
                          <a:lnTo>
                            <a:pt x="7" y="85"/>
                          </a:lnTo>
                          <a:lnTo>
                            <a:pt x="2" y="107"/>
                          </a:lnTo>
                          <a:lnTo>
                            <a:pt x="0" y="129"/>
                          </a:lnTo>
                          <a:lnTo>
                            <a:pt x="2" y="153"/>
                          </a:lnTo>
                          <a:lnTo>
                            <a:pt x="7" y="174"/>
                          </a:lnTo>
                          <a:lnTo>
                            <a:pt x="17" y="195"/>
                          </a:lnTo>
                          <a:lnTo>
                            <a:pt x="29" y="213"/>
                          </a:lnTo>
                          <a:lnTo>
                            <a:pt x="45" y="228"/>
                          </a:lnTo>
                          <a:lnTo>
                            <a:pt x="63" y="241"/>
                          </a:lnTo>
                          <a:lnTo>
                            <a:pt x="84" y="250"/>
                          </a:lnTo>
                          <a:lnTo>
                            <a:pt x="105" y="256"/>
                          </a:lnTo>
                          <a:lnTo>
                            <a:pt x="128" y="258"/>
                          </a:lnTo>
                          <a:lnTo>
                            <a:pt x="151" y="256"/>
                          </a:lnTo>
                          <a:lnTo>
                            <a:pt x="173" y="250"/>
                          </a:lnTo>
                          <a:lnTo>
                            <a:pt x="194" y="241"/>
                          </a:lnTo>
                          <a:lnTo>
                            <a:pt x="211" y="228"/>
                          </a:lnTo>
                          <a:lnTo>
                            <a:pt x="227" y="213"/>
                          </a:lnTo>
                          <a:lnTo>
                            <a:pt x="239" y="195"/>
                          </a:lnTo>
                          <a:lnTo>
                            <a:pt x="249" y="174"/>
                          </a:lnTo>
                          <a:lnTo>
                            <a:pt x="255" y="153"/>
                          </a:lnTo>
                          <a:lnTo>
                            <a:pt x="257" y="129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2" name="Freeform 39"/>
                    <p:cNvSpPr>
                      <a:spLocks/>
                    </p:cNvSpPr>
                    <p:nvPr/>
                  </p:nvSpPr>
                  <p:spPr bwMode="auto">
                    <a:xfrm>
                      <a:off x="4563" y="1010"/>
                      <a:ext cx="246" cy="247"/>
                    </a:xfrm>
                    <a:custGeom>
                      <a:avLst/>
                      <a:gdLst>
                        <a:gd name="T0" fmla="*/ 246 w 246"/>
                        <a:gd name="T1" fmla="*/ 123 h 247"/>
                        <a:gd name="T2" fmla="*/ 244 w 246"/>
                        <a:gd name="T3" fmla="*/ 101 h 247"/>
                        <a:gd name="T4" fmla="*/ 238 w 246"/>
                        <a:gd name="T5" fmla="*/ 81 h 247"/>
                        <a:gd name="T6" fmla="*/ 230 w 246"/>
                        <a:gd name="T7" fmla="*/ 61 h 247"/>
                        <a:gd name="T8" fmla="*/ 217 w 246"/>
                        <a:gd name="T9" fmla="*/ 44 h 247"/>
                        <a:gd name="T10" fmla="*/ 202 w 246"/>
                        <a:gd name="T11" fmla="*/ 29 h 247"/>
                        <a:gd name="T12" fmla="*/ 185 w 246"/>
                        <a:gd name="T13" fmla="*/ 17 h 247"/>
                        <a:gd name="T14" fmla="*/ 166 w 246"/>
                        <a:gd name="T15" fmla="*/ 8 h 247"/>
                        <a:gd name="T16" fmla="*/ 145 w 246"/>
                        <a:gd name="T17" fmla="*/ 2 h 247"/>
                        <a:gd name="T18" fmla="*/ 123 w 246"/>
                        <a:gd name="T19" fmla="*/ 0 h 247"/>
                        <a:gd name="T20" fmla="*/ 101 w 246"/>
                        <a:gd name="T21" fmla="*/ 2 h 247"/>
                        <a:gd name="T22" fmla="*/ 80 w 246"/>
                        <a:gd name="T23" fmla="*/ 8 h 247"/>
                        <a:gd name="T24" fmla="*/ 61 w 246"/>
                        <a:gd name="T25" fmla="*/ 17 h 247"/>
                        <a:gd name="T26" fmla="*/ 44 w 246"/>
                        <a:gd name="T27" fmla="*/ 29 h 247"/>
                        <a:gd name="T28" fmla="*/ 29 w 246"/>
                        <a:gd name="T29" fmla="*/ 44 h 247"/>
                        <a:gd name="T30" fmla="*/ 16 w 246"/>
                        <a:gd name="T31" fmla="*/ 61 h 247"/>
                        <a:gd name="T32" fmla="*/ 7 w 246"/>
                        <a:gd name="T33" fmla="*/ 81 h 247"/>
                        <a:gd name="T34" fmla="*/ 2 w 246"/>
                        <a:gd name="T35" fmla="*/ 101 h 247"/>
                        <a:gd name="T36" fmla="*/ 0 w 246"/>
                        <a:gd name="T37" fmla="*/ 123 h 247"/>
                        <a:gd name="T38" fmla="*/ 2 w 246"/>
                        <a:gd name="T39" fmla="*/ 145 h 247"/>
                        <a:gd name="T40" fmla="*/ 7 w 246"/>
                        <a:gd name="T41" fmla="*/ 167 h 247"/>
                        <a:gd name="T42" fmla="*/ 16 w 246"/>
                        <a:gd name="T43" fmla="*/ 185 h 247"/>
                        <a:gd name="T44" fmla="*/ 29 w 246"/>
                        <a:gd name="T45" fmla="*/ 203 h 247"/>
                        <a:gd name="T46" fmla="*/ 44 w 246"/>
                        <a:gd name="T47" fmla="*/ 218 h 247"/>
                        <a:gd name="T48" fmla="*/ 61 w 246"/>
                        <a:gd name="T49" fmla="*/ 230 h 247"/>
                        <a:gd name="T50" fmla="*/ 80 w 246"/>
                        <a:gd name="T51" fmla="*/ 239 h 247"/>
                        <a:gd name="T52" fmla="*/ 101 w 246"/>
                        <a:gd name="T53" fmla="*/ 244 h 247"/>
                        <a:gd name="T54" fmla="*/ 123 w 246"/>
                        <a:gd name="T55" fmla="*/ 247 h 247"/>
                        <a:gd name="T56" fmla="*/ 145 w 246"/>
                        <a:gd name="T57" fmla="*/ 244 h 247"/>
                        <a:gd name="T58" fmla="*/ 166 w 246"/>
                        <a:gd name="T59" fmla="*/ 239 h 247"/>
                        <a:gd name="T60" fmla="*/ 185 w 246"/>
                        <a:gd name="T61" fmla="*/ 230 h 247"/>
                        <a:gd name="T62" fmla="*/ 202 w 246"/>
                        <a:gd name="T63" fmla="*/ 218 h 247"/>
                        <a:gd name="T64" fmla="*/ 217 w 246"/>
                        <a:gd name="T65" fmla="*/ 203 h 247"/>
                        <a:gd name="T66" fmla="*/ 230 w 246"/>
                        <a:gd name="T67" fmla="*/ 185 h 247"/>
                        <a:gd name="T68" fmla="*/ 238 w 246"/>
                        <a:gd name="T69" fmla="*/ 167 h 247"/>
                        <a:gd name="T70" fmla="*/ 244 w 246"/>
                        <a:gd name="T71" fmla="*/ 145 h 247"/>
                        <a:gd name="T72" fmla="*/ 246 w 246"/>
                        <a:gd name="T73" fmla="*/ 123 h 247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46"/>
                        <a:gd name="T112" fmla="*/ 0 h 247"/>
                        <a:gd name="T113" fmla="*/ 246 w 246"/>
                        <a:gd name="T114" fmla="*/ 247 h 247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46" h="247">
                          <a:moveTo>
                            <a:pt x="246" y="123"/>
                          </a:moveTo>
                          <a:lnTo>
                            <a:pt x="244" y="101"/>
                          </a:lnTo>
                          <a:lnTo>
                            <a:pt x="238" y="81"/>
                          </a:lnTo>
                          <a:lnTo>
                            <a:pt x="230" y="61"/>
                          </a:lnTo>
                          <a:lnTo>
                            <a:pt x="217" y="44"/>
                          </a:lnTo>
                          <a:lnTo>
                            <a:pt x="202" y="29"/>
                          </a:lnTo>
                          <a:lnTo>
                            <a:pt x="185" y="17"/>
                          </a:lnTo>
                          <a:lnTo>
                            <a:pt x="166" y="8"/>
                          </a:lnTo>
                          <a:lnTo>
                            <a:pt x="145" y="2"/>
                          </a:lnTo>
                          <a:lnTo>
                            <a:pt x="123" y="0"/>
                          </a:lnTo>
                          <a:lnTo>
                            <a:pt x="101" y="2"/>
                          </a:lnTo>
                          <a:lnTo>
                            <a:pt x="80" y="8"/>
                          </a:lnTo>
                          <a:lnTo>
                            <a:pt x="61" y="17"/>
                          </a:lnTo>
                          <a:lnTo>
                            <a:pt x="44" y="29"/>
                          </a:lnTo>
                          <a:lnTo>
                            <a:pt x="29" y="44"/>
                          </a:lnTo>
                          <a:lnTo>
                            <a:pt x="16" y="61"/>
                          </a:lnTo>
                          <a:lnTo>
                            <a:pt x="7" y="81"/>
                          </a:lnTo>
                          <a:lnTo>
                            <a:pt x="2" y="101"/>
                          </a:lnTo>
                          <a:lnTo>
                            <a:pt x="0" y="123"/>
                          </a:lnTo>
                          <a:lnTo>
                            <a:pt x="2" y="145"/>
                          </a:lnTo>
                          <a:lnTo>
                            <a:pt x="7" y="167"/>
                          </a:lnTo>
                          <a:lnTo>
                            <a:pt x="16" y="185"/>
                          </a:lnTo>
                          <a:lnTo>
                            <a:pt x="29" y="203"/>
                          </a:lnTo>
                          <a:lnTo>
                            <a:pt x="44" y="218"/>
                          </a:lnTo>
                          <a:lnTo>
                            <a:pt x="61" y="230"/>
                          </a:lnTo>
                          <a:lnTo>
                            <a:pt x="80" y="239"/>
                          </a:lnTo>
                          <a:lnTo>
                            <a:pt x="101" y="244"/>
                          </a:lnTo>
                          <a:lnTo>
                            <a:pt x="123" y="247"/>
                          </a:lnTo>
                          <a:lnTo>
                            <a:pt x="145" y="244"/>
                          </a:lnTo>
                          <a:lnTo>
                            <a:pt x="166" y="239"/>
                          </a:lnTo>
                          <a:lnTo>
                            <a:pt x="185" y="230"/>
                          </a:lnTo>
                          <a:lnTo>
                            <a:pt x="202" y="218"/>
                          </a:lnTo>
                          <a:lnTo>
                            <a:pt x="217" y="203"/>
                          </a:lnTo>
                          <a:lnTo>
                            <a:pt x="230" y="185"/>
                          </a:lnTo>
                          <a:lnTo>
                            <a:pt x="238" y="167"/>
                          </a:lnTo>
                          <a:lnTo>
                            <a:pt x="244" y="145"/>
                          </a:lnTo>
                          <a:lnTo>
                            <a:pt x="246" y="12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3" name="Freeform 40"/>
                    <p:cNvSpPr>
                      <a:spLocks/>
                    </p:cNvSpPr>
                    <p:nvPr/>
                  </p:nvSpPr>
                  <p:spPr bwMode="auto">
                    <a:xfrm>
                      <a:off x="4563" y="1010"/>
                      <a:ext cx="246" cy="247"/>
                    </a:xfrm>
                    <a:custGeom>
                      <a:avLst/>
                      <a:gdLst>
                        <a:gd name="T0" fmla="*/ 246 w 246"/>
                        <a:gd name="T1" fmla="*/ 123 h 247"/>
                        <a:gd name="T2" fmla="*/ 244 w 246"/>
                        <a:gd name="T3" fmla="*/ 101 h 247"/>
                        <a:gd name="T4" fmla="*/ 238 w 246"/>
                        <a:gd name="T5" fmla="*/ 81 h 247"/>
                        <a:gd name="T6" fmla="*/ 230 w 246"/>
                        <a:gd name="T7" fmla="*/ 61 h 247"/>
                        <a:gd name="T8" fmla="*/ 217 w 246"/>
                        <a:gd name="T9" fmla="*/ 44 h 247"/>
                        <a:gd name="T10" fmla="*/ 202 w 246"/>
                        <a:gd name="T11" fmla="*/ 29 h 247"/>
                        <a:gd name="T12" fmla="*/ 185 w 246"/>
                        <a:gd name="T13" fmla="*/ 17 h 247"/>
                        <a:gd name="T14" fmla="*/ 166 w 246"/>
                        <a:gd name="T15" fmla="*/ 8 h 247"/>
                        <a:gd name="T16" fmla="*/ 145 w 246"/>
                        <a:gd name="T17" fmla="*/ 2 h 247"/>
                        <a:gd name="T18" fmla="*/ 123 w 246"/>
                        <a:gd name="T19" fmla="*/ 0 h 247"/>
                        <a:gd name="T20" fmla="*/ 101 w 246"/>
                        <a:gd name="T21" fmla="*/ 2 h 247"/>
                        <a:gd name="T22" fmla="*/ 80 w 246"/>
                        <a:gd name="T23" fmla="*/ 8 h 247"/>
                        <a:gd name="T24" fmla="*/ 61 w 246"/>
                        <a:gd name="T25" fmla="*/ 17 h 247"/>
                        <a:gd name="T26" fmla="*/ 44 w 246"/>
                        <a:gd name="T27" fmla="*/ 29 h 247"/>
                        <a:gd name="T28" fmla="*/ 29 w 246"/>
                        <a:gd name="T29" fmla="*/ 44 h 247"/>
                        <a:gd name="T30" fmla="*/ 16 w 246"/>
                        <a:gd name="T31" fmla="*/ 61 h 247"/>
                        <a:gd name="T32" fmla="*/ 7 w 246"/>
                        <a:gd name="T33" fmla="*/ 81 h 247"/>
                        <a:gd name="T34" fmla="*/ 2 w 246"/>
                        <a:gd name="T35" fmla="*/ 101 h 247"/>
                        <a:gd name="T36" fmla="*/ 0 w 246"/>
                        <a:gd name="T37" fmla="*/ 123 h 247"/>
                        <a:gd name="T38" fmla="*/ 2 w 246"/>
                        <a:gd name="T39" fmla="*/ 145 h 247"/>
                        <a:gd name="T40" fmla="*/ 7 w 246"/>
                        <a:gd name="T41" fmla="*/ 167 h 247"/>
                        <a:gd name="T42" fmla="*/ 16 w 246"/>
                        <a:gd name="T43" fmla="*/ 185 h 247"/>
                        <a:gd name="T44" fmla="*/ 29 w 246"/>
                        <a:gd name="T45" fmla="*/ 203 h 247"/>
                        <a:gd name="T46" fmla="*/ 44 w 246"/>
                        <a:gd name="T47" fmla="*/ 218 h 247"/>
                        <a:gd name="T48" fmla="*/ 61 w 246"/>
                        <a:gd name="T49" fmla="*/ 230 h 247"/>
                        <a:gd name="T50" fmla="*/ 80 w 246"/>
                        <a:gd name="T51" fmla="*/ 239 h 247"/>
                        <a:gd name="T52" fmla="*/ 101 w 246"/>
                        <a:gd name="T53" fmla="*/ 244 h 247"/>
                        <a:gd name="T54" fmla="*/ 123 w 246"/>
                        <a:gd name="T55" fmla="*/ 247 h 247"/>
                        <a:gd name="T56" fmla="*/ 145 w 246"/>
                        <a:gd name="T57" fmla="*/ 244 h 247"/>
                        <a:gd name="T58" fmla="*/ 166 w 246"/>
                        <a:gd name="T59" fmla="*/ 239 h 247"/>
                        <a:gd name="T60" fmla="*/ 185 w 246"/>
                        <a:gd name="T61" fmla="*/ 230 h 247"/>
                        <a:gd name="T62" fmla="*/ 202 w 246"/>
                        <a:gd name="T63" fmla="*/ 218 h 247"/>
                        <a:gd name="T64" fmla="*/ 217 w 246"/>
                        <a:gd name="T65" fmla="*/ 203 h 247"/>
                        <a:gd name="T66" fmla="*/ 230 w 246"/>
                        <a:gd name="T67" fmla="*/ 185 h 247"/>
                        <a:gd name="T68" fmla="*/ 238 w 246"/>
                        <a:gd name="T69" fmla="*/ 167 h 247"/>
                        <a:gd name="T70" fmla="*/ 244 w 246"/>
                        <a:gd name="T71" fmla="*/ 145 h 247"/>
                        <a:gd name="T72" fmla="*/ 246 w 246"/>
                        <a:gd name="T73" fmla="*/ 123 h 247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60000 65536"/>
                        <a:gd name="T100" fmla="*/ 0 60000 65536"/>
                        <a:gd name="T101" fmla="*/ 0 60000 65536"/>
                        <a:gd name="T102" fmla="*/ 0 60000 65536"/>
                        <a:gd name="T103" fmla="*/ 0 60000 65536"/>
                        <a:gd name="T104" fmla="*/ 0 60000 65536"/>
                        <a:gd name="T105" fmla="*/ 0 60000 65536"/>
                        <a:gd name="T106" fmla="*/ 0 60000 65536"/>
                        <a:gd name="T107" fmla="*/ 0 60000 65536"/>
                        <a:gd name="T108" fmla="*/ 0 60000 65536"/>
                        <a:gd name="T109" fmla="*/ 0 60000 65536"/>
                        <a:gd name="T110" fmla="*/ 0 60000 65536"/>
                        <a:gd name="T111" fmla="*/ 0 w 246"/>
                        <a:gd name="T112" fmla="*/ 0 h 247"/>
                        <a:gd name="T113" fmla="*/ 246 w 246"/>
                        <a:gd name="T114" fmla="*/ 247 h 247"/>
                      </a:gdLst>
                      <a:ahLst/>
                      <a:cxnLst>
                        <a:cxn ang="T74">
                          <a:pos x="T0" y="T1"/>
                        </a:cxn>
                        <a:cxn ang="T75">
                          <a:pos x="T2" y="T3"/>
                        </a:cxn>
                        <a:cxn ang="T76">
                          <a:pos x="T4" y="T5"/>
                        </a:cxn>
                        <a:cxn ang="T77">
                          <a:pos x="T6" y="T7"/>
                        </a:cxn>
                        <a:cxn ang="T78">
                          <a:pos x="T8" y="T9"/>
                        </a:cxn>
                        <a:cxn ang="T79">
                          <a:pos x="T10" y="T11"/>
                        </a:cxn>
                        <a:cxn ang="T80">
                          <a:pos x="T12" y="T13"/>
                        </a:cxn>
                        <a:cxn ang="T81">
                          <a:pos x="T14" y="T15"/>
                        </a:cxn>
                        <a:cxn ang="T82">
                          <a:pos x="T16" y="T17"/>
                        </a:cxn>
                        <a:cxn ang="T83">
                          <a:pos x="T18" y="T19"/>
                        </a:cxn>
                        <a:cxn ang="T84">
                          <a:pos x="T20" y="T21"/>
                        </a:cxn>
                        <a:cxn ang="T85">
                          <a:pos x="T22" y="T23"/>
                        </a:cxn>
                        <a:cxn ang="T86">
                          <a:pos x="T24" y="T25"/>
                        </a:cxn>
                        <a:cxn ang="T87">
                          <a:pos x="T26" y="T27"/>
                        </a:cxn>
                        <a:cxn ang="T88">
                          <a:pos x="T28" y="T29"/>
                        </a:cxn>
                        <a:cxn ang="T89">
                          <a:pos x="T30" y="T31"/>
                        </a:cxn>
                        <a:cxn ang="T90">
                          <a:pos x="T32" y="T33"/>
                        </a:cxn>
                        <a:cxn ang="T91">
                          <a:pos x="T34" y="T35"/>
                        </a:cxn>
                        <a:cxn ang="T92">
                          <a:pos x="T36" y="T37"/>
                        </a:cxn>
                        <a:cxn ang="T93">
                          <a:pos x="T38" y="T39"/>
                        </a:cxn>
                        <a:cxn ang="T94">
                          <a:pos x="T40" y="T41"/>
                        </a:cxn>
                        <a:cxn ang="T95">
                          <a:pos x="T42" y="T43"/>
                        </a:cxn>
                        <a:cxn ang="T96">
                          <a:pos x="T44" y="T45"/>
                        </a:cxn>
                        <a:cxn ang="T97">
                          <a:pos x="T46" y="T47"/>
                        </a:cxn>
                        <a:cxn ang="T98">
                          <a:pos x="T48" y="T49"/>
                        </a:cxn>
                        <a:cxn ang="T99">
                          <a:pos x="T50" y="T51"/>
                        </a:cxn>
                        <a:cxn ang="T100">
                          <a:pos x="T52" y="T53"/>
                        </a:cxn>
                        <a:cxn ang="T101">
                          <a:pos x="T54" y="T55"/>
                        </a:cxn>
                        <a:cxn ang="T102">
                          <a:pos x="T56" y="T57"/>
                        </a:cxn>
                        <a:cxn ang="T103">
                          <a:pos x="T58" y="T59"/>
                        </a:cxn>
                        <a:cxn ang="T104">
                          <a:pos x="T60" y="T61"/>
                        </a:cxn>
                        <a:cxn ang="T105">
                          <a:pos x="T62" y="T63"/>
                        </a:cxn>
                        <a:cxn ang="T106">
                          <a:pos x="T64" y="T65"/>
                        </a:cxn>
                        <a:cxn ang="T107">
                          <a:pos x="T66" y="T67"/>
                        </a:cxn>
                        <a:cxn ang="T108">
                          <a:pos x="T68" y="T69"/>
                        </a:cxn>
                        <a:cxn ang="T109">
                          <a:pos x="T70" y="T71"/>
                        </a:cxn>
                        <a:cxn ang="T110">
                          <a:pos x="T72" y="T73"/>
                        </a:cxn>
                      </a:cxnLst>
                      <a:rect l="T111" t="T112" r="T113" b="T114"/>
                      <a:pathLst>
                        <a:path w="246" h="247">
                          <a:moveTo>
                            <a:pt x="246" y="123"/>
                          </a:moveTo>
                          <a:lnTo>
                            <a:pt x="244" y="101"/>
                          </a:lnTo>
                          <a:lnTo>
                            <a:pt x="238" y="81"/>
                          </a:lnTo>
                          <a:lnTo>
                            <a:pt x="230" y="61"/>
                          </a:lnTo>
                          <a:lnTo>
                            <a:pt x="217" y="44"/>
                          </a:lnTo>
                          <a:lnTo>
                            <a:pt x="202" y="29"/>
                          </a:lnTo>
                          <a:lnTo>
                            <a:pt x="185" y="17"/>
                          </a:lnTo>
                          <a:lnTo>
                            <a:pt x="166" y="8"/>
                          </a:lnTo>
                          <a:lnTo>
                            <a:pt x="145" y="2"/>
                          </a:lnTo>
                          <a:lnTo>
                            <a:pt x="123" y="0"/>
                          </a:lnTo>
                          <a:lnTo>
                            <a:pt x="101" y="2"/>
                          </a:lnTo>
                          <a:lnTo>
                            <a:pt x="80" y="8"/>
                          </a:lnTo>
                          <a:lnTo>
                            <a:pt x="61" y="17"/>
                          </a:lnTo>
                          <a:lnTo>
                            <a:pt x="44" y="29"/>
                          </a:lnTo>
                          <a:lnTo>
                            <a:pt x="29" y="44"/>
                          </a:lnTo>
                          <a:lnTo>
                            <a:pt x="16" y="61"/>
                          </a:lnTo>
                          <a:lnTo>
                            <a:pt x="7" y="81"/>
                          </a:lnTo>
                          <a:lnTo>
                            <a:pt x="2" y="101"/>
                          </a:lnTo>
                          <a:lnTo>
                            <a:pt x="0" y="123"/>
                          </a:lnTo>
                          <a:lnTo>
                            <a:pt x="2" y="145"/>
                          </a:lnTo>
                          <a:lnTo>
                            <a:pt x="7" y="167"/>
                          </a:lnTo>
                          <a:lnTo>
                            <a:pt x="16" y="185"/>
                          </a:lnTo>
                          <a:lnTo>
                            <a:pt x="29" y="203"/>
                          </a:lnTo>
                          <a:lnTo>
                            <a:pt x="44" y="218"/>
                          </a:lnTo>
                          <a:lnTo>
                            <a:pt x="61" y="230"/>
                          </a:lnTo>
                          <a:lnTo>
                            <a:pt x="80" y="239"/>
                          </a:lnTo>
                          <a:lnTo>
                            <a:pt x="101" y="244"/>
                          </a:lnTo>
                          <a:lnTo>
                            <a:pt x="123" y="247"/>
                          </a:lnTo>
                          <a:lnTo>
                            <a:pt x="145" y="244"/>
                          </a:lnTo>
                          <a:lnTo>
                            <a:pt x="166" y="239"/>
                          </a:lnTo>
                          <a:lnTo>
                            <a:pt x="185" y="230"/>
                          </a:lnTo>
                          <a:lnTo>
                            <a:pt x="202" y="218"/>
                          </a:lnTo>
                          <a:lnTo>
                            <a:pt x="217" y="203"/>
                          </a:lnTo>
                          <a:lnTo>
                            <a:pt x="230" y="185"/>
                          </a:lnTo>
                          <a:lnTo>
                            <a:pt x="238" y="167"/>
                          </a:lnTo>
                          <a:lnTo>
                            <a:pt x="244" y="145"/>
                          </a:lnTo>
                          <a:lnTo>
                            <a:pt x="246" y="12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4" name="Freeform 41"/>
                    <p:cNvSpPr>
                      <a:spLocks/>
                    </p:cNvSpPr>
                    <p:nvPr/>
                  </p:nvSpPr>
                  <p:spPr bwMode="auto">
                    <a:xfrm>
                      <a:off x="3459" y="2147"/>
                      <a:ext cx="231" cy="232"/>
                    </a:xfrm>
                    <a:custGeom>
                      <a:avLst/>
                      <a:gdLst>
                        <a:gd name="T0" fmla="*/ 231 w 231"/>
                        <a:gd name="T1" fmla="*/ 116 h 232"/>
                        <a:gd name="T2" fmla="*/ 229 w 231"/>
                        <a:gd name="T3" fmla="*/ 93 h 232"/>
                        <a:gd name="T4" fmla="*/ 222 w 231"/>
                        <a:gd name="T5" fmla="*/ 71 h 232"/>
                        <a:gd name="T6" fmla="*/ 212 w 231"/>
                        <a:gd name="T7" fmla="*/ 51 h 232"/>
                        <a:gd name="T8" fmla="*/ 198 w 231"/>
                        <a:gd name="T9" fmla="*/ 34 h 232"/>
                        <a:gd name="T10" fmla="*/ 180 w 231"/>
                        <a:gd name="T11" fmla="*/ 20 h 232"/>
                        <a:gd name="T12" fmla="*/ 161 w 231"/>
                        <a:gd name="T13" fmla="*/ 9 h 232"/>
                        <a:gd name="T14" fmla="*/ 139 w 231"/>
                        <a:gd name="T15" fmla="*/ 2 h 232"/>
                        <a:gd name="T16" fmla="*/ 115 w 231"/>
                        <a:gd name="T17" fmla="*/ 0 h 232"/>
                        <a:gd name="T18" fmla="*/ 92 w 231"/>
                        <a:gd name="T19" fmla="*/ 2 h 232"/>
                        <a:gd name="T20" fmla="*/ 70 w 231"/>
                        <a:gd name="T21" fmla="*/ 9 h 232"/>
                        <a:gd name="T22" fmla="*/ 51 w 231"/>
                        <a:gd name="T23" fmla="*/ 20 h 232"/>
                        <a:gd name="T24" fmla="*/ 33 w 231"/>
                        <a:gd name="T25" fmla="*/ 34 h 232"/>
                        <a:gd name="T26" fmla="*/ 19 w 231"/>
                        <a:gd name="T27" fmla="*/ 51 h 232"/>
                        <a:gd name="T28" fmla="*/ 9 w 231"/>
                        <a:gd name="T29" fmla="*/ 71 h 232"/>
                        <a:gd name="T30" fmla="*/ 2 w 231"/>
                        <a:gd name="T31" fmla="*/ 93 h 232"/>
                        <a:gd name="T32" fmla="*/ 0 w 231"/>
                        <a:gd name="T33" fmla="*/ 116 h 232"/>
                        <a:gd name="T34" fmla="*/ 2 w 231"/>
                        <a:gd name="T35" fmla="*/ 140 h 232"/>
                        <a:gd name="T36" fmla="*/ 9 w 231"/>
                        <a:gd name="T37" fmla="*/ 161 h 232"/>
                        <a:gd name="T38" fmla="*/ 19 w 231"/>
                        <a:gd name="T39" fmla="*/ 181 h 232"/>
                        <a:gd name="T40" fmla="*/ 33 w 231"/>
                        <a:gd name="T41" fmla="*/ 198 h 232"/>
                        <a:gd name="T42" fmla="*/ 51 w 231"/>
                        <a:gd name="T43" fmla="*/ 212 h 232"/>
                        <a:gd name="T44" fmla="*/ 70 w 231"/>
                        <a:gd name="T45" fmla="*/ 222 h 232"/>
                        <a:gd name="T46" fmla="*/ 92 w 231"/>
                        <a:gd name="T47" fmla="*/ 229 h 232"/>
                        <a:gd name="T48" fmla="*/ 115 w 231"/>
                        <a:gd name="T49" fmla="*/ 232 h 232"/>
                        <a:gd name="T50" fmla="*/ 139 w 231"/>
                        <a:gd name="T51" fmla="*/ 229 h 232"/>
                        <a:gd name="T52" fmla="*/ 161 w 231"/>
                        <a:gd name="T53" fmla="*/ 222 h 232"/>
                        <a:gd name="T54" fmla="*/ 180 w 231"/>
                        <a:gd name="T55" fmla="*/ 212 h 232"/>
                        <a:gd name="T56" fmla="*/ 198 w 231"/>
                        <a:gd name="T57" fmla="*/ 198 h 232"/>
                        <a:gd name="T58" fmla="*/ 212 w 231"/>
                        <a:gd name="T59" fmla="*/ 181 h 232"/>
                        <a:gd name="T60" fmla="*/ 222 w 231"/>
                        <a:gd name="T61" fmla="*/ 161 h 232"/>
                        <a:gd name="T62" fmla="*/ 229 w 231"/>
                        <a:gd name="T63" fmla="*/ 140 h 232"/>
                        <a:gd name="T64" fmla="*/ 231 w 231"/>
                        <a:gd name="T65" fmla="*/ 116 h 232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231"/>
                        <a:gd name="T100" fmla="*/ 0 h 232"/>
                        <a:gd name="T101" fmla="*/ 231 w 231"/>
                        <a:gd name="T102" fmla="*/ 232 h 232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231" h="232">
                          <a:moveTo>
                            <a:pt x="231" y="116"/>
                          </a:moveTo>
                          <a:lnTo>
                            <a:pt x="229" y="93"/>
                          </a:lnTo>
                          <a:lnTo>
                            <a:pt x="222" y="71"/>
                          </a:lnTo>
                          <a:lnTo>
                            <a:pt x="212" y="51"/>
                          </a:lnTo>
                          <a:lnTo>
                            <a:pt x="198" y="34"/>
                          </a:lnTo>
                          <a:lnTo>
                            <a:pt x="180" y="20"/>
                          </a:lnTo>
                          <a:lnTo>
                            <a:pt x="161" y="9"/>
                          </a:lnTo>
                          <a:lnTo>
                            <a:pt x="139" y="2"/>
                          </a:lnTo>
                          <a:lnTo>
                            <a:pt x="115" y="0"/>
                          </a:lnTo>
                          <a:lnTo>
                            <a:pt x="92" y="2"/>
                          </a:lnTo>
                          <a:lnTo>
                            <a:pt x="70" y="9"/>
                          </a:lnTo>
                          <a:lnTo>
                            <a:pt x="51" y="20"/>
                          </a:lnTo>
                          <a:lnTo>
                            <a:pt x="33" y="34"/>
                          </a:lnTo>
                          <a:lnTo>
                            <a:pt x="19" y="51"/>
                          </a:lnTo>
                          <a:lnTo>
                            <a:pt x="9" y="71"/>
                          </a:lnTo>
                          <a:lnTo>
                            <a:pt x="2" y="93"/>
                          </a:lnTo>
                          <a:lnTo>
                            <a:pt x="0" y="116"/>
                          </a:lnTo>
                          <a:lnTo>
                            <a:pt x="2" y="140"/>
                          </a:lnTo>
                          <a:lnTo>
                            <a:pt x="9" y="161"/>
                          </a:lnTo>
                          <a:lnTo>
                            <a:pt x="19" y="181"/>
                          </a:lnTo>
                          <a:lnTo>
                            <a:pt x="33" y="198"/>
                          </a:lnTo>
                          <a:lnTo>
                            <a:pt x="51" y="212"/>
                          </a:lnTo>
                          <a:lnTo>
                            <a:pt x="70" y="222"/>
                          </a:lnTo>
                          <a:lnTo>
                            <a:pt x="92" y="229"/>
                          </a:lnTo>
                          <a:lnTo>
                            <a:pt x="115" y="232"/>
                          </a:lnTo>
                          <a:lnTo>
                            <a:pt x="139" y="229"/>
                          </a:lnTo>
                          <a:lnTo>
                            <a:pt x="161" y="222"/>
                          </a:lnTo>
                          <a:lnTo>
                            <a:pt x="180" y="212"/>
                          </a:lnTo>
                          <a:lnTo>
                            <a:pt x="198" y="198"/>
                          </a:lnTo>
                          <a:lnTo>
                            <a:pt x="212" y="181"/>
                          </a:lnTo>
                          <a:lnTo>
                            <a:pt x="222" y="161"/>
                          </a:lnTo>
                          <a:lnTo>
                            <a:pt x="229" y="140"/>
                          </a:lnTo>
                          <a:lnTo>
                            <a:pt x="231" y="11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5" name="Freeform 42"/>
                    <p:cNvSpPr>
                      <a:spLocks/>
                    </p:cNvSpPr>
                    <p:nvPr/>
                  </p:nvSpPr>
                  <p:spPr bwMode="auto">
                    <a:xfrm>
                      <a:off x="3459" y="2147"/>
                      <a:ext cx="231" cy="232"/>
                    </a:xfrm>
                    <a:custGeom>
                      <a:avLst/>
                      <a:gdLst>
                        <a:gd name="T0" fmla="*/ 231 w 231"/>
                        <a:gd name="T1" fmla="*/ 116 h 232"/>
                        <a:gd name="T2" fmla="*/ 229 w 231"/>
                        <a:gd name="T3" fmla="*/ 93 h 232"/>
                        <a:gd name="T4" fmla="*/ 222 w 231"/>
                        <a:gd name="T5" fmla="*/ 71 h 232"/>
                        <a:gd name="T6" fmla="*/ 212 w 231"/>
                        <a:gd name="T7" fmla="*/ 51 h 232"/>
                        <a:gd name="T8" fmla="*/ 198 w 231"/>
                        <a:gd name="T9" fmla="*/ 34 h 232"/>
                        <a:gd name="T10" fmla="*/ 180 w 231"/>
                        <a:gd name="T11" fmla="*/ 20 h 232"/>
                        <a:gd name="T12" fmla="*/ 161 w 231"/>
                        <a:gd name="T13" fmla="*/ 9 h 232"/>
                        <a:gd name="T14" fmla="*/ 139 w 231"/>
                        <a:gd name="T15" fmla="*/ 2 h 232"/>
                        <a:gd name="T16" fmla="*/ 115 w 231"/>
                        <a:gd name="T17" fmla="*/ 0 h 232"/>
                        <a:gd name="T18" fmla="*/ 92 w 231"/>
                        <a:gd name="T19" fmla="*/ 2 h 232"/>
                        <a:gd name="T20" fmla="*/ 70 w 231"/>
                        <a:gd name="T21" fmla="*/ 9 h 232"/>
                        <a:gd name="T22" fmla="*/ 51 w 231"/>
                        <a:gd name="T23" fmla="*/ 20 h 232"/>
                        <a:gd name="T24" fmla="*/ 33 w 231"/>
                        <a:gd name="T25" fmla="*/ 34 h 232"/>
                        <a:gd name="T26" fmla="*/ 19 w 231"/>
                        <a:gd name="T27" fmla="*/ 51 h 232"/>
                        <a:gd name="T28" fmla="*/ 9 w 231"/>
                        <a:gd name="T29" fmla="*/ 71 h 232"/>
                        <a:gd name="T30" fmla="*/ 2 w 231"/>
                        <a:gd name="T31" fmla="*/ 93 h 232"/>
                        <a:gd name="T32" fmla="*/ 0 w 231"/>
                        <a:gd name="T33" fmla="*/ 116 h 232"/>
                        <a:gd name="T34" fmla="*/ 2 w 231"/>
                        <a:gd name="T35" fmla="*/ 140 h 232"/>
                        <a:gd name="T36" fmla="*/ 9 w 231"/>
                        <a:gd name="T37" fmla="*/ 161 h 232"/>
                        <a:gd name="T38" fmla="*/ 19 w 231"/>
                        <a:gd name="T39" fmla="*/ 181 h 232"/>
                        <a:gd name="T40" fmla="*/ 33 w 231"/>
                        <a:gd name="T41" fmla="*/ 198 h 232"/>
                        <a:gd name="T42" fmla="*/ 51 w 231"/>
                        <a:gd name="T43" fmla="*/ 212 h 232"/>
                        <a:gd name="T44" fmla="*/ 70 w 231"/>
                        <a:gd name="T45" fmla="*/ 222 h 232"/>
                        <a:gd name="T46" fmla="*/ 92 w 231"/>
                        <a:gd name="T47" fmla="*/ 229 h 232"/>
                        <a:gd name="T48" fmla="*/ 115 w 231"/>
                        <a:gd name="T49" fmla="*/ 232 h 232"/>
                        <a:gd name="T50" fmla="*/ 139 w 231"/>
                        <a:gd name="T51" fmla="*/ 229 h 232"/>
                        <a:gd name="T52" fmla="*/ 161 w 231"/>
                        <a:gd name="T53" fmla="*/ 222 h 232"/>
                        <a:gd name="T54" fmla="*/ 180 w 231"/>
                        <a:gd name="T55" fmla="*/ 212 h 232"/>
                        <a:gd name="T56" fmla="*/ 198 w 231"/>
                        <a:gd name="T57" fmla="*/ 198 h 232"/>
                        <a:gd name="T58" fmla="*/ 212 w 231"/>
                        <a:gd name="T59" fmla="*/ 181 h 232"/>
                        <a:gd name="T60" fmla="*/ 222 w 231"/>
                        <a:gd name="T61" fmla="*/ 161 h 232"/>
                        <a:gd name="T62" fmla="*/ 229 w 231"/>
                        <a:gd name="T63" fmla="*/ 140 h 232"/>
                        <a:gd name="T64" fmla="*/ 231 w 231"/>
                        <a:gd name="T65" fmla="*/ 116 h 232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231"/>
                        <a:gd name="T100" fmla="*/ 0 h 232"/>
                        <a:gd name="T101" fmla="*/ 231 w 231"/>
                        <a:gd name="T102" fmla="*/ 232 h 232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231" h="232">
                          <a:moveTo>
                            <a:pt x="231" y="116"/>
                          </a:moveTo>
                          <a:lnTo>
                            <a:pt x="229" y="93"/>
                          </a:lnTo>
                          <a:lnTo>
                            <a:pt x="222" y="71"/>
                          </a:lnTo>
                          <a:lnTo>
                            <a:pt x="212" y="51"/>
                          </a:lnTo>
                          <a:lnTo>
                            <a:pt x="198" y="34"/>
                          </a:lnTo>
                          <a:lnTo>
                            <a:pt x="180" y="20"/>
                          </a:lnTo>
                          <a:lnTo>
                            <a:pt x="161" y="9"/>
                          </a:lnTo>
                          <a:lnTo>
                            <a:pt x="139" y="2"/>
                          </a:lnTo>
                          <a:lnTo>
                            <a:pt x="115" y="0"/>
                          </a:lnTo>
                          <a:lnTo>
                            <a:pt x="92" y="2"/>
                          </a:lnTo>
                          <a:lnTo>
                            <a:pt x="70" y="9"/>
                          </a:lnTo>
                          <a:lnTo>
                            <a:pt x="51" y="20"/>
                          </a:lnTo>
                          <a:lnTo>
                            <a:pt x="33" y="34"/>
                          </a:lnTo>
                          <a:lnTo>
                            <a:pt x="19" y="51"/>
                          </a:lnTo>
                          <a:lnTo>
                            <a:pt x="9" y="71"/>
                          </a:lnTo>
                          <a:lnTo>
                            <a:pt x="2" y="93"/>
                          </a:lnTo>
                          <a:lnTo>
                            <a:pt x="0" y="116"/>
                          </a:lnTo>
                          <a:lnTo>
                            <a:pt x="2" y="140"/>
                          </a:lnTo>
                          <a:lnTo>
                            <a:pt x="9" y="161"/>
                          </a:lnTo>
                          <a:lnTo>
                            <a:pt x="19" y="181"/>
                          </a:lnTo>
                          <a:lnTo>
                            <a:pt x="33" y="198"/>
                          </a:lnTo>
                          <a:lnTo>
                            <a:pt x="51" y="212"/>
                          </a:lnTo>
                          <a:lnTo>
                            <a:pt x="70" y="222"/>
                          </a:lnTo>
                          <a:lnTo>
                            <a:pt x="92" y="229"/>
                          </a:lnTo>
                          <a:lnTo>
                            <a:pt x="115" y="232"/>
                          </a:lnTo>
                          <a:lnTo>
                            <a:pt x="139" y="229"/>
                          </a:lnTo>
                          <a:lnTo>
                            <a:pt x="161" y="222"/>
                          </a:lnTo>
                          <a:lnTo>
                            <a:pt x="180" y="212"/>
                          </a:lnTo>
                          <a:lnTo>
                            <a:pt x="198" y="198"/>
                          </a:lnTo>
                          <a:lnTo>
                            <a:pt x="212" y="181"/>
                          </a:lnTo>
                          <a:lnTo>
                            <a:pt x="222" y="161"/>
                          </a:lnTo>
                          <a:lnTo>
                            <a:pt x="229" y="140"/>
                          </a:lnTo>
                          <a:lnTo>
                            <a:pt x="231" y="11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6" name="Freeform 43"/>
                    <p:cNvSpPr>
                      <a:spLocks/>
                    </p:cNvSpPr>
                    <p:nvPr/>
                  </p:nvSpPr>
                  <p:spPr bwMode="auto">
                    <a:xfrm>
                      <a:off x="4912" y="2554"/>
                      <a:ext cx="229" cy="229"/>
                    </a:xfrm>
                    <a:custGeom>
                      <a:avLst/>
                      <a:gdLst>
                        <a:gd name="T0" fmla="*/ 229 w 229"/>
                        <a:gd name="T1" fmla="*/ 115 h 229"/>
                        <a:gd name="T2" fmla="*/ 227 w 229"/>
                        <a:gd name="T3" fmla="*/ 92 h 229"/>
                        <a:gd name="T4" fmla="*/ 220 w 229"/>
                        <a:gd name="T5" fmla="*/ 70 h 229"/>
                        <a:gd name="T6" fmla="*/ 209 w 229"/>
                        <a:gd name="T7" fmla="*/ 51 h 229"/>
                        <a:gd name="T8" fmla="*/ 196 w 229"/>
                        <a:gd name="T9" fmla="*/ 34 h 229"/>
                        <a:gd name="T10" fmla="*/ 179 w 229"/>
                        <a:gd name="T11" fmla="*/ 20 h 229"/>
                        <a:gd name="T12" fmla="*/ 159 w 229"/>
                        <a:gd name="T13" fmla="*/ 9 h 229"/>
                        <a:gd name="T14" fmla="*/ 138 w 229"/>
                        <a:gd name="T15" fmla="*/ 2 h 229"/>
                        <a:gd name="T16" fmla="*/ 115 w 229"/>
                        <a:gd name="T17" fmla="*/ 0 h 229"/>
                        <a:gd name="T18" fmla="*/ 91 w 229"/>
                        <a:gd name="T19" fmla="*/ 2 h 229"/>
                        <a:gd name="T20" fmla="*/ 70 w 229"/>
                        <a:gd name="T21" fmla="*/ 9 h 229"/>
                        <a:gd name="T22" fmla="*/ 51 w 229"/>
                        <a:gd name="T23" fmla="*/ 20 h 229"/>
                        <a:gd name="T24" fmla="*/ 34 w 229"/>
                        <a:gd name="T25" fmla="*/ 34 h 229"/>
                        <a:gd name="T26" fmla="*/ 20 w 229"/>
                        <a:gd name="T27" fmla="*/ 51 h 229"/>
                        <a:gd name="T28" fmla="*/ 9 w 229"/>
                        <a:gd name="T29" fmla="*/ 70 h 229"/>
                        <a:gd name="T30" fmla="*/ 3 w 229"/>
                        <a:gd name="T31" fmla="*/ 92 h 229"/>
                        <a:gd name="T32" fmla="*/ 0 w 229"/>
                        <a:gd name="T33" fmla="*/ 115 h 229"/>
                        <a:gd name="T34" fmla="*/ 3 w 229"/>
                        <a:gd name="T35" fmla="*/ 138 h 229"/>
                        <a:gd name="T36" fmla="*/ 9 w 229"/>
                        <a:gd name="T37" fmla="*/ 159 h 229"/>
                        <a:gd name="T38" fmla="*/ 20 w 229"/>
                        <a:gd name="T39" fmla="*/ 179 h 229"/>
                        <a:gd name="T40" fmla="*/ 34 w 229"/>
                        <a:gd name="T41" fmla="*/ 196 h 229"/>
                        <a:gd name="T42" fmla="*/ 51 w 229"/>
                        <a:gd name="T43" fmla="*/ 210 h 229"/>
                        <a:gd name="T44" fmla="*/ 70 w 229"/>
                        <a:gd name="T45" fmla="*/ 221 h 229"/>
                        <a:gd name="T46" fmla="*/ 91 w 229"/>
                        <a:gd name="T47" fmla="*/ 227 h 229"/>
                        <a:gd name="T48" fmla="*/ 115 w 229"/>
                        <a:gd name="T49" fmla="*/ 229 h 229"/>
                        <a:gd name="T50" fmla="*/ 138 w 229"/>
                        <a:gd name="T51" fmla="*/ 227 h 229"/>
                        <a:gd name="T52" fmla="*/ 159 w 229"/>
                        <a:gd name="T53" fmla="*/ 221 h 229"/>
                        <a:gd name="T54" fmla="*/ 179 w 229"/>
                        <a:gd name="T55" fmla="*/ 210 h 229"/>
                        <a:gd name="T56" fmla="*/ 196 w 229"/>
                        <a:gd name="T57" fmla="*/ 196 h 229"/>
                        <a:gd name="T58" fmla="*/ 209 w 229"/>
                        <a:gd name="T59" fmla="*/ 179 h 229"/>
                        <a:gd name="T60" fmla="*/ 220 w 229"/>
                        <a:gd name="T61" fmla="*/ 159 h 229"/>
                        <a:gd name="T62" fmla="*/ 227 w 229"/>
                        <a:gd name="T63" fmla="*/ 138 h 229"/>
                        <a:gd name="T64" fmla="*/ 229 w 229"/>
                        <a:gd name="T65" fmla="*/ 115 h 229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229"/>
                        <a:gd name="T100" fmla="*/ 0 h 229"/>
                        <a:gd name="T101" fmla="*/ 229 w 229"/>
                        <a:gd name="T102" fmla="*/ 229 h 229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229" h="229">
                          <a:moveTo>
                            <a:pt x="229" y="115"/>
                          </a:moveTo>
                          <a:lnTo>
                            <a:pt x="227" y="92"/>
                          </a:lnTo>
                          <a:lnTo>
                            <a:pt x="220" y="70"/>
                          </a:lnTo>
                          <a:lnTo>
                            <a:pt x="209" y="51"/>
                          </a:lnTo>
                          <a:lnTo>
                            <a:pt x="196" y="34"/>
                          </a:lnTo>
                          <a:lnTo>
                            <a:pt x="179" y="20"/>
                          </a:lnTo>
                          <a:lnTo>
                            <a:pt x="159" y="9"/>
                          </a:lnTo>
                          <a:lnTo>
                            <a:pt x="138" y="2"/>
                          </a:lnTo>
                          <a:lnTo>
                            <a:pt x="115" y="0"/>
                          </a:lnTo>
                          <a:lnTo>
                            <a:pt x="91" y="2"/>
                          </a:lnTo>
                          <a:lnTo>
                            <a:pt x="70" y="9"/>
                          </a:lnTo>
                          <a:lnTo>
                            <a:pt x="51" y="20"/>
                          </a:lnTo>
                          <a:lnTo>
                            <a:pt x="34" y="34"/>
                          </a:lnTo>
                          <a:lnTo>
                            <a:pt x="20" y="51"/>
                          </a:lnTo>
                          <a:lnTo>
                            <a:pt x="9" y="70"/>
                          </a:lnTo>
                          <a:lnTo>
                            <a:pt x="3" y="92"/>
                          </a:lnTo>
                          <a:lnTo>
                            <a:pt x="0" y="115"/>
                          </a:lnTo>
                          <a:lnTo>
                            <a:pt x="3" y="138"/>
                          </a:lnTo>
                          <a:lnTo>
                            <a:pt x="9" y="159"/>
                          </a:lnTo>
                          <a:lnTo>
                            <a:pt x="20" y="179"/>
                          </a:lnTo>
                          <a:lnTo>
                            <a:pt x="34" y="196"/>
                          </a:lnTo>
                          <a:lnTo>
                            <a:pt x="51" y="210"/>
                          </a:lnTo>
                          <a:lnTo>
                            <a:pt x="70" y="221"/>
                          </a:lnTo>
                          <a:lnTo>
                            <a:pt x="91" y="227"/>
                          </a:lnTo>
                          <a:lnTo>
                            <a:pt x="115" y="229"/>
                          </a:lnTo>
                          <a:lnTo>
                            <a:pt x="138" y="227"/>
                          </a:lnTo>
                          <a:lnTo>
                            <a:pt x="159" y="221"/>
                          </a:lnTo>
                          <a:lnTo>
                            <a:pt x="179" y="210"/>
                          </a:lnTo>
                          <a:lnTo>
                            <a:pt x="196" y="196"/>
                          </a:lnTo>
                          <a:lnTo>
                            <a:pt x="209" y="179"/>
                          </a:lnTo>
                          <a:lnTo>
                            <a:pt x="220" y="159"/>
                          </a:lnTo>
                          <a:lnTo>
                            <a:pt x="227" y="138"/>
                          </a:lnTo>
                          <a:lnTo>
                            <a:pt x="229" y="11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7" name="Freeform 44"/>
                    <p:cNvSpPr>
                      <a:spLocks/>
                    </p:cNvSpPr>
                    <p:nvPr/>
                  </p:nvSpPr>
                  <p:spPr bwMode="auto">
                    <a:xfrm>
                      <a:off x="4912" y="2554"/>
                      <a:ext cx="229" cy="229"/>
                    </a:xfrm>
                    <a:custGeom>
                      <a:avLst/>
                      <a:gdLst>
                        <a:gd name="T0" fmla="*/ 229 w 229"/>
                        <a:gd name="T1" fmla="*/ 115 h 229"/>
                        <a:gd name="T2" fmla="*/ 227 w 229"/>
                        <a:gd name="T3" fmla="*/ 92 h 229"/>
                        <a:gd name="T4" fmla="*/ 220 w 229"/>
                        <a:gd name="T5" fmla="*/ 70 h 229"/>
                        <a:gd name="T6" fmla="*/ 209 w 229"/>
                        <a:gd name="T7" fmla="*/ 51 h 229"/>
                        <a:gd name="T8" fmla="*/ 196 w 229"/>
                        <a:gd name="T9" fmla="*/ 34 h 229"/>
                        <a:gd name="T10" fmla="*/ 179 w 229"/>
                        <a:gd name="T11" fmla="*/ 20 h 229"/>
                        <a:gd name="T12" fmla="*/ 159 w 229"/>
                        <a:gd name="T13" fmla="*/ 9 h 229"/>
                        <a:gd name="T14" fmla="*/ 138 w 229"/>
                        <a:gd name="T15" fmla="*/ 2 h 229"/>
                        <a:gd name="T16" fmla="*/ 115 w 229"/>
                        <a:gd name="T17" fmla="*/ 0 h 229"/>
                        <a:gd name="T18" fmla="*/ 91 w 229"/>
                        <a:gd name="T19" fmla="*/ 2 h 229"/>
                        <a:gd name="T20" fmla="*/ 70 w 229"/>
                        <a:gd name="T21" fmla="*/ 9 h 229"/>
                        <a:gd name="T22" fmla="*/ 51 w 229"/>
                        <a:gd name="T23" fmla="*/ 20 h 229"/>
                        <a:gd name="T24" fmla="*/ 34 w 229"/>
                        <a:gd name="T25" fmla="*/ 34 h 229"/>
                        <a:gd name="T26" fmla="*/ 20 w 229"/>
                        <a:gd name="T27" fmla="*/ 51 h 229"/>
                        <a:gd name="T28" fmla="*/ 9 w 229"/>
                        <a:gd name="T29" fmla="*/ 70 h 229"/>
                        <a:gd name="T30" fmla="*/ 3 w 229"/>
                        <a:gd name="T31" fmla="*/ 92 h 229"/>
                        <a:gd name="T32" fmla="*/ 0 w 229"/>
                        <a:gd name="T33" fmla="*/ 115 h 229"/>
                        <a:gd name="T34" fmla="*/ 3 w 229"/>
                        <a:gd name="T35" fmla="*/ 138 h 229"/>
                        <a:gd name="T36" fmla="*/ 9 w 229"/>
                        <a:gd name="T37" fmla="*/ 159 h 229"/>
                        <a:gd name="T38" fmla="*/ 20 w 229"/>
                        <a:gd name="T39" fmla="*/ 179 h 229"/>
                        <a:gd name="T40" fmla="*/ 34 w 229"/>
                        <a:gd name="T41" fmla="*/ 196 h 229"/>
                        <a:gd name="T42" fmla="*/ 51 w 229"/>
                        <a:gd name="T43" fmla="*/ 210 h 229"/>
                        <a:gd name="T44" fmla="*/ 70 w 229"/>
                        <a:gd name="T45" fmla="*/ 221 h 229"/>
                        <a:gd name="T46" fmla="*/ 91 w 229"/>
                        <a:gd name="T47" fmla="*/ 227 h 229"/>
                        <a:gd name="T48" fmla="*/ 115 w 229"/>
                        <a:gd name="T49" fmla="*/ 229 h 229"/>
                        <a:gd name="T50" fmla="*/ 138 w 229"/>
                        <a:gd name="T51" fmla="*/ 227 h 229"/>
                        <a:gd name="T52" fmla="*/ 159 w 229"/>
                        <a:gd name="T53" fmla="*/ 221 h 229"/>
                        <a:gd name="T54" fmla="*/ 179 w 229"/>
                        <a:gd name="T55" fmla="*/ 210 h 229"/>
                        <a:gd name="T56" fmla="*/ 196 w 229"/>
                        <a:gd name="T57" fmla="*/ 196 h 229"/>
                        <a:gd name="T58" fmla="*/ 209 w 229"/>
                        <a:gd name="T59" fmla="*/ 179 h 229"/>
                        <a:gd name="T60" fmla="*/ 220 w 229"/>
                        <a:gd name="T61" fmla="*/ 159 h 229"/>
                        <a:gd name="T62" fmla="*/ 227 w 229"/>
                        <a:gd name="T63" fmla="*/ 138 h 229"/>
                        <a:gd name="T64" fmla="*/ 229 w 229"/>
                        <a:gd name="T65" fmla="*/ 115 h 229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229"/>
                        <a:gd name="T100" fmla="*/ 0 h 229"/>
                        <a:gd name="T101" fmla="*/ 229 w 229"/>
                        <a:gd name="T102" fmla="*/ 229 h 229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229" h="229">
                          <a:moveTo>
                            <a:pt x="229" y="115"/>
                          </a:moveTo>
                          <a:lnTo>
                            <a:pt x="227" y="92"/>
                          </a:lnTo>
                          <a:lnTo>
                            <a:pt x="220" y="70"/>
                          </a:lnTo>
                          <a:lnTo>
                            <a:pt x="209" y="51"/>
                          </a:lnTo>
                          <a:lnTo>
                            <a:pt x="196" y="34"/>
                          </a:lnTo>
                          <a:lnTo>
                            <a:pt x="179" y="20"/>
                          </a:lnTo>
                          <a:lnTo>
                            <a:pt x="159" y="9"/>
                          </a:lnTo>
                          <a:lnTo>
                            <a:pt x="138" y="2"/>
                          </a:lnTo>
                          <a:lnTo>
                            <a:pt x="115" y="0"/>
                          </a:lnTo>
                          <a:lnTo>
                            <a:pt x="91" y="2"/>
                          </a:lnTo>
                          <a:lnTo>
                            <a:pt x="70" y="9"/>
                          </a:lnTo>
                          <a:lnTo>
                            <a:pt x="51" y="20"/>
                          </a:lnTo>
                          <a:lnTo>
                            <a:pt x="34" y="34"/>
                          </a:lnTo>
                          <a:lnTo>
                            <a:pt x="20" y="51"/>
                          </a:lnTo>
                          <a:lnTo>
                            <a:pt x="9" y="70"/>
                          </a:lnTo>
                          <a:lnTo>
                            <a:pt x="3" y="92"/>
                          </a:lnTo>
                          <a:lnTo>
                            <a:pt x="0" y="115"/>
                          </a:lnTo>
                          <a:lnTo>
                            <a:pt x="3" y="138"/>
                          </a:lnTo>
                          <a:lnTo>
                            <a:pt x="9" y="159"/>
                          </a:lnTo>
                          <a:lnTo>
                            <a:pt x="20" y="179"/>
                          </a:lnTo>
                          <a:lnTo>
                            <a:pt x="34" y="196"/>
                          </a:lnTo>
                          <a:lnTo>
                            <a:pt x="51" y="210"/>
                          </a:lnTo>
                          <a:lnTo>
                            <a:pt x="70" y="221"/>
                          </a:lnTo>
                          <a:lnTo>
                            <a:pt x="91" y="227"/>
                          </a:lnTo>
                          <a:lnTo>
                            <a:pt x="115" y="229"/>
                          </a:lnTo>
                          <a:lnTo>
                            <a:pt x="138" y="227"/>
                          </a:lnTo>
                          <a:lnTo>
                            <a:pt x="159" y="221"/>
                          </a:lnTo>
                          <a:lnTo>
                            <a:pt x="179" y="210"/>
                          </a:lnTo>
                          <a:lnTo>
                            <a:pt x="196" y="196"/>
                          </a:lnTo>
                          <a:lnTo>
                            <a:pt x="209" y="179"/>
                          </a:lnTo>
                          <a:lnTo>
                            <a:pt x="220" y="159"/>
                          </a:lnTo>
                          <a:lnTo>
                            <a:pt x="227" y="138"/>
                          </a:lnTo>
                          <a:lnTo>
                            <a:pt x="229" y="11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8" name="Freeform 45"/>
                    <p:cNvSpPr>
                      <a:spLocks/>
                    </p:cNvSpPr>
                    <p:nvPr/>
                  </p:nvSpPr>
                  <p:spPr bwMode="auto">
                    <a:xfrm>
                      <a:off x="4156" y="2698"/>
                      <a:ext cx="220" cy="220"/>
                    </a:xfrm>
                    <a:custGeom>
                      <a:avLst/>
                      <a:gdLst>
                        <a:gd name="T0" fmla="*/ 220 w 220"/>
                        <a:gd name="T1" fmla="*/ 110 h 220"/>
                        <a:gd name="T2" fmla="*/ 218 w 220"/>
                        <a:gd name="T3" fmla="*/ 88 h 220"/>
                        <a:gd name="T4" fmla="*/ 212 w 220"/>
                        <a:gd name="T5" fmla="*/ 68 h 220"/>
                        <a:gd name="T6" fmla="*/ 202 w 220"/>
                        <a:gd name="T7" fmla="*/ 49 h 220"/>
                        <a:gd name="T8" fmla="*/ 188 w 220"/>
                        <a:gd name="T9" fmla="*/ 33 h 220"/>
                        <a:gd name="T10" fmla="*/ 172 w 220"/>
                        <a:gd name="T11" fmla="*/ 19 h 220"/>
                        <a:gd name="T12" fmla="*/ 153 w 220"/>
                        <a:gd name="T13" fmla="*/ 9 h 220"/>
                        <a:gd name="T14" fmla="*/ 132 w 220"/>
                        <a:gd name="T15" fmla="*/ 3 h 220"/>
                        <a:gd name="T16" fmla="*/ 110 w 220"/>
                        <a:gd name="T17" fmla="*/ 0 h 220"/>
                        <a:gd name="T18" fmla="*/ 88 w 220"/>
                        <a:gd name="T19" fmla="*/ 3 h 220"/>
                        <a:gd name="T20" fmla="*/ 68 w 220"/>
                        <a:gd name="T21" fmla="*/ 9 h 220"/>
                        <a:gd name="T22" fmla="*/ 49 w 220"/>
                        <a:gd name="T23" fmla="*/ 19 h 220"/>
                        <a:gd name="T24" fmla="*/ 33 w 220"/>
                        <a:gd name="T25" fmla="*/ 33 h 220"/>
                        <a:gd name="T26" fmla="*/ 19 w 220"/>
                        <a:gd name="T27" fmla="*/ 49 h 220"/>
                        <a:gd name="T28" fmla="*/ 9 w 220"/>
                        <a:gd name="T29" fmla="*/ 68 h 220"/>
                        <a:gd name="T30" fmla="*/ 3 w 220"/>
                        <a:gd name="T31" fmla="*/ 88 h 220"/>
                        <a:gd name="T32" fmla="*/ 0 w 220"/>
                        <a:gd name="T33" fmla="*/ 110 h 220"/>
                        <a:gd name="T34" fmla="*/ 3 w 220"/>
                        <a:gd name="T35" fmla="*/ 132 h 220"/>
                        <a:gd name="T36" fmla="*/ 9 w 220"/>
                        <a:gd name="T37" fmla="*/ 153 h 220"/>
                        <a:gd name="T38" fmla="*/ 19 w 220"/>
                        <a:gd name="T39" fmla="*/ 172 h 220"/>
                        <a:gd name="T40" fmla="*/ 33 w 220"/>
                        <a:gd name="T41" fmla="*/ 188 h 220"/>
                        <a:gd name="T42" fmla="*/ 49 w 220"/>
                        <a:gd name="T43" fmla="*/ 202 h 220"/>
                        <a:gd name="T44" fmla="*/ 68 w 220"/>
                        <a:gd name="T45" fmla="*/ 212 h 220"/>
                        <a:gd name="T46" fmla="*/ 88 w 220"/>
                        <a:gd name="T47" fmla="*/ 218 h 220"/>
                        <a:gd name="T48" fmla="*/ 110 w 220"/>
                        <a:gd name="T49" fmla="*/ 220 h 220"/>
                        <a:gd name="T50" fmla="*/ 132 w 220"/>
                        <a:gd name="T51" fmla="*/ 218 h 220"/>
                        <a:gd name="T52" fmla="*/ 153 w 220"/>
                        <a:gd name="T53" fmla="*/ 212 h 220"/>
                        <a:gd name="T54" fmla="*/ 172 w 220"/>
                        <a:gd name="T55" fmla="*/ 202 h 220"/>
                        <a:gd name="T56" fmla="*/ 188 w 220"/>
                        <a:gd name="T57" fmla="*/ 188 h 220"/>
                        <a:gd name="T58" fmla="*/ 202 w 220"/>
                        <a:gd name="T59" fmla="*/ 172 h 220"/>
                        <a:gd name="T60" fmla="*/ 212 w 220"/>
                        <a:gd name="T61" fmla="*/ 153 h 220"/>
                        <a:gd name="T62" fmla="*/ 218 w 220"/>
                        <a:gd name="T63" fmla="*/ 132 h 220"/>
                        <a:gd name="T64" fmla="*/ 220 w 220"/>
                        <a:gd name="T65" fmla="*/ 110 h 220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220"/>
                        <a:gd name="T100" fmla="*/ 0 h 220"/>
                        <a:gd name="T101" fmla="*/ 220 w 220"/>
                        <a:gd name="T102" fmla="*/ 220 h 220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220" h="220">
                          <a:moveTo>
                            <a:pt x="220" y="110"/>
                          </a:moveTo>
                          <a:lnTo>
                            <a:pt x="218" y="88"/>
                          </a:lnTo>
                          <a:lnTo>
                            <a:pt x="212" y="68"/>
                          </a:lnTo>
                          <a:lnTo>
                            <a:pt x="202" y="49"/>
                          </a:lnTo>
                          <a:lnTo>
                            <a:pt x="188" y="33"/>
                          </a:lnTo>
                          <a:lnTo>
                            <a:pt x="172" y="19"/>
                          </a:lnTo>
                          <a:lnTo>
                            <a:pt x="153" y="9"/>
                          </a:lnTo>
                          <a:lnTo>
                            <a:pt x="132" y="3"/>
                          </a:lnTo>
                          <a:lnTo>
                            <a:pt x="110" y="0"/>
                          </a:lnTo>
                          <a:lnTo>
                            <a:pt x="88" y="3"/>
                          </a:lnTo>
                          <a:lnTo>
                            <a:pt x="68" y="9"/>
                          </a:lnTo>
                          <a:lnTo>
                            <a:pt x="49" y="19"/>
                          </a:lnTo>
                          <a:lnTo>
                            <a:pt x="33" y="33"/>
                          </a:lnTo>
                          <a:lnTo>
                            <a:pt x="19" y="49"/>
                          </a:lnTo>
                          <a:lnTo>
                            <a:pt x="9" y="68"/>
                          </a:lnTo>
                          <a:lnTo>
                            <a:pt x="3" y="88"/>
                          </a:lnTo>
                          <a:lnTo>
                            <a:pt x="0" y="110"/>
                          </a:lnTo>
                          <a:lnTo>
                            <a:pt x="3" y="132"/>
                          </a:lnTo>
                          <a:lnTo>
                            <a:pt x="9" y="153"/>
                          </a:lnTo>
                          <a:lnTo>
                            <a:pt x="19" y="172"/>
                          </a:lnTo>
                          <a:lnTo>
                            <a:pt x="33" y="188"/>
                          </a:lnTo>
                          <a:lnTo>
                            <a:pt x="49" y="202"/>
                          </a:lnTo>
                          <a:lnTo>
                            <a:pt x="68" y="212"/>
                          </a:lnTo>
                          <a:lnTo>
                            <a:pt x="88" y="218"/>
                          </a:lnTo>
                          <a:lnTo>
                            <a:pt x="110" y="220"/>
                          </a:lnTo>
                          <a:lnTo>
                            <a:pt x="132" y="218"/>
                          </a:lnTo>
                          <a:lnTo>
                            <a:pt x="153" y="212"/>
                          </a:lnTo>
                          <a:lnTo>
                            <a:pt x="172" y="202"/>
                          </a:lnTo>
                          <a:lnTo>
                            <a:pt x="188" y="188"/>
                          </a:lnTo>
                          <a:lnTo>
                            <a:pt x="202" y="172"/>
                          </a:lnTo>
                          <a:lnTo>
                            <a:pt x="212" y="153"/>
                          </a:lnTo>
                          <a:lnTo>
                            <a:pt x="218" y="132"/>
                          </a:lnTo>
                          <a:lnTo>
                            <a:pt x="220" y="11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89" name="Freeform 46"/>
                    <p:cNvSpPr>
                      <a:spLocks/>
                    </p:cNvSpPr>
                    <p:nvPr/>
                  </p:nvSpPr>
                  <p:spPr bwMode="auto">
                    <a:xfrm>
                      <a:off x="4156" y="2698"/>
                      <a:ext cx="220" cy="220"/>
                    </a:xfrm>
                    <a:custGeom>
                      <a:avLst/>
                      <a:gdLst>
                        <a:gd name="T0" fmla="*/ 220 w 220"/>
                        <a:gd name="T1" fmla="*/ 110 h 220"/>
                        <a:gd name="T2" fmla="*/ 218 w 220"/>
                        <a:gd name="T3" fmla="*/ 88 h 220"/>
                        <a:gd name="T4" fmla="*/ 212 w 220"/>
                        <a:gd name="T5" fmla="*/ 68 h 220"/>
                        <a:gd name="T6" fmla="*/ 202 w 220"/>
                        <a:gd name="T7" fmla="*/ 49 h 220"/>
                        <a:gd name="T8" fmla="*/ 188 w 220"/>
                        <a:gd name="T9" fmla="*/ 33 h 220"/>
                        <a:gd name="T10" fmla="*/ 172 w 220"/>
                        <a:gd name="T11" fmla="*/ 19 h 220"/>
                        <a:gd name="T12" fmla="*/ 153 w 220"/>
                        <a:gd name="T13" fmla="*/ 9 h 220"/>
                        <a:gd name="T14" fmla="*/ 132 w 220"/>
                        <a:gd name="T15" fmla="*/ 3 h 220"/>
                        <a:gd name="T16" fmla="*/ 110 w 220"/>
                        <a:gd name="T17" fmla="*/ 0 h 220"/>
                        <a:gd name="T18" fmla="*/ 88 w 220"/>
                        <a:gd name="T19" fmla="*/ 3 h 220"/>
                        <a:gd name="T20" fmla="*/ 68 w 220"/>
                        <a:gd name="T21" fmla="*/ 9 h 220"/>
                        <a:gd name="T22" fmla="*/ 49 w 220"/>
                        <a:gd name="T23" fmla="*/ 19 h 220"/>
                        <a:gd name="T24" fmla="*/ 33 w 220"/>
                        <a:gd name="T25" fmla="*/ 33 h 220"/>
                        <a:gd name="T26" fmla="*/ 19 w 220"/>
                        <a:gd name="T27" fmla="*/ 49 h 220"/>
                        <a:gd name="T28" fmla="*/ 9 w 220"/>
                        <a:gd name="T29" fmla="*/ 68 h 220"/>
                        <a:gd name="T30" fmla="*/ 3 w 220"/>
                        <a:gd name="T31" fmla="*/ 88 h 220"/>
                        <a:gd name="T32" fmla="*/ 0 w 220"/>
                        <a:gd name="T33" fmla="*/ 110 h 220"/>
                        <a:gd name="T34" fmla="*/ 3 w 220"/>
                        <a:gd name="T35" fmla="*/ 132 h 220"/>
                        <a:gd name="T36" fmla="*/ 9 w 220"/>
                        <a:gd name="T37" fmla="*/ 153 h 220"/>
                        <a:gd name="T38" fmla="*/ 19 w 220"/>
                        <a:gd name="T39" fmla="*/ 172 h 220"/>
                        <a:gd name="T40" fmla="*/ 33 w 220"/>
                        <a:gd name="T41" fmla="*/ 188 h 220"/>
                        <a:gd name="T42" fmla="*/ 49 w 220"/>
                        <a:gd name="T43" fmla="*/ 202 h 220"/>
                        <a:gd name="T44" fmla="*/ 68 w 220"/>
                        <a:gd name="T45" fmla="*/ 212 h 220"/>
                        <a:gd name="T46" fmla="*/ 88 w 220"/>
                        <a:gd name="T47" fmla="*/ 218 h 220"/>
                        <a:gd name="T48" fmla="*/ 110 w 220"/>
                        <a:gd name="T49" fmla="*/ 220 h 220"/>
                        <a:gd name="T50" fmla="*/ 132 w 220"/>
                        <a:gd name="T51" fmla="*/ 218 h 220"/>
                        <a:gd name="T52" fmla="*/ 153 w 220"/>
                        <a:gd name="T53" fmla="*/ 212 h 220"/>
                        <a:gd name="T54" fmla="*/ 172 w 220"/>
                        <a:gd name="T55" fmla="*/ 202 h 220"/>
                        <a:gd name="T56" fmla="*/ 188 w 220"/>
                        <a:gd name="T57" fmla="*/ 188 h 220"/>
                        <a:gd name="T58" fmla="*/ 202 w 220"/>
                        <a:gd name="T59" fmla="*/ 172 h 220"/>
                        <a:gd name="T60" fmla="*/ 212 w 220"/>
                        <a:gd name="T61" fmla="*/ 153 h 220"/>
                        <a:gd name="T62" fmla="*/ 218 w 220"/>
                        <a:gd name="T63" fmla="*/ 132 h 220"/>
                        <a:gd name="T64" fmla="*/ 220 w 220"/>
                        <a:gd name="T65" fmla="*/ 110 h 220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220"/>
                        <a:gd name="T100" fmla="*/ 0 h 220"/>
                        <a:gd name="T101" fmla="*/ 220 w 220"/>
                        <a:gd name="T102" fmla="*/ 220 h 220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220" h="220">
                          <a:moveTo>
                            <a:pt x="220" y="110"/>
                          </a:moveTo>
                          <a:lnTo>
                            <a:pt x="218" y="88"/>
                          </a:lnTo>
                          <a:lnTo>
                            <a:pt x="212" y="68"/>
                          </a:lnTo>
                          <a:lnTo>
                            <a:pt x="202" y="49"/>
                          </a:lnTo>
                          <a:lnTo>
                            <a:pt x="188" y="33"/>
                          </a:lnTo>
                          <a:lnTo>
                            <a:pt x="172" y="19"/>
                          </a:lnTo>
                          <a:lnTo>
                            <a:pt x="153" y="9"/>
                          </a:lnTo>
                          <a:lnTo>
                            <a:pt x="132" y="3"/>
                          </a:lnTo>
                          <a:lnTo>
                            <a:pt x="110" y="0"/>
                          </a:lnTo>
                          <a:lnTo>
                            <a:pt x="88" y="3"/>
                          </a:lnTo>
                          <a:lnTo>
                            <a:pt x="68" y="9"/>
                          </a:lnTo>
                          <a:lnTo>
                            <a:pt x="49" y="19"/>
                          </a:lnTo>
                          <a:lnTo>
                            <a:pt x="33" y="33"/>
                          </a:lnTo>
                          <a:lnTo>
                            <a:pt x="19" y="49"/>
                          </a:lnTo>
                          <a:lnTo>
                            <a:pt x="9" y="68"/>
                          </a:lnTo>
                          <a:lnTo>
                            <a:pt x="3" y="88"/>
                          </a:lnTo>
                          <a:lnTo>
                            <a:pt x="0" y="110"/>
                          </a:lnTo>
                          <a:lnTo>
                            <a:pt x="3" y="132"/>
                          </a:lnTo>
                          <a:lnTo>
                            <a:pt x="9" y="153"/>
                          </a:lnTo>
                          <a:lnTo>
                            <a:pt x="19" y="172"/>
                          </a:lnTo>
                          <a:lnTo>
                            <a:pt x="33" y="188"/>
                          </a:lnTo>
                          <a:lnTo>
                            <a:pt x="49" y="202"/>
                          </a:lnTo>
                          <a:lnTo>
                            <a:pt x="68" y="212"/>
                          </a:lnTo>
                          <a:lnTo>
                            <a:pt x="88" y="218"/>
                          </a:lnTo>
                          <a:lnTo>
                            <a:pt x="110" y="220"/>
                          </a:lnTo>
                          <a:lnTo>
                            <a:pt x="132" y="218"/>
                          </a:lnTo>
                          <a:lnTo>
                            <a:pt x="153" y="212"/>
                          </a:lnTo>
                          <a:lnTo>
                            <a:pt x="172" y="202"/>
                          </a:lnTo>
                          <a:lnTo>
                            <a:pt x="188" y="188"/>
                          </a:lnTo>
                          <a:lnTo>
                            <a:pt x="202" y="172"/>
                          </a:lnTo>
                          <a:lnTo>
                            <a:pt x="212" y="153"/>
                          </a:lnTo>
                          <a:lnTo>
                            <a:pt x="218" y="132"/>
                          </a:lnTo>
                          <a:lnTo>
                            <a:pt x="220" y="11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0" name="Freeform 47"/>
                    <p:cNvSpPr>
                      <a:spLocks/>
                    </p:cNvSpPr>
                    <p:nvPr/>
                  </p:nvSpPr>
                  <p:spPr bwMode="auto">
                    <a:xfrm>
                      <a:off x="3540" y="1573"/>
                      <a:ext cx="214" cy="214"/>
                    </a:xfrm>
                    <a:custGeom>
                      <a:avLst/>
                      <a:gdLst>
                        <a:gd name="T0" fmla="*/ 214 w 214"/>
                        <a:gd name="T1" fmla="*/ 107 h 214"/>
                        <a:gd name="T2" fmla="*/ 212 w 214"/>
                        <a:gd name="T3" fmla="*/ 85 h 214"/>
                        <a:gd name="T4" fmla="*/ 205 w 214"/>
                        <a:gd name="T5" fmla="*/ 66 h 214"/>
                        <a:gd name="T6" fmla="*/ 196 w 214"/>
                        <a:gd name="T7" fmla="*/ 47 h 214"/>
                        <a:gd name="T8" fmla="*/ 183 w 214"/>
                        <a:gd name="T9" fmla="*/ 31 h 214"/>
                        <a:gd name="T10" fmla="*/ 167 w 214"/>
                        <a:gd name="T11" fmla="*/ 18 h 214"/>
                        <a:gd name="T12" fmla="*/ 148 w 214"/>
                        <a:gd name="T13" fmla="*/ 8 h 214"/>
                        <a:gd name="T14" fmla="*/ 128 w 214"/>
                        <a:gd name="T15" fmla="*/ 2 h 214"/>
                        <a:gd name="T16" fmla="*/ 106 w 214"/>
                        <a:gd name="T17" fmla="*/ 0 h 214"/>
                        <a:gd name="T18" fmla="*/ 85 w 214"/>
                        <a:gd name="T19" fmla="*/ 2 h 214"/>
                        <a:gd name="T20" fmla="*/ 65 w 214"/>
                        <a:gd name="T21" fmla="*/ 8 h 214"/>
                        <a:gd name="T22" fmla="*/ 47 w 214"/>
                        <a:gd name="T23" fmla="*/ 18 h 214"/>
                        <a:gd name="T24" fmla="*/ 31 w 214"/>
                        <a:gd name="T25" fmla="*/ 31 h 214"/>
                        <a:gd name="T26" fmla="*/ 18 w 214"/>
                        <a:gd name="T27" fmla="*/ 47 h 214"/>
                        <a:gd name="T28" fmla="*/ 8 w 214"/>
                        <a:gd name="T29" fmla="*/ 66 h 214"/>
                        <a:gd name="T30" fmla="*/ 2 w 214"/>
                        <a:gd name="T31" fmla="*/ 85 h 214"/>
                        <a:gd name="T32" fmla="*/ 0 w 214"/>
                        <a:gd name="T33" fmla="*/ 107 h 214"/>
                        <a:gd name="T34" fmla="*/ 2 w 214"/>
                        <a:gd name="T35" fmla="*/ 128 h 214"/>
                        <a:gd name="T36" fmla="*/ 8 w 214"/>
                        <a:gd name="T37" fmla="*/ 149 h 214"/>
                        <a:gd name="T38" fmla="*/ 18 w 214"/>
                        <a:gd name="T39" fmla="*/ 167 h 214"/>
                        <a:gd name="T40" fmla="*/ 31 w 214"/>
                        <a:gd name="T41" fmla="*/ 183 h 214"/>
                        <a:gd name="T42" fmla="*/ 47 w 214"/>
                        <a:gd name="T43" fmla="*/ 196 h 214"/>
                        <a:gd name="T44" fmla="*/ 65 w 214"/>
                        <a:gd name="T45" fmla="*/ 205 h 214"/>
                        <a:gd name="T46" fmla="*/ 85 w 214"/>
                        <a:gd name="T47" fmla="*/ 212 h 214"/>
                        <a:gd name="T48" fmla="*/ 106 w 214"/>
                        <a:gd name="T49" fmla="*/ 214 h 214"/>
                        <a:gd name="T50" fmla="*/ 128 w 214"/>
                        <a:gd name="T51" fmla="*/ 212 h 214"/>
                        <a:gd name="T52" fmla="*/ 148 w 214"/>
                        <a:gd name="T53" fmla="*/ 205 h 214"/>
                        <a:gd name="T54" fmla="*/ 167 w 214"/>
                        <a:gd name="T55" fmla="*/ 196 h 214"/>
                        <a:gd name="T56" fmla="*/ 183 w 214"/>
                        <a:gd name="T57" fmla="*/ 183 h 214"/>
                        <a:gd name="T58" fmla="*/ 196 w 214"/>
                        <a:gd name="T59" fmla="*/ 167 h 214"/>
                        <a:gd name="T60" fmla="*/ 205 w 214"/>
                        <a:gd name="T61" fmla="*/ 149 h 214"/>
                        <a:gd name="T62" fmla="*/ 212 w 214"/>
                        <a:gd name="T63" fmla="*/ 128 h 214"/>
                        <a:gd name="T64" fmla="*/ 214 w 214"/>
                        <a:gd name="T65" fmla="*/ 107 h 214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214"/>
                        <a:gd name="T100" fmla="*/ 0 h 214"/>
                        <a:gd name="T101" fmla="*/ 214 w 214"/>
                        <a:gd name="T102" fmla="*/ 214 h 214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214" h="214">
                          <a:moveTo>
                            <a:pt x="214" y="107"/>
                          </a:moveTo>
                          <a:lnTo>
                            <a:pt x="212" y="85"/>
                          </a:lnTo>
                          <a:lnTo>
                            <a:pt x="205" y="66"/>
                          </a:lnTo>
                          <a:lnTo>
                            <a:pt x="196" y="47"/>
                          </a:lnTo>
                          <a:lnTo>
                            <a:pt x="183" y="31"/>
                          </a:lnTo>
                          <a:lnTo>
                            <a:pt x="167" y="18"/>
                          </a:lnTo>
                          <a:lnTo>
                            <a:pt x="148" y="8"/>
                          </a:lnTo>
                          <a:lnTo>
                            <a:pt x="128" y="2"/>
                          </a:lnTo>
                          <a:lnTo>
                            <a:pt x="106" y="0"/>
                          </a:lnTo>
                          <a:lnTo>
                            <a:pt x="85" y="2"/>
                          </a:lnTo>
                          <a:lnTo>
                            <a:pt x="65" y="8"/>
                          </a:lnTo>
                          <a:lnTo>
                            <a:pt x="47" y="18"/>
                          </a:lnTo>
                          <a:lnTo>
                            <a:pt x="31" y="31"/>
                          </a:lnTo>
                          <a:lnTo>
                            <a:pt x="18" y="47"/>
                          </a:lnTo>
                          <a:lnTo>
                            <a:pt x="8" y="66"/>
                          </a:lnTo>
                          <a:lnTo>
                            <a:pt x="2" y="85"/>
                          </a:lnTo>
                          <a:lnTo>
                            <a:pt x="0" y="107"/>
                          </a:lnTo>
                          <a:lnTo>
                            <a:pt x="2" y="128"/>
                          </a:lnTo>
                          <a:lnTo>
                            <a:pt x="8" y="149"/>
                          </a:lnTo>
                          <a:lnTo>
                            <a:pt x="18" y="167"/>
                          </a:lnTo>
                          <a:lnTo>
                            <a:pt x="31" y="183"/>
                          </a:lnTo>
                          <a:lnTo>
                            <a:pt x="47" y="196"/>
                          </a:lnTo>
                          <a:lnTo>
                            <a:pt x="65" y="205"/>
                          </a:lnTo>
                          <a:lnTo>
                            <a:pt x="85" y="212"/>
                          </a:lnTo>
                          <a:lnTo>
                            <a:pt x="106" y="214"/>
                          </a:lnTo>
                          <a:lnTo>
                            <a:pt x="128" y="212"/>
                          </a:lnTo>
                          <a:lnTo>
                            <a:pt x="148" y="205"/>
                          </a:lnTo>
                          <a:lnTo>
                            <a:pt x="167" y="196"/>
                          </a:lnTo>
                          <a:lnTo>
                            <a:pt x="183" y="183"/>
                          </a:lnTo>
                          <a:lnTo>
                            <a:pt x="196" y="167"/>
                          </a:lnTo>
                          <a:lnTo>
                            <a:pt x="205" y="149"/>
                          </a:lnTo>
                          <a:lnTo>
                            <a:pt x="212" y="128"/>
                          </a:lnTo>
                          <a:lnTo>
                            <a:pt x="214" y="10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1" name="Freeform 48"/>
                    <p:cNvSpPr>
                      <a:spLocks/>
                    </p:cNvSpPr>
                    <p:nvPr/>
                  </p:nvSpPr>
                  <p:spPr bwMode="auto">
                    <a:xfrm>
                      <a:off x="3540" y="1573"/>
                      <a:ext cx="214" cy="214"/>
                    </a:xfrm>
                    <a:custGeom>
                      <a:avLst/>
                      <a:gdLst>
                        <a:gd name="T0" fmla="*/ 214 w 214"/>
                        <a:gd name="T1" fmla="*/ 107 h 214"/>
                        <a:gd name="T2" fmla="*/ 212 w 214"/>
                        <a:gd name="T3" fmla="*/ 85 h 214"/>
                        <a:gd name="T4" fmla="*/ 205 w 214"/>
                        <a:gd name="T5" fmla="*/ 66 h 214"/>
                        <a:gd name="T6" fmla="*/ 196 w 214"/>
                        <a:gd name="T7" fmla="*/ 47 h 214"/>
                        <a:gd name="T8" fmla="*/ 183 w 214"/>
                        <a:gd name="T9" fmla="*/ 31 h 214"/>
                        <a:gd name="T10" fmla="*/ 167 w 214"/>
                        <a:gd name="T11" fmla="*/ 18 h 214"/>
                        <a:gd name="T12" fmla="*/ 148 w 214"/>
                        <a:gd name="T13" fmla="*/ 8 h 214"/>
                        <a:gd name="T14" fmla="*/ 128 w 214"/>
                        <a:gd name="T15" fmla="*/ 2 h 214"/>
                        <a:gd name="T16" fmla="*/ 106 w 214"/>
                        <a:gd name="T17" fmla="*/ 0 h 214"/>
                        <a:gd name="T18" fmla="*/ 85 w 214"/>
                        <a:gd name="T19" fmla="*/ 2 h 214"/>
                        <a:gd name="T20" fmla="*/ 65 w 214"/>
                        <a:gd name="T21" fmla="*/ 8 h 214"/>
                        <a:gd name="T22" fmla="*/ 47 w 214"/>
                        <a:gd name="T23" fmla="*/ 18 h 214"/>
                        <a:gd name="T24" fmla="*/ 31 w 214"/>
                        <a:gd name="T25" fmla="*/ 31 h 214"/>
                        <a:gd name="T26" fmla="*/ 18 w 214"/>
                        <a:gd name="T27" fmla="*/ 47 h 214"/>
                        <a:gd name="T28" fmla="*/ 8 w 214"/>
                        <a:gd name="T29" fmla="*/ 66 h 214"/>
                        <a:gd name="T30" fmla="*/ 2 w 214"/>
                        <a:gd name="T31" fmla="*/ 85 h 214"/>
                        <a:gd name="T32" fmla="*/ 0 w 214"/>
                        <a:gd name="T33" fmla="*/ 107 h 214"/>
                        <a:gd name="T34" fmla="*/ 2 w 214"/>
                        <a:gd name="T35" fmla="*/ 128 h 214"/>
                        <a:gd name="T36" fmla="*/ 8 w 214"/>
                        <a:gd name="T37" fmla="*/ 149 h 214"/>
                        <a:gd name="T38" fmla="*/ 18 w 214"/>
                        <a:gd name="T39" fmla="*/ 167 h 214"/>
                        <a:gd name="T40" fmla="*/ 31 w 214"/>
                        <a:gd name="T41" fmla="*/ 183 h 214"/>
                        <a:gd name="T42" fmla="*/ 47 w 214"/>
                        <a:gd name="T43" fmla="*/ 196 h 214"/>
                        <a:gd name="T44" fmla="*/ 65 w 214"/>
                        <a:gd name="T45" fmla="*/ 205 h 214"/>
                        <a:gd name="T46" fmla="*/ 85 w 214"/>
                        <a:gd name="T47" fmla="*/ 212 h 214"/>
                        <a:gd name="T48" fmla="*/ 106 w 214"/>
                        <a:gd name="T49" fmla="*/ 214 h 214"/>
                        <a:gd name="T50" fmla="*/ 128 w 214"/>
                        <a:gd name="T51" fmla="*/ 212 h 214"/>
                        <a:gd name="T52" fmla="*/ 148 w 214"/>
                        <a:gd name="T53" fmla="*/ 205 h 214"/>
                        <a:gd name="T54" fmla="*/ 167 w 214"/>
                        <a:gd name="T55" fmla="*/ 196 h 214"/>
                        <a:gd name="T56" fmla="*/ 183 w 214"/>
                        <a:gd name="T57" fmla="*/ 183 h 214"/>
                        <a:gd name="T58" fmla="*/ 196 w 214"/>
                        <a:gd name="T59" fmla="*/ 167 h 214"/>
                        <a:gd name="T60" fmla="*/ 205 w 214"/>
                        <a:gd name="T61" fmla="*/ 149 h 214"/>
                        <a:gd name="T62" fmla="*/ 212 w 214"/>
                        <a:gd name="T63" fmla="*/ 128 h 214"/>
                        <a:gd name="T64" fmla="*/ 214 w 214"/>
                        <a:gd name="T65" fmla="*/ 107 h 214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214"/>
                        <a:gd name="T100" fmla="*/ 0 h 214"/>
                        <a:gd name="T101" fmla="*/ 214 w 214"/>
                        <a:gd name="T102" fmla="*/ 214 h 214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214" h="214">
                          <a:moveTo>
                            <a:pt x="214" y="107"/>
                          </a:moveTo>
                          <a:lnTo>
                            <a:pt x="212" y="85"/>
                          </a:lnTo>
                          <a:lnTo>
                            <a:pt x="205" y="66"/>
                          </a:lnTo>
                          <a:lnTo>
                            <a:pt x="196" y="47"/>
                          </a:lnTo>
                          <a:lnTo>
                            <a:pt x="183" y="31"/>
                          </a:lnTo>
                          <a:lnTo>
                            <a:pt x="167" y="18"/>
                          </a:lnTo>
                          <a:lnTo>
                            <a:pt x="148" y="8"/>
                          </a:lnTo>
                          <a:lnTo>
                            <a:pt x="128" y="2"/>
                          </a:lnTo>
                          <a:lnTo>
                            <a:pt x="106" y="0"/>
                          </a:lnTo>
                          <a:lnTo>
                            <a:pt x="85" y="2"/>
                          </a:lnTo>
                          <a:lnTo>
                            <a:pt x="65" y="8"/>
                          </a:lnTo>
                          <a:lnTo>
                            <a:pt x="47" y="18"/>
                          </a:lnTo>
                          <a:lnTo>
                            <a:pt x="31" y="31"/>
                          </a:lnTo>
                          <a:lnTo>
                            <a:pt x="18" y="47"/>
                          </a:lnTo>
                          <a:lnTo>
                            <a:pt x="8" y="66"/>
                          </a:lnTo>
                          <a:lnTo>
                            <a:pt x="2" y="85"/>
                          </a:lnTo>
                          <a:lnTo>
                            <a:pt x="0" y="107"/>
                          </a:lnTo>
                          <a:lnTo>
                            <a:pt x="2" y="128"/>
                          </a:lnTo>
                          <a:lnTo>
                            <a:pt x="8" y="149"/>
                          </a:lnTo>
                          <a:lnTo>
                            <a:pt x="18" y="167"/>
                          </a:lnTo>
                          <a:lnTo>
                            <a:pt x="31" y="183"/>
                          </a:lnTo>
                          <a:lnTo>
                            <a:pt x="47" y="196"/>
                          </a:lnTo>
                          <a:lnTo>
                            <a:pt x="65" y="205"/>
                          </a:lnTo>
                          <a:lnTo>
                            <a:pt x="85" y="212"/>
                          </a:lnTo>
                          <a:lnTo>
                            <a:pt x="106" y="214"/>
                          </a:lnTo>
                          <a:lnTo>
                            <a:pt x="128" y="212"/>
                          </a:lnTo>
                          <a:lnTo>
                            <a:pt x="148" y="205"/>
                          </a:lnTo>
                          <a:lnTo>
                            <a:pt x="167" y="196"/>
                          </a:lnTo>
                          <a:lnTo>
                            <a:pt x="183" y="183"/>
                          </a:lnTo>
                          <a:lnTo>
                            <a:pt x="196" y="167"/>
                          </a:lnTo>
                          <a:lnTo>
                            <a:pt x="205" y="149"/>
                          </a:lnTo>
                          <a:lnTo>
                            <a:pt x="212" y="128"/>
                          </a:lnTo>
                          <a:lnTo>
                            <a:pt x="214" y="10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2" name="Freeform 49"/>
                    <p:cNvSpPr>
                      <a:spLocks/>
                    </p:cNvSpPr>
                    <p:nvPr/>
                  </p:nvSpPr>
                  <p:spPr bwMode="auto">
                    <a:xfrm>
                      <a:off x="3796" y="2547"/>
                      <a:ext cx="189" cy="189"/>
                    </a:xfrm>
                    <a:custGeom>
                      <a:avLst/>
                      <a:gdLst>
                        <a:gd name="T0" fmla="*/ 189 w 189"/>
                        <a:gd name="T1" fmla="*/ 95 h 189"/>
                        <a:gd name="T2" fmla="*/ 188 w 189"/>
                        <a:gd name="T3" fmla="*/ 76 h 189"/>
                        <a:gd name="T4" fmla="*/ 182 w 189"/>
                        <a:gd name="T5" fmla="*/ 58 h 189"/>
                        <a:gd name="T6" fmla="*/ 173 w 189"/>
                        <a:gd name="T7" fmla="*/ 41 h 189"/>
                        <a:gd name="T8" fmla="*/ 162 w 189"/>
                        <a:gd name="T9" fmla="*/ 27 h 189"/>
                        <a:gd name="T10" fmla="*/ 147 w 189"/>
                        <a:gd name="T11" fmla="*/ 16 h 189"/>
                        <a:gd name="T12" fmla="*/ 132 w 189"/>
                        <a:gd name="T13" fmla="*/ 7 h 189"/>
                        <a:gd name="T14" fmla="*/ 114 w 189"/>
                        <a:gd name="T15" fmla="*/ 1 h 189"/>
                        <a:gd name="T16" fmla="*/ 95 w 189"/>
                        <a:gd name="T17" fmla="*/ 0 h 189"/>
                        <a:gd name="T18" fmla="*/ 76 w 189"/>
                        <a:gd name="T19" fmla="*/ 1 h 189"/>
                        <a:gd name="T20" fmla="*/ 58 w 189"/>
                        <a:gd name="T21" fmla="*/ 7 h 189"/>
                        <a:gd name="T22" fmla="*/ 41 w 189"/>
                        <a:gd name="T23" fmla="*/ 16 h 189"/>
                        <a:gd name="T24" fmla="*/ 27 w 189"/>
                        <a:gd name="T25" fmla="*/ 27 h 189"/>
                        <a:gd name="T26" fmla="*/ 16 w 189"/>
                        <a:gd name="T27" fmla="*/ 41 h 189"/>
                        <a:gd name="T28" fmla="*/ 7 w 189"/>
                        <a:gd name="T29" fmla="*/ 58 h 189"/>
                        <a:gd name="T30" fmla="*/ 1 w 189"/>
                        <a:gd name="T31" fmla="*/ 76 h 189"/>
                        <a:gd name="T32" fmla="*/ 0 w 189"/>
                        <a:gd name="T33" fmla="*/ 95 h 189"/>
                        <a:gd name="T34" fmla="*/ 1 w 189"/>
                        <a:gd name="T35" fmla="*/ 114 h 189"/>
                        <a:gd name="T36" fmla="*/ 7 w 189"/>
                        <a:gd name="T37" fmla="*/ 132 h 189"/>
                        <a:gd name="T38" fmla="*/ 16 w 189"/>
                        <a:gd name="T39" fmla="*/ 148 h 189"/>
                        <a:gd name="T40" fmla="*/ 27 w 189"/>
                        <a:gd name="T41" fmla="*/ 162 h 189"/>
                        <a:gd name="T42" fmla="*/ 41 w 189"/>
                        <a:gd name="T43" fmla="*/ 173 h 189"/>
                        <a:gd name="T44" fmla="*/ 58 w 189"/>
                        <a:gd name="T45" fmla="*/ 182 h 189"/>
                        <a:gd name="T46" fmla="*/ 76 w 189"/>
                        <a:gd name="T47" fmla="*/ 188 h 189"/>
                        <a:gd name="T48" fmla="*/ 95 w 189"/>
                        <a:gd name="T49" fmla="*/ 189 h 189"/>
                        <a:gd name="T50" fmla="*/ 114 w 189"/>
                        <a:gd name="T51" fmla="*/ 188 h 189"/>
                        <a:gd name="T52" fmla="*/ 132 w 189"/>
                        <a:gd name="T53" fmla="*/ 182 h 189"/>
                        <a:gd name="T54" fmla="*/ 147 w 189"/>
                        <a:gd name="T55" fmla="*/ 173 h 189"/>
                        <a:gd name="T56" fmla="*/ 162 w 189"/>
                        <a:gd name="T57" fmla="*/ 162 h 189"/>
                        <a:gd name="T58" fmla="*/ 173 w 189"/>
                        <a:gd name="T59" fmla="*/ 148 h 189"/>
                        <a:gd name="T60" fmla="*/ 182 w 189"/>
                        <a:gd name="T61" fmla="*/ 132 h 189"/>
                        <a:gd name="T62" fmla="*/ 188 w 189"/>
                        <a:gd name="T63" fmla="*/ 114 h 189"/>
                        <a:gd name="T64" fmla="*/ 189 w 189"/>
                        <a:gd name="T65" fmla="*/ 95 h 189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189"/>
                        <a:gd name="T100" fmla="*/ 0 h 189"/>
                        <a:gd name="T101" fmla="*/ 189 w 189"/>
                        <a:gd name="T102" fmla="*/ 189 h 189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189" h="189">
                          <a:moveTo>
                            <a:pt x="189" y="95"/>
                          </a:moveTo>
                          <a:lnTo>
                            <a:pt x="188" y="76"/>
                          </a:lnTo>
                          <a:lnTo>
                            <a:pt x="182" y="58"/>
                          </a:lnTo>
                          <a:lnTo>
                            <a:pt x="173" y="41"/>
                          </a:lnTo>
                          <a:lnTo>
                            <a:pt x="162" y="27"/>
                          </a:lnTo>
                          <a:lnTo>
                            <a:pt x="147" y="16"/>
                          </a:lnTo>
                          <a:lnTo>
                            <a:pt x="132" y="7"/>
                          </a:lnTo>
                          <a:lnTo>
                            <a:pt x="114" y="1"/>
                          </a:lnTo>
                          <a:lnTo>
                            <a:pt x="95" y="0"/>
                          </a:lnTo>
                          <a:lnTo>
                            <a:pt x="76" y="1"/>
                          </a:lnTo>
                          <a:lnTo>
                            <a:pt x="58" y="7"/>
                          </a:lnTo>
                          <a:lnTo>
                            <a:pt x="41" y="16"/>
                          </a:lnTo>
                          <a:lnTo>
                            <a:pt x="27" y="27"/>
                          </a:lnTo>
                          <a:lnTo>
                            <a:pt x="16" y="41"/>
                          </a:lnTo>
                          <a:lnTo>
                            <a:pt x="7" y="58"/>
                          </a:lnTo>
                          <a:lnTo>
                            <a:pt x="1" y="76"/>
                          </a:lnTo>
                          <a:lnTo>
                            <a:pt x="0" y="95"/>
                          </a:lnTo>
                          <a:lnTo>
                            <a:pt x="1" y="114"/>
                          </a:lnTo>
                          <a:lnTo>
                            <a:pt x="7" y="132"/>
                          </a:lnTo>
                          <a:lnTo>
                            <a:pt x="16" y="148"/>
                          </a:lnTo>
                          <a:lnTo>
                            <a:pt x="27" y="162"/>
                          </a:lnTo>
                          <a:lnTo>
                            <a:pt x="41" y="173"/>
                          </a:lnTo>
                          <a:lnTo>
                            <a:pt x="58" y="182"/>
                          </a:lnTo>
                          <a:lnTo>
                            <a:pt x="76" y="188"/>
                          </a:lnTo>
                          <a:lnTo>
                            <a:pt x="95" y="189"/>
                          </a:lnTo>
                          <a:lnTo>
                            <a:pt x="114" y="188"/>
                          </a:lnTo>
                          <a:lnTo>
                            <a:pt x="132" y="182"/>
                          </a:lnTo>
                          <a:lnTo>
                            <a:pt x="147" y="173"/>
                          </a:lnTo>
                          <a:lnTo>
                            <a:pt x="162" y="162"/>
                          </a:lnTo>
                          <a:lnTo>
                            <a:pt x="173" y="148"/>
                          </a:lnTo>
                          <a:lnTo>
                            <a:pt x="182" y="132"/>
                          </a:lnTo>
                          <a:lnTo>
                            <a:pt x="188" y="114"/>
                          </a:lnTo>
                          <a:lnTo>
                            <a:pt x="189" y="9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3" name="Freeform 50"/>
                    <p:cNvSpPr>
                      <a:spLocks/>
                    </p:cNvSpPr>
                    <p:nvPr/>
                  </p:nvSpPr>
                  <p:spPr bwMode="auto">
                    <a:xfrm>
                      <a:off x="3796" y="2547"/>
                      <a:ext cx="189" cy="189"/>
                    </a:xfrm>
                    <a:custGeom>
                      <a:avLst/>
                      <a:gdLst>
                        <a:gd name="T0" fmla="*/ 189 w 189"/>
                        <a:gd name="T1" fmla="*/ 95 h 189"/>
                        <a:gd name="T2" fmla="*/ 188 w 189"/>
                        <a:gd name="T3" fmla="*/ 76 h 189"/>
                        <a:gd name="T4" fmla="*/ 182 w 189"/>
                        <a:gd name="T5" fmla="*/ 58 h 189"/>
                        <a:gd name="T6" fmla="*/ 173 w 189"/>
                        <a:gd name="T7" fmla="*/ 41 h 189"/>
                        <a:gd name="T8" fmla="*/ 162 w 189"/>
                        <a:gd name="T9" fmla="*/ 27 h 189"/>
                        <a:gd name="T10" fmla="*/ 147 w 189"/>
                        <a:gd name="T11" fmla="*/ 16 h 189"/>
                        <a:gd name="T12" fmla="*/ 132 w 189"/>
                        <a:gd name="T13" fmla="*/ 7 h 189"/>
                        <a:gd name="T14" fmla="*/ 114 w 189"/>
                        <a:gd name="T15" fmla="*/ 1 h 189"/>
                        <a:gd name="T16" fmla="*/ 95 w 189"/>
                        <a:gd name="T17" fmla="*/ 0 h 189"/>
                        <a:gd name="T18" fmla="*/ 76 w 189"/>
                        <a:gd name="T19" fmla="*/ 1 h 189"/>
                        <a:gd name="T20" fmla="*/ 58 w 189"/>
                        <a:gd name="T21" fmla="*/ 7 h 189"/>
                        <a:gd name="T22" fmla="*/ 41 w 189"/>
                        <a:gd name="T23" fmla="*/ 16 h 189"/>
                        <a:gd name="T24" fmla="*/ 27 w 189"/>
                        <a:gd name="T25" fmla="*/ 27 h 189"/>
                        <a:gd name="T26" fmla="*/ 16 w 189"/>
                        <a:gd name="T27" fmla="*/ 41 h 189"/>
                        <a:gd name="T28" fmla="*/ 7 w 189"/>
                        <a:gd name="T29" fmla="*/ 58 h 189"/>
                        <a:gd name="T30" fmla="*/ 1 w 189"/>
                        <a:gd name="T31" fmla="*/ 76 h 189"/>
                        <a:gd name="T32" fmla="*/ 0 w 189"/>
                        <a:gd name="T33" fmla="*/ 95 h 189"/>
                        <a:gd name="T34" fmla="*/ 1 w 189"/>
                        <a:gd name="T35" fmla="*/ 114 h 189"/>
                        <a:gd name="T36" fmla="*/ 7 w 189"/>
                        <a:gd name="T37" fmla="*/ 132 h 189"/>
                        <a:gd name="T38" fmla="*/ 16 w 189"/>
                        <a:gd name="T39" fmla="*/ 148 h 189"/>
                        <a:gd name="T40" fmla="*/ 27 w 189"/>
                        <a:gd name="T41" fmla="*/ 162 h 189"/>
                        <a:gd name="T42" fmla="*/ 41 w 189"/>
                        <a:gd name="T43" fmla="*/ 173 h 189"/>
                        <a:gd name="T44" fmla="*/ 58 w 189"/>
                        <a:gd name="T45" fmla="*/ 182 h 189"/>
                        <a:gd name="T46" fmla="*/ 76 w 189"/>
                        <a:gd name="T47" fmla="*/ 188 h 189"/>
                        <a:gd name="T48" fmla="*/ 95 w 189"/>
                        <a:gd name="T49" fmla="*/ 189 h 189"/>
                        <a:gd name="T50" fmla="*/ 114 w 189"/>
                        <a:gd name="T51" fmla="*/ 188 h 189"/>
                        <a:gd name="T52" fmla="*/ 132 w 189"/>
                        <a:gd name="T53" fmla="*/ 182 h 189"/>
                        <a:gd name="T54" fmla="*/ 147 w 189"/>
                        <a:gd name="T55" fmla="*/ 173 h 189"/>
                        <a:gd name="T56" fmla="*/ 162 w 189"/>
                        <a:gd name="T57" fmla="*/ 162 h 189"/>
                        <a:gd name="T58" fmla="*/ 173 w 189"/>
                        <a:gd name="T59" fmla="*/ 148 h 189"/>
                        <a:gd name="T60" fmla="*/ 182 w 189"/>
                        <a:gd name="T61" fmla="*/ 132 h 189"/>
                        <a:gd name="T62" fmla="*/ 188 w 189"/>
                        <a:gd name="T63" fmla="*/ 114 h 189"/>
                        <a:gd name="T64" fmla="*/ 189 w 189"/>
                        <a:gd name="T65" fmla="*/ 95 h 189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60000 65536"/>
                        <a:gd name="T88" fmla="*/ 0 60000 65536"/>
                        <a:gd name="T89" fmla="*/ 0 60000 65536"/>
                        <a:gd name="T90" fmla="*/ 0 60000 65536"/>
                        <a:gd name="T91" fmla="*/ 0 60000 65536"/>
                        <a:gd name="T92" fmla="*/ 0 60000 65536"/>
                        <a:gd name="T93" fmla="*/ 0 60000 65536"/>
                        <a:gd name="T94" fmla="*/ 0 60000 65536"/>
                        <a:gd name="T95" fmla="*/ 0 60000 65536"/>
                        <a:gd name="T96" fmla="*/ 0 60000 65536"/>
                        <a:gd name="T97" fmla="*/ 0 60000 65536"/>
                        <a:gd name="T98" fmla="*/ 0 60000 65536"/>
                        <a:gd name="T99" fmla="*/ 0 w 189"/>
                        <a:gd name="T100" fmla="*/ 0 h 189"/>
                        <a:gd name="T101" fmla="*/ 189 w 189"/>
                        <a:gd name="T102" fmla="*/ 189 h 189"/>
                      </a:gdLst>
                      <a:ahLst/>
                      <a:cxnLst>
                        <a:cxn ang="T66">
                          <a:pos x="T0" y="T1"/>
                        </a:cxn>
                        <a:cxn ang="T67">
                          <a:pos x="T2" y="T3"/>
                        </a:cxn>
                        <a:cxn ang="T68">
                          <a:pos x="T4" y="T5"/>
                        </a:cxn>
                        <a:cxn ang="T69">
                          <a:pos x="T6" y="T7"/>
                        </a:cxn>
                        <a:cxn ang="T70">
                          <a:pos x="T8" y="T9"/>
                        </a:cxn>
                        <a:cxn ang="T71">
                          <a:pos x="T10" y="T11"/>
                        </a:cxn>
                        <a:cxn ang="T72">
                          <a:pos x="T12" y="T13"/>
                        </a:cxn>
                        <a:cxn ang="T73">
                          <a:pos x="T14" y="T15"/>
                        </a:cxn>
                        <a:cxn ang="T74">
                          <a:pos x="T16" y="T17"/>
                        </a:cxn>
                        <a:cxn ang="T75">
                          <a:pos x="T18" y="T19"/>
                        </a:cxn>
                        <a:cxn ang="T76">
                          <a:pos x="T20" y="T21"/>
                        </a:cxn>
                        <a:cxn ang="T77">
                          <a:pos x="T22" y="T23"/>
                        </a:cxn>
                        <a:cxn ang="T78">
                          <a:pos x="T24" y="T25"/>
                        </a:cxn>
                        <a:cxn ang="T79">
                          <a:pos x="T26" y="T27"/>
                        </a:cxn>
                        <a:cxn ang="T80">
                          <a:pos x="T28" y="T29"/>
                        </a:cxn>
                        <a:cxn ang="T81">
                          <a:pos x="T30" y="T31"/>
                        </a:cxn>
                        <a:cxn ang="T82">
                          <a:pos x="T32" y="T33"/>
                        </a:cxn>
                        <a:cxn ang="T83">
                          <a:pos x="T34" y="T35"/>
                        </a:cxn>
                        <a:cxn ang="T84">
                          <a:pos x="T36" y="T37"/>
                        </a:cxn>
                        <a:cxn ang="T85">
                          <a:pos x="T38" y="T39"/>
                        </a:cxn>
                        <a:cxn ang="T86">
                          <a:pos x="T40" y="T41"/>
                        </a:cxn>
                        <a:cxn ang="T87">
                          <a:pos x="T42" y="T43"/>
                        </a:cxn>
                        <a:cxn ang="T88">
                          <a:pos x="T44" y="T45"/>
                        </a:cxn>
                        <a:cxn ang="T89">
                          <a:pos x="T46" y="T47"/>
                        </a:cxn>
                        <a:cxn ang="T90">
                          <a:pos x="T48" y="T49"/>
                        </a:cxn>
                        <a:cxn ang="T91">
                          <a:pos x="T50" y="T51"/>
                        </a:cxn>
                        <a:cxn ang="T92">
                          <a:pos x="T52" y="T53"/>
                        </a:cxn>
                        <a:cxn ang="T93">
                          <a:pos x="T54" y="T55"/>
                        </a:cxn>
                        <a:cxn ang="T94">
                          <a:pos x="T56" y="T57"/>
                        </a:cxn>
                        <a:cxn ang="T95">
                          <a:pos x="T58" y="T59"/>
                        </a:cxn>
                        <a:cxn ang="T96">
                          <a:pos x="T60" y="T61"/>
                        </a:cxn>
                        <a:cxn ang="T97">
                          <a:pos x="T62" y="T63"/>
                        </a:cxn>
                        <a:cxn ang="T98">
                          <a:pos x="T64" y="T65"/>
                        </a:cxn>
                      </a:cxnLst>
                      <a:rect l="T99" t="T100" r="T101" b="T102"/>
                      <a:pathLst>
                        <a:path w="189" h="189">
                          <a:moveTo>
                            <a:pt x="189" y="95"/>
                          </a:moveTo>
                          <a:lnTo>
                            <a:pt x="188" y="76"/>
                          </a:lnTo>
                          <a:lnTo>
                            <a:pt x="182" y="58"/>
                          </a:lnTo>
                          <a:lnTo>
                            <a:pt x="173" y="41"/>
                          </a:lnTo>
                          <a:lnTo>
                            <a:pt x="162" y="27"/>
                          </a:lnTo>
                          <a:lnTo>
                            <a:pt x="147" y="16"/>
                          </a:lnTo>
                          <a:lnTo>
                            <a:pt x="132" y="7"/>
                          </a:lnTo>
                          <a:lnTo>
                            <a:pt x="114" y="1"/>
                          </a:lnTo>
                          <a:lnTo>
                            <a:pt x="95" y="0"/>
                          </a:lnTo>
                          <a:lnTo>
                            <a:pt x="76" y="1"/>
                          </a:lnTo>
                          <a:lnTo>
                            <a:pt x="58" y="7"/>
                          </a:lnTo>
                          <a:lnTo>
                            <a:pt x="41" y="16"/>
                          </a:lnTo>
                          <a:lnTo>
                            <a:pt x="27" y="27"/>
                          </a:lnTo>
                          <a:lnTo>
                            <a:pt x="16" y="41"/>
                          </a:lnTo>
                          <a:lnTo>
                            <a:pt x="7" y="58"/>
                          </a:lnTo>
                          <a:lnTo>
                            <a:pt x="1" y="76"/>
                          </a:lnTo>
                          <a:lnTo>
                            <a:pt x="0" y="95"/>
                          </a:lnTo>
                          <a:lnTo>
                            <a:pt x="1" y="114"/>
                          </a:lnTo>
                          <a:lnTo>
                            <a:pt x="7" y="132"/>
                          </a:lnTo>
                          <a:lnTo>
                            <a:pt x="16" y="148"/>
                          </a:lnTo>
                          <a:lnTo>
                            <a:pt x="27" y="162"/>
                          </a:lnTo>
                          <a:lnTo>
                            <a:pt x="41" y="173"/>
                          </a:lnTo>
                          <a:lnTo>
                            <a:pt x="58" y="182"/>
                          </a:lnTo>
                          <a:lnTo>
                            <a:pt x="76" y="188"/>
                          </a:lnTo>
                          <a:lnTo>
                            <a:pt x="95" y="189"/>
                          </a:lnTo>
                          <a:lnTo>
                            <a:pt x="114" y="188"/>
                          </a:lnTo>
                          <a:lnTo>
                            <a:pt x="132" y="182"/>
                          </a:lnTo>
                          <a:lnTo>
                            <a:pt x="147" y="173"/>
                          </a:lnTo>
                          <a:lnTo>
                            <a:pt x="162" y="162"/>
                          </a:lnTo>
                          <a:lnTo>
                            <a:pt x="173" y="148"/>
                          </a:lnTo>
                          <a:lnTo>
                            <a:pt x="182" y="132"/>
                          </a:lnTo>
                          <a:lnTo>
                            <a:pt x="188" y="114"/>
                          </a:lnTo>
                          <a:lnTo>
                            <a:pt x="189" y="9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4" name="Freeform 51"/>
                    <p:cNvSpPr>
                      <a:spLocks/>
                    </p:cNvSpPr>
                    <p:nvPr/>
                  </p:nvSpPr>
                  <p:spPr bwMode="auto">
                    <a:xfrm>
                      <a:off x="4006" y="1142"/>
                      <a:ext cx="176" cy="174"/>
                    </a:xfrm>
                    <a:custGeom>
                      <a:avLst/>
                      <a:gdLst>
                        <a:gd name="T0" fmla="*/ 176 w 176"/>
                        <a:gd name="T1" fmla="*/ 87 h 174"/>
                        <a:gd name="T2" fmla="*/ 173 w 176"/>
                        <a:gd name="T3" fmla="*/ 68 h 174"/>
                        <a:gd name="T4" fmla="*/ 167 w 176"/>
                        <a:gd name="T5" fmla="*/ 49 h 174"/>
                        <a:gd name="T6" fmla="*/ 156 w 176"/>
                        <a:gd name="T7" fmla="*/ 33 h 174"/>
                        <a:gd name="T8" fmla="*/ 143 w 176"/>
                        <a:gd name="T9" fmla="*/ 19 h 174"/>
                        <a:gd name="T10" fmla="*/ 126 w 176"/>
                        <a:gd name="T11" fmla="*/ 9 h 174"/>
                        <a:gd name="T12" fmla="*/ 108 w 176"/>
                        <a:gd name="T13" fmla="*/ 2 h 174"/>
                        <a:gd name="T14" fmla="*/ 88 w 176"/>
                        <a:gd name="T15" fmla="*/ 0 h 174"/>
                        <a:gd name="T16" fmla="*/ 68 w 176"/>
                        <a:gd name="T17" fmla="*/ 2 h 174"/>
                        <a:gd name="T18" fmla="*/ 49 w 176"/>
                        <a:gd name="T19" fmla="*/ 9 h 174"/>
                        <a:gd name="T20" fmla="*/ 33 w 176"/>
                        <a:gd name="T21" fmla="*/ 19 h 174"/>
                        <a:gd name="T22" fmla="*/ 19 w 176"/>
                        <a:gd name="T23" fmla="*/ 33 h 174"/>
                        <a:gd name="T24" fmla="*/ 9 w 176"/>
                        <a:gd name="T25" fmla="*/ 49 h 174"/>
                        <a:gd name="T26" fmla="*/ 3 w 176"/>
                        <a:gd name="T27" fmla="*/ 68 h 174"/>
                        <a:gd name="T28" fmla="*/ 0 w 176"/>
                        <a:gd name="T29" fmla="*/ 87 h 174"/>
                        <a:gd name="T30" fmla="*/ 3 w 176"/>
                        <a:gd name="T31" fmla="*/ 108 h 174"/>
                        <a:gd name="T32" fmla="*/ 9 w 176"/>
                        <a:gd name="T33" fmla="*/ 126 h 174"/>
                        <a:gd name="T34" fmla="*/ 19 w 176"/>
                        <a:gd name="T35" fmla="*/ 142 h 174"/>
                        <a:gd name="T36" fmla="*/ 33 w 176"/>
                        <a:gd name="T37" fmla="*/ 156 h 174"/>
                        <a:gd name="T38" fmla="*/ 49 w 176"/>
                        <a:gd name="T39" fmla="*/ 166 h 174"/>
                        <a:gd name="T40" fmla="*/ 68 w 176"/>
                        <a:gd name="T41" fmla="*/ 172 h 174"/>
                        <a:gd name="T42" fmla="*/ 88 w 176"/>
                        <a:gd name="T43" fmla="*/ 174 h 174"/>
                        <a:gd name="T44" fmla="*/ 108 w 176"/>
                        <a:gd name="T45" fmla="*/ 172 h 174"/>
                        <a:gd name="T46" fmla="*/ 126 w 176"/>
                        <a:gd name="T47" fmla="*/ 166 h 174"/>
                        <a:gd name="T48" fmla="*/ 143 w 176"/>
                        <a:gd name="T49" fmla="*/ 156 h 174"/>
                        <a:gd name="T50" fmla="*/ 156 w 176"/>
                        <a:gd name="T51" fmla="*/ 142 h 174"/>
                        <a:gd name="T52" fmla="*/ 167 w 176"/>
                        <a:gd name="T53" fmla="*/ 126 h 174"/>
                        <a:gd name="T54" fmla="*/ 173 w 176"/>
                        <a:gd name="T55" fmla="*/ 108 h 174"/>
                        <a:gd name="T56" fmla="*/ 176 w 176"/>
                        <a:gd name="T57" fmla="*/ 87 h 174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76"/>
                        <a:gd name="T88" fmla="*/ 0 h 174"/>
                        <a:gd name="T89" fmla="*/ 176 w 176"/>
                        <a:gd name="T90" fmla="*/ 174 h 174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76" h="174">
                          <a:moveTo>
                            <a:pt x="176" y="87"/>
                          </a:moveTo>
                          <a:lnTo>
                            <a:pt x="173" y="68"/>
                          </a:lnTo>
                          <a:lnTo>
                            <a:pt x="167" y="49"/>
                          </a:lnTo>
                          <a:lnTo>
                            <a:pt x="156" y="33"/>
                          </a:lnTo>
                          <a:lnTo>
                            <a:pt x="143" y="19"/>
                          </a:lnTo>
                          <a:lnTo>
                            <a:pt x="126" y="9"/>
                          </a:lnTo>
                          <a:lnTo>
                            <a:pt x="108" y="2"/>
                          </a:lnTo>
                          <a:lnTo>
                            <a:pt x="88" y="0"/>
                          </a:lnTo>
                          <a:lnTo>
                            <a:pt x="68" y="2"/>
                          </a:lnTo>
                          <a:lnTo>
                            <a:pt x="49" y="9"/>
                          </a:lnTo>
                          <a:lnTo>
                            <a:pt x="33" y="19"/>
                          </a:lnTo>
                          <a:lnTo>
                            <a:pt x="19" y="33"/>
                          </a:lnTo>
                          <a:lnTo>
                            <a:pt x="9" y="49"/>
                          </a:lnTo>
                          <a:lnTo>
                            <a:pt x="3" y="68"/>
                          </a:lnTo>
                          <a:lnTo>
                            <a:pt x="0" y="87"/>
                          </a:lnTo>
                          <a:lnTo>
                            <a:pt x="3" y="108"/>
                          </a:lnTo>
                          <a:lnTo>
                            <a:pt x="9" y="126"/>
                          </a:lnTo>
                          <a:lnTo>
                            <a:pt x="19" y="142"/>
                          </a:lnTo>
                          <a:lnTo>
                            <a:pt x="33" y="156"/>
                          </a:lnTo>
                          <a:lnTo>
                            <a:pt x="49" y="166"/>
                          </a:lnTo>
                          <a:lnTo>
                            <a:pt x="68" y="172"/>
                          </a:lnTo>
                          <a:lnTo>
                            <a:pt x="88" y="174"/>
                          </a:lnTo>
                          <a:lnTo>
                            <a:pt x="108" y="172"/>
                          </a:lnTo>
                          <a:lnTo>
                            <a:pt x="126" y="166"/>
                          </a:lnTo>
                          <a:lnTo>
                            <a:pt x="143" y="156"/>
                          </a:lnTo>
                          <a:lnTo>
                            <a:pt x="156" y="142"/>
                          </a:lnTo>
                          <a:lnTo>
                            <a:pt x="167" y="126"/>
                          </a:lnTo>
                          <a:lnTo>
                            <a:pt x="173" y="108"/>
                          </a:lnTo>
                          <a:lnTo>
                            <a:pt x="176" y="8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5" name="Freeform 52"/>
                    <p:cNvSpPr>
                      <a:spLocks/>
                    </p:cNvSpPr>
                    <p:nvPr/>
                  </p:nvSpPr>
                  <p:spPr bwMode="auto">
                    <a:xfrm>
                      <a:off x="4006" y="1142"/>
                      <a:ext cx="176" cy="174"/>
                    </a:xfrm>
                    <a:custGeom>
                      <a:avLst/>
                      <a:gdLst>
                        <a:gd name="T0" fmla="*/ 176 w 176"/>
                        <a:gd name="T1" fmla="*/ 87 h 174"/>
                        <a:gd name="T2" fmla="*/ 173 w 176"/>
                        <a:gd name="T3" fmla="*/ 68 h 174"/>
                        <a:gd name="T4" fmla="*/ 167 w 176"/>
                        <a:gd name="T5" fmla="*/ 49 h 174"/>
                        <a:gd name="T6" fmla="*/ 156 w 176"/>
                        <a:gd name="T7" fmla="*/ 33 h 174"/>
                        <a:gd name="T8" fmla="*/ 143 w 176"/>
                        <a:gd name="T9" fmla="*/ 19 h 174"/>
                        <a:gd name="T10" fmla="*/ 126 w 176"/>
                        <a:gd name="T11" fmla="*/ 9 h 174"/>
                        <a:gd name="T12" fmla="*/ 108 w 176"/>
                        <a:gd name="T13" fmla="*/ 2 h 174"/>
                        <a:gd name="T14" fmla="*/ 88 w 176"/>
                        <a:gd name="T15" fmla="*/ 0 h 174"/>
                        <a:gd name="T16" fmla="*/ 68 w 176"/>
                        <a:gd name="T17" fmla="*/ 2 h 174"/>
                        <a:gd name="T18" fmla="*/ 49 w 176"/>
                        <a:gd name="T19" fmla="*/ 9 h 174"/>
                        <a:gd name="T20" fmla="*/ 33 w 176"/>
                        <a:gd name="T21" fmla="*/ 19 h 174"/>
                        <a:gd name="T22" fmla="*/ 19 w 176"/>
                        <a:gd name="T23" fmla="*/ 33 h 174"/>
                        <a:gd name="T24" fmla="*/ 9 w 176"/>
                        <a:gd name="T25" fmla="*/ 49 h 174"/>
                        <a:gd name="T26" fmla="*/ 3 w 176"/>
                        <a:gd name="T27" fmla="*/ 68 h 174"/>
                        <a:gd name="T28" fmla="*/ 0 w 176"/>
                        <a:gd name="T29" fmla="*/ 87 h 174"/>
                        <a:gd name="T30" fmla="*/ 3 w 176"/>
                        <a:gd name="T31" fmla="*/ 108 h 174"/>
                        <a:gd name="T32" fmla="*/ 9 w 176"/>
                        <a:gd name="T33" fmla="*/ 126 h 174"/>
                        <a:gd name="T34" fmla="*/ 19 w 176"/>
                        <a:gd name="T35" fmla="*/ 142 h 174"/>
                        <a:gd name="T36" fmla="*/ 33 w 176"/>
                        <a:gd name="T37" fmla="*/ 156 h 174"/>
                        <a:gd name="T38" fmla="*/ 49 w 176"/>
                        <a:gd name="T39" fmla="*/ 166 h 174"/>
                        <a:gd name="T40" fmla="*/ 68 w 176"/>
                        <a:gd name="T41" fmla="*/ 172 h 174"/>
                        <a:gd name="T42" fmla="*/ 88 w 176"/>
                        <a:gd name="T43" fmla="*/ 174 h 174"/>
                        <a:gd name="T44" fmla="*/ 108 w 176"/>
                        <a:gd name="T45" fmla="*/ 172 h 174"/>
                        <a:gd name="T46" fmla="*/ 126 w 176"/>
                        <a:gd name="T47" fmla="*/ 166 h 174"/>
                        <a:gd name="T48" fmla="*/ 143 w 176"/>
                        <a:gd name="T49" fmla="*/ 156 h 174"/>
                        <a:gd name="T50" fmla="*/ 156 w 176"/>
                        <a:gd name="T51" fmla="*/ 142 h 174"/>
                        <a:gd name="T52" fmla="*/ 167 w 176"/>
                        <a:gd name="T53" fmla="*/ 126 h 174"/>
                        <a:gd name="T54" fmla="*/ 173 w 176"/>
                        <a:gd name="T55" fmla="*/ 108 h 174"/>
                        <a:gd name="T56" fmla="*/ 176 w 176"/>
                        <a:gd name="T57" fmla="*/ 87 h 174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76"/>
                        <a:gd name="T88" fmla="*/ 0 h 174"/>
                        <a:gd name="T89" fmla="*/ 176 w 176"/>
                        <a:gd name="T90" fmla="*/ 174 h 174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76" h="174">
                          <a:moveTo>
                            <a:pt x="176" y="87"/>
                          </a:moveTo>
                          <a:lnTo>
                            <a:pt x="173" y="68"/>
                          </a:lnTo>
                          <a:lnTo>
                            <a:pt x="167" y="49"/>
                          </a:lnTo>
                          <a:lnTo>
                            <a:pt x="156" y="33"/>
                          </a:lnTo>
                          <a:lnTo>
                            <a:pt x="143" y="19"/>
                          </a:lnTo>
                          <a:lnTo>
                            <a:pt x="126" y="9"/>
                          </a:lnTo>
                          <a:lnTo>
                            <a:pt x="108" y="2"/>
                          </a:lnTo>
                          <a:lnTo>
                            <a:pt x="88" y="0"/>
                          </a:lnTo>
                          <a:lnTo>
                            <a:pt x="68" y="2"/>
                          </a:lnTo>
                          <a:lnTo>
                            <a:pt x="49" y="9"/>
                          </a:lnTo>
                          <a:lnTo>
                            <a:pt x="33" y="19"/>
                          </a:lnTo>
                          <a:lnTo>
                            <a:pt x="19" y="33"/>
                          </a:lnTo>
                          <a:lnTo>
                            <a:pt x="9" y="49"/>
                          </a:lnTo>
                          <a:lnTo>
                            <a:pt x="3" y="68"/>
                          </a:lnTo>
                          <a:lnTo>
                            <a:pt x="0" y="87"/>
                          </a:lnTo>
                          <a:lnTo>
                            <a:pt x="3" y="108"/>
                          </a:lnTo>
                          <a:lnTo>
                            <a:pt x="9" y="126"/>
                          </a:lnTo>
                          <a:lnTo>
                            <a:pt x="19" y="142"/>
                          </a:lnTo>
                          <a:lnTo>
                            <a:pt x="33" y="156"/>
                          </a:lnTo>
                          <a:lnTo>
                            <a:pt x="49" y="166"/>
                          </a:lnTo>
                          <a:lnTo>
                            <a:pt x="68" y="172"/>
                          </a:lnTo>
                          <a:lnTo>
                            <a:pt x="88" y="174"/>
                          </a:lnTo>
                          <a:lnTo>
                            <a:pt x="108" y="172"/>
                          </a:lnTo>
                          <a:lnTo>
                            <a:pt x="126" y="166"/>
                          </a:lnTo>
                          <a:lnTo>
                            <a:pt x="143" y="156"/>
                          </a:lnTo>
                          <a:lnTo>
                            <a:pt x="156" y="142"/>
                          </a:lnTo>
                          <a:lnTo>
                            <a:pt x="167" y="126"/>
                          </a:lnTo>
                          <a:lnTo>
                            <a:pt x="173" y="108"/>
                          </a:lnTo>
                          <a:lnTo>
                            <a:pt x="176" y="8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6" name="Freeform 53"/>
                    <p:cNvSpPr>
                      <a:spLocks/>
                    </p:cNvSpPr>
                    <p:nvPr/>
                  </p:nvSpPr>
                  <p:spPr bwMode="auto">
                    <a:xfrm>
                      <a:off x="4417" y="1012"/>
                      <a:ext cx="174" cy="173"/>
                    </a:xfrm>
                    <a:custGeom>
                      <a:avLst/>
                      <a:gdLst>
                        <a:gd name="T0" fmla="*/ 174 w 174"/>
                        <a:gd name="T1" fmla="*/ 86 h 173"/>
                        <a:gd name="T2" fmla="*/ 172 w 174"/>
                        <a:gd name="T3" fmla="*/ 66 h 173"/>
                        <a:gd name="T4" fmla="*/ 165 w 174"/>
                        <a:gd name="T5" fmla="*/ 48 h 173"/>
                        <a:gd name="T6" fmla="*/ 155 w 174"/>
                        <a:gd name="T7" fmla="*/ 32 h 173"/>
                        <a:gd name="T8" fmla="*/ 141 w 174"/>
                        <a:gd name="T9" fmla="*/ 18 h 173"/>
                        <a:gd name="T10" fmla="*/ 125 w 174"/>
                        <a:gd name="T11" fmla="*/ 8 h 173"/>
                        <a:gd name="T12" fmla="*/ 106 w 174"/>
                        <a:gd name="T13" fmla="*/ 2 h 173"/>
                        <a:gd name="T14" fmla="*/ 87 w 174"/>
                        <a:gd name="T15" fmla="*/ 0 h 173"/>
                        <a:gd name="T16" fmla="*/ 67 w 174"/>
                        <a:gd name="T17" fmla="*/ 2 h 173"/>
                        <a:gd name="T18" fmla="*/ 49 w 174"/>
                        <a:gd name="T19" fmla="*/ 8 h 173"/>
                        <a:gd name="T20" fmla="*/ 32 w 174"/>
                        <a:gd name="T21" fmla="*/ 18 h 173"/>
                        <a:gd name="T22" fmla="*/ 19 w 174"/>
                        <a:gd name="T23" fmla="*/ 32 h 173"/>
                        <a:gd name="T24" fmla="*/ 9 w 174"/>
                        <a:gd name="T25" fmla="*/ 48 h 173"/>
                        <a:gd name="T26" fmla="*/ 3 w 174"/>
                        <a:gd name="T27" fmla="*/ 66 h 173"/>
                        <a:gd name="T28" fmla="*/ 0 w 174"/>
                        <a:gd name="T29" fmla="*/ 86 h 173"/>
                        <a:gd name="T30" fmla="*/ 3 w 174"/>
                        <a:gd name="T31" fmla="*/ 106 h 173"/>
                        <a:gd name="T32" fmla="*/ 9 w 174"/>
                        <a:gd name="T33" fmla="*/ 124 h 173"/>
                        <a:gd name="T34" fmla="*/ 19 w 174"/>
                        <a:gd name="T35" fmla="*/ 140 h 173"/>
                        <a:gd name="T36" fmla="*/ 32 w 174"/>
                        <a:gd name="T37" fmla="*/ 154 h 173"/>
                        <a:gd name="T38" fmla="*/ 49 w 174"/>
                        <a:gd name="T39" fmla="*/ 165 h 173"/>
                        <a:gd name="T40" fmla="*/ 67 w 174"/>
                        <a:gd name="T41" fmla="*/ 171 h 173"/>
                        <a:gd name="T42" fmla="*/ 87 w 174"/>
                        <a:gd name="T43" fmla="*/ 173 h 173"/>
                        <a:gd name="T44" fmla="*/ 106 w 174"/>
                        <a:gd name="T45" fmla="*/ 171 h 173"/>
                        <a:gd name="T46" fmla="*/ 125 w 174"/>
                        <a:gd name="T47" fmla="*/ 165 h 173"/>
                        <a:gd name="T48" fmla="*/ 141 w 174"/>
                        <a:gd name="T49" fmla="*/ 154 h 173"/>
                        <a:gd name="T50" fmla="*/ 155 w 174"/>
                        <a:gd name="T51" fmla="*/ 140 h 173"/>
                        <a:gd name="T52" fmla="*/ 165 w 174"/>
                        <a:gd name="T53" fmla="*/ 124 h 173"/>
                        <a:gd name="T54" fmla="*/ 172 w 174"/>
                        <a:gd name="T55" fmla="*/ 106 h 173"/>
                        <a:gd name="T56" fmla="*/ 174 w 174"/>
                        <a:gd name="T57" fmla="*/ 86 h 173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74"/>
                        <a:gd name="T88" fmla="*/ 0 h 173"/>
                        <a:gd name="T89" fmla="*/ 174 w 174"/>
                        <a:gd name="T90" fmla="*/ 173 h 173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74" h="173">
                          <a:moveTo>
                            <a:pt x="174" y="86"/>
                          </a:moveTo>
                          <a:lnTo>
                            <a:pt x="172" y="66"/>
                          </a:lnTo>
                          <a:lnTo>
                            <a:pt x="165" y="48"/>
                          </a:lnTo>
                          <a:lnTo>
                            <a:pt x="155" y="32"/>
                          </a:lnTo>
                          <a:lnTo>
                            <a:pt x="141" y="18"/>
                          </a:lnTo>
                          <a:lnTo>
                            <a:pt x="125" y="8"/>
                          </a:lnTo>
                          <a:lnTo>
                            <a:pt x="106" y="2"/>
                          </a:lnTo>
                          <a:lnTo>
                            <a:pt x="87" y="0"/>
                          </a:lnTo>
                          <a:lnTo>
                            <a:pt x="67" y="2"/>
                          </a:lnTo>
                          <a:lnTo>
                            <a:pt x="49" y="8"/>
                          </a:lnTo>
                          <a:lnTo>
                            <a:pt x="32" y="18"/>
                          </a:lnTo>
                          <a:lnTo>
                            <a:pt x="19" y="32"/>
                          </a:lnTo>
                          <a:lnTo>
                            <a:pt x="9" y="48"/>
                          </a:lnTo>
                          <a:lnTo>
                            <a:pt x="3" y="66"/>
                          </a:lnTo>
                          <a:lnTo>
                            <a:pt x="0" y="86"/>
                          </a:lnTo>
                          <a:lnTo>
                            <a:pt x="3" y="106"/>
                          </a:lnTo>
                          <a:lnTo>
                            <a:pt x="9" y="124"/>
                          </a:lnTo>
                          <a:lnTo>
                            <a:pt x="19" y="140"/>
                          </a:lnTo>
                          <a:lnTo>
                            <a:pt x="32" y="154"/>
                          </a:lnTo>
                          <a:lnTo>
                            <a:pt x="49" y="165"/>
                          </a:lnTo>
                          <a:lnTo>
                            <a:pt x="67" y="171"/>
                          </a:lnTo>
                          <a:lnTo>
                            <a:pt x="87" y="173"/>
                          </a:lnTo>
                          <a:lnTo>
                            <a:pt x="106" y="171"/>
                          </a:lnTo>
                          <a:lnTo>
                            <a:pt x="125" y="165"/>
                          </a:lnTo>
                          <a:lnTo>
                            <a:pt x="141" y="154"/>
                          </a:lnTo>
                          <a:lnTo>
                            <a:pt x="155" y="140"/>
                          </a:lnTo>
                          <a:lnTo>
                            <a:pt x="165" y="124"/>
                          </a:lnTo>
                          <a:lnTo>
                            <a:pt x="172" y="106"/>
                          </a:lnTo>
                          <a:lnTo>
                            <a:pt x="174" y="8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7" name="Freeform 54"/>
                    <p:cNvSpPr>
                      <a:spLocks/>
                    </p:cNvSpPr>
                    <p:nvPr/>
                  </p:nvSpPr>
                  <p:spPr bwMode="auto">
                    <a:xfrm>
                      <a:off x="4417" y="1012"/>
                      <a:ext cx="174" cy="173"/>
                    </a:xfrm>
                    <a:custGeom>
                      <a:avLst/>
                      <a:gdLst>
                        <a:gd name="T0" fmla="*/ 174 w 174"/>
                        <a:gd name="T1" fmla="*/ 86 h 173"/>
                        <a:gd name="T2" fmla="*/ 172 w 174"/>
                        <a:gd name="T3" fmla="*/ 66 h 173"/>
                        <a:gd name="T4" fmla="*/ 165 w 174"/>
                        <a:gd name="T5" fmla="*/ 48 h 173"/>
                        <a:gd name="T6" fmla="*/ 155 w 174"/>
                        <a:gd name="T7" fmla="*/ 32 h 173"/>
                        <a:gd name="T8" fmla="*/ 141 w 174"/>
                        <a:gd name="T9" fmla="*/ 18 h 173"/>
                        <a:gd name="T10" fmla="*/ 125 w 174"/>
                        <a:gd name="T11" fmla="*/ 8 h 173"/>
                        <a:gd name="T12" fmla="*/ 106 w 174"/>
                        <a:gd name="T13" fmla="*/ 2 h 173"/>
                        <a:gd name="T14" fmla="*/ 87 w 174"/>
                        <a:gd name="T15" fmla="*/ 0 h 173"/>
                        <a:gd name="T16" fmla="*/ 67 w 174"/>
                        <a:gd name="T17" fmla="*/ 2 h 173"/>
                        <a:gd name="T18" fmla="*/ 49 w 174"/>
                        <a:gd name="T19" fmla="*/ 8 h 173"/>
                        <a:gd name="T20" fmla="*/ 32 w 174"/>
                        <a:gd name="T21" fmla="*/ 18 h 173"/>
                        <a:gd name="T22" fmla="*/ 19 w 174"/>
                        <a:gd name="T23" fmla="*/ 32 h 173"/>
                        <a:gd name="T24" fmla="*/ 9 w 174"/>
                        <a:gd name="T25" fmla="*/ 48 h 173"/>
                        <a:gd name="T26" fmla="*/ 3 w 174"/>
                        <a:gd name="T27" fmla="*/ 66 h 173"/>
                        <a:gd name="T28" fmla="*/ 0 w 174"/>
                        <a:gd name="T29" fmla="*/ 86 h 173"/>
                        <a:gd name="T30" fmla="*/ 3 w 174"/>
                        <a:gd name="T31" fmla="*/ 106 h 173"/>
                        <a:gd name="T32" fmla="*/ 9 w 174"/>
                        <a:gd name="T33" fmla="*/ 124 h 173"/>
                        <a:gd name="T34" fmla="*/ 19 w 174"/>
                        <a:gd name="T35" fmla="*/ 140 h 173"/>
                        <a:gd name="T36" fmla="*/ 32 w 174"/>
                        <a:gd name="T37" fmla="*/ 154 h 173"/>
                        <a:gd name="T38" fmla="*/ 49 w 174"/>
                        <a:gd name="T39" fmla="*/ 165 h 173"/>
                        <a:gd name="T40" fmla="*/ 67 w 174"/>
                        <a:gd name="T41" fmla="*/ 171 h 173"/>
                        <a:gd name="T42" fmla="*/ 87 w 174"/>
                        <a:gd name="T43" fmla="*/ 173 h 173"/>
                        <a:gd name="T44" fmla="*/ 106 w 174"/>
                        <a:gd name="T45" fmla="*/ 171 h 173"/>
                        <a:gd name="T46" fmla="*/ 125 w 174"/>
                        <a:gd name="T47" fmla="*/ 165 h 173"/>
                        <a:gd name="T48" fmla="*/ 141 w 174"/>
                        <a:gd name="T49" fmla="*/ 154 h 173"/>
                        <a:gd name="T50" fmla="*/ 155 w 174"/>
                        <a:gd name="T51" fmla="*/ 140 h 173"/>
                        <a:gd name="T52" fmla="*/ 165 w 174"/>
                        <a:gd name="T53" fmla="*/ 124 h 173"/>
                        <a:gd name="T54" fmla="*/ 172 w 174"/>
                        <a:gd name="T55" fmla="*/ 106 h 173"/>
                        <a:gd name="T56" fmla="*/ 174 w 174"/>
                        <a:gd name="T57" fmla="*/ 86 h 173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74"/>
                        <a:gd name="T88" fmla="*/ 0 h 173"/>
                        <a:gd name="T89" fmla="*/ 174 w 174"/>
                        <a:gd name="T90" fmla="*/ 173 h 173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74" h="173">
                          <a:moveTo>
                            <a:pt x="174" y="86"/>
                          </a:moveTo>
                          <a:lnTo>
                            <a:pt x="172" y="66"/>
                          </a:lnTo>
                          <a:lnTo>
                            <a:pt x="165" y="48"/>
                          </a:lnTo>
                          <a:lnTo>
                            <a:pt x="155" y="32"/>
                          </a:lnTo>
                          <a:lnTo>
                            <a:pt x="141" y="18"/>
                          </a:lnTo>
                          <a:lnTo>
                            <a:pt x="125" y="8"/>
                          </a:lnTo>
                          <a:lnTo>
                            <a:pt x="106" y="2"/>
                          </a:lnTo>
                          <a:lnTo>
                            <a:pt x="87" y="0"/>
                          </a:lnTo>
                          <a:lnTo>
                            <a:pt x="67" y="2"/>
                          </a:lnTo>
                          <a:lnTo>
                            <a:pt x="49" y="8"/>
                          </a:lnTo>
                          <a:lnTo>
                            <a:pt x="32" y="18"/>
                          </a:lnTo>
                          <a:lnTo>
                            <a:pt x="19" y="32"/>
                          </a:lnTo>
                          <a:lnTo>
                            <a:pt x="9" y="48"/>
                          </a:lnTo>
                          <a:lnTo>
                            <a:pt x="3" y="66"/>
                          </a:lnTo>
                          <a:lnTo>
                            <a:pt x="0" y="86"/>
                          </a:lnTo>
                          <a:lnTo>
                            <a:pt x="3" y="106"/>
                          </a:lnTo>
                          <a:lnTo>
                            <a:pt x="9" y="124"/>
                          </a:lnTo>
                          <a:lnTo>
                            <a:pt x="19" y="140"/>
                          </a:lnTo>
                          <a:lnTo>
                            <a:pt x="32" y="154"/>
                          </a:lnTo>
                          <a:lnTo>
                            <a:pt x="49" y="165"/>
                          </a:lnTo>
                          <a:lnTo>
                            <a:pt x="67" y="171"/>
                          </a:lnTo>
                          <a:lnTo>
                            <a:pt x="87" y="173"/>
                          </a:lnTo>
                          <a:lnTo>
                            <a:pt x="106" y="171"/>
                          </a:lnTo>
                          <a:lnTo>
                            <a:pt x="125" y="165"/>
                          </a:lnTo>
                          <a:lnTo>
                            <a:pt x="141" y="154"/>
                          </a:lnTo>
                          <a:lnTo>
                            <a:pt x="155" y="140"/>
                          </a:lnTo>
                          <a:lnTo>
                            <a:pt x="165" y="124"/>
                          </a:lnTo>
                          <a:lnTo>
                            <a:pt x="172" y="106"/>
                          </a:lnTo>
                          <a:lnTo>
                            <a:pt x="174" y="8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8" name="Freeform 55"/>
                    <p:cNvSpPr>
                      <a:spLocks/>
                    </p:cNvSpPr>
                    <p:nvPr/>
                  </p:nvSpPr>
                  <p:spPr bwMode="auto">
                    <a:xfrm>
                      <a:off x="3802" y="2544"/>
                      <a:ext cx="161" cy="162"/>
                    </a:xfrm>
                    <a:custGeom>
                      <a:avLst/>
                      <a:gdLst>
                        <a:gd name="T0" fmla="*/ 161 w 161"/>
                        <a:gd name="T1" fmla="*/ 81 h 162"/>
                        <a:gd name="T2" fmla="*/ 159 w 161"/>
                        <a:gd name="T3" fmla="*/ 63 h 162"/>
                        <a:gd name="T4" fmla="*/ 153 w 161"/>
                        <a:gd name="T5" fmla="*/ 45 h 162"/>
                        <a:gd name="T6" fmla="*/ 143 w 161"/>
                        <a:gd name="T7" fmla="*/ 30 h 162"/>
                        <a:gd name="T8" fmla="*/ 130 w 161"/>
                        <a:gd name="T9" fmla="*/ 19 h 162"/>
                        <a:gd name="T10" fmla="*/ 116 w 161"/>
                        <a:gd name="T11" fmla="*/ 8 h 162"/>
                        <a:gd name="T12" fmla="*/ 99 w 161"/>
                        <a:gd name="T13" fmla="*/ 3 h 162"/>
                        <a:gd name="T14" fmla="*/ 80 w 161"/>
                        <a:gd name="T15" fmla="*/ 0 h 162"/>
                        <a:gd name="T16" fmla="*/ 62 w 161"/>
                        <a:gd name="T17" fmla="*/ 3 h 162"/>
                        <a:gd name="T18" fmla="*/ 45 w 161"/>
                        <a:gd name="T19" fmla="*/ 8 h 162"/>
                        <a:gd name="T20" fmla="*/ 30 w 161"/>
                        <a:gd name="T21" fmla="*/ 19 h 162"/>
                        <a:gd name="T22" fmla="*/ 18 w 161"/>
                        <a:gd name="T23" fmla="*/ 30 h 162"/>
                        <a:gd name="T24" fmla="*/ 8 w 161"/>
                        <a:gd name="T25" fmla="*/ 45 h 162"/>
                        <a:gd name="T26" fmla="*/ 2 w 161"/>
                        <a:gd name="T27" fmla="*/ 63 h 162"/>
                        <a:gd name="T28" fmla="*/ 0 w 161"/>
                        <a:gd name="T29" fmla="*/ 81 h 162"/>
                        <a:gd name="T30" fmla="*/ 2 w 161"/>
                        <a:gd name="T31" fmla="*/ 99 h 162"/>
                        <a:gd name="T32" fmla="*/ 8 w 161"/>
                        <a:gd name="T33" fmla="*/ 116 h 162"/>
                        <a:gd name="T34" fmla="*/ 18 w 161"/>
                        <a:gd name="T35" fmla="*/ 131 h 162"/>
                        <a:gd name="T36" fmla="*/ 30 w 161"/>
                        <a:gd name="T37" fmla="*/ 143 h 162"/>
                        <a:gd name="T38" fmla="*/ 45 w 161"/>
                        <a:gd name="T39" fmla="*/ 154 h 162"/>
                        <a:gd name="T40" fmla="*/ 62 w 161"/>
                        <a:gd name="T41" fmla="*/ 159 h 162"/>
                        <a:gd name="T42" fmla="*/ 80 w 161"/>
                        <a:gd name="T43" fmla="*/ 162 h 162"/>
                        <a:gd name="T44" fmla="*/ 99 w 161"/>
                        <a:gd name="T45" fmla="*/ 159 h 162"/>
                        <a:gd name="T46" fmla="*/ 116 w 161"/>
                        <a:gd name="T47" fmla="*/ 154 h 162"/>
                        <a:gd name="T48" fmla="*/ 130 w 161"/>
                        <a:gd name="T49" fmla="*/ 143 h 162"/>
                        <a:gd name="T50" fmla="*/ 143 w 161"/>
                        <a:gd name="T51" fmla="*/ 131 h 162"/>
                        <a:gd name="T52" fmla="*/ 153 w 161"/>
                        <a:gd name="T53" fmla="*/ 116 h 162"/>
                        <a:gd name="T54" fmla="*/ 159 w 161"/>
                        <a:gd name="T55" fmla="*/ 99 h 162"/>
                        <a:gd name="T56" fmla="*/ 161 w 161"/>
                        <a:gd name="T57" fmla="*/ 81 h 162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61"/>
                        <a:gd name="T88" fmla="*/ 0 h 162"/>
                        <a:gd name="T89" fmla="*/ 161 w 161"/>
                        <a:gd name="T90" fmla="*/ 162 h 162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61" h="162">
                          <a:moveTo>
                            <a:pt x="161" y="81"/>
                          </a:moveTo>
                          <a:lnTo>
                            <a:pt x="159" y="63"/>
                          </a:lnTo>
                          <a:lnTo>
                            <a:pt x="153" y="45"/>
                          </a:lnTo>
                          <a:lnTo>
                            <a:pt x="143" y="30"/>
                          </a:lnTo>
                          <a:lnTo>
                            <a:pt x="130" y="19"/>
                          </a:lnTo>
                          <a:lnTo>
                            <a:pt x="116" y="8"/>
                          </a:lnTo>
                          <a:lnTo>
                            <a:pt x="99" y="3"/>
                          </a:lnTo>
                          <a:lnTo>
                            <a:pt x="80" y="0"/>
                          </a:lnTo>
                          <a:lnTo>
                            <a:pt x="62" y="3"/>
                          </a:lnTo>
                          <a:lnTo>
                            <a:pt x="45" y="8"/>
                          </a:lnTo>
                          <a:lnTo>
                            <a:pt x="30" y="19"/>
                          </a:lnTo>
                          <a:lnTo>
                            <a:pt x="18" y="30"/>
                          </a:lnTo>
                          <a:lnTo>
                            <a:pt x="8" y="45"/>
                          </a:lnTo>
                          <a:lnTo>
                            <a:pt x="2" y="63"/>
                          </a:lnTo>
                          <a:lnTo>
                            <a:pt x="0" y="81"/>
                          </a:lnTo>
                          <a:lnTo>
                            <a:pt x="2" y="99"/>
                          </a:lnTo>
                          <a:lnTo>
                            <a:pt x="8" y="116"/>
                          </a:lnTo>
                          <a:lnTo>
                            <a:pt x="18" y="131"/>
                          </a:lnTo>
                          <a:lnTo>
                            <a:pt x="30" y="143"/>
                          </a:lnTo>
                          <a:lnTo>
                            <a:pt x="45" y="154"/>
                          </a:lnTo>
                          <a:lnTo>
                            <a:pt x="62" y="159"/>
                          </a:lnTo>
                          <a:lnTo>
                            <a:pt x="80" y="162"/>
                          </a:lnTo>
                          <a:lnTo>
                            <a:pt x="99" y="159"/>
                          </a:lnTo>
                          <a:lnTo>
                            <a:pt x="116" y="154"/>
                          </a:lnTo>
                          <a:lnTo>
                            <a:pt x="130" y="143"/>
                          </a:lnTo>
                          <a:lnTo>
                            <a:pt x="143" y="131"/>
                          </a:lnTo>
                          <a:lnTo>
                            <a:pt x="153" y="116"/>
                          </a:lnTo>
                          <a:lnTo>
                            <a:pt x="159" y="99"/>
                          </a:lnTo>
                          <a:lnTo>
                            <a:pt x="161" y="81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5999" name="Freeform 56"/>
                    <p:cNvSpPr>
                      <a:spLocks/>
                    </p:cNvSpPr>
                    <p:nvPr/>
                  </p:nvSpPr>
                  <p:spPr bwMode="auto">
                    <a:xfrm>
                      <a:off x="3802" y="2544"/>
                      <a:ext cx="161" cy="162"/>
                    </a:xfrm>
                    <a:custGeom>
                      <a:avLst/>
                      <a:gdLst>
                        <a:gd name="T0" fmla="*/ 161 w 161"/>
                        <a:gd name="T1" fmla="*/ 81 h 162"/>
                        <a:gd name="T2" fmla="*/ 159 w 161"/>
                        <a:gd name="T3" fmla="*/ 63 h 162"/>
                        <a:gd name="T4" fmla="*/ 153 w 161"/>
                        <a:gd name="T5" fmla="*/ 45 h 162"/>
                        <a:gd name="T6" fmla="*/ 143 w 161"/>
                        <a:gd name="T7" fmla="*/ 30 h 162"/>
                        <a:gd name="T8" fmla="*/ 130 w 161"/>
                        <a:gd name="T9" fmla="*/ 19 h 162"/>
                        <a:gd name="T10" fmla="*/ 116 w 161"/>
                        <a:gd name="T11" fmla="*/ 8 h 162"/>
                        <a:gd name="T12" fmla="*/ 99 w 161"/>
                        <a:gd name="T13" fmla="*/ 3 h 162"/>
                        <a:gd name="T14" fmla="*/ 80 w 161"/>
                        <a:gd name="T15" fmla="*/ 0 h 162"/>
                        <a:gd name="T16" fmla="*/ 62 w 161"/>
                        <a:gd name="T17" fmla="*/ 3 h 162"/>
                        <a:gd name="T18" fmla="*/ 45 w 161"/>
                        <a:gd name="T19" fmla="*/ 8 h 162"/>
                        <a:gd name="T20" fmla="*/ 30 w 161"/>
                        <a:gd name="T21" fmla="*/ 19 h 162"/>
                        <a:gd name="T22" fmla="*/ 18 w 161"/>
                        <a:gd name="T23" fmla="*/ 30 h 162"/>
                        <a:gd name="T24" fmla="*/ 8 w 161"/>
                        <a:gd name="T25" fmla="*/ 45 h 162"/>
                        <a:gd name="T26" fmla="*/ 2 w 161"/>
                        <a:gd name="T27" fmla="*/ 63 h 162"/>
                        <a:gd name="T28" fmla="*/ 0 w 161"/>
                        <a:gd name="T29" fmla="*/ 81 h 162"/>
                        <a:gd name="T30" fmla="*/ 2 w 161"/>
                        <a:gd name="T31" fmla="*/ 99 h 162"/>
                        <a:gd name="T32" fmla="*/ 8 w 161"/>
                        <a:gd name="T33" fmla="*/ 116 h 162"/>
                        <a:gd name="T34" fmla="*/ 18 w 161"/>
                        <a:gd name="T35" fmla="*/ 131 h 162"/>
                        <a:gd name="T36" fmla="*/ 30 w 161"/>
                        <a:gd name="T37" fmla="*/ 143 h 162"/>
                        <a:gd name="T38" fmla="*/ 45 w 161"/>
                        <a:gd name="T39" fmla="*/ 154 h 162"/>
                        <a:gd name="T40" fmla="*/ 62 w 161"/>
                        <a:gd name="T41" fmla="*/ 159 h 162"/>
                        <a:gd name="T42" fmla="*/ 80 w 161"/>
                        <a:gd name="T43" fmla="*/ 162 h 162"/>
                        <a:gd name="T44" fmla="*/ 99 w 161"/>
                        <a:gd name="T45" fmla="*/ 159 h 162"/>
                        <a:gd name="T46" fmla="*/ 116 w 161"/>
                        <a:gd name="T47" fmla="*/ 154 h 162"/>
                        <a:gd name="T48" fmla="*/ 130 w 161"/>
                        <a:gd name="T49" fmla="*/ 143 h 162"/>
                        <a:gd name="T50" fmla="*/ 143 w 161"/>
                        <a:gd name="T51" fmla="*/ 131 h 162"/>
                        <a:gd name="T52" fmla="*/ 153 w 161"/>
                        <a:gd name="T53" fmla="*/ 116 h 162"/>
                        <a:gd name="T54" fmla="*/ 159 w 161"/>
                        <a:gd name="T55" fmla="*/ 99 h 162"/>
                        <a:gd name="T56" fmla="*/ 161 w 161"/>
                        <a:gd name="T57" fmla="*/ 81 h 162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61"/>
                        <a:gd name="T88" fmla="*/ 0 h 162"/>
                        <a:gd name="T89" fmla="*/ 161 w 161"/>
                        <a:gd name="T90" fmla="*/ 162 h 162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61" h="162">
                          <a:moveTo>
                            <a:pt x="161" y="81"/>
                          </a:moveTo>
                          <a:lnTo>
                            <a:pt x="159" y="63"/>
                          </a:lnTo>
                          <a:lnTo>
                            <a:pt x="153" y="45"/>
                          </a:lnTo>
                          <a:lnTo>
                            <a:pt x="143" y="30"/>
                          </a:lnTo>
                          <a:lnTo>
                            <a:pt x="130" y="19"/>
                          </a:lnTo>
                          <a:lnTo>
                            <a:pt x="116" y="8"/>
                          </a:lnTo>
                          <a:lnTo>
                            <a:pt x="99" y="3"/>
                          </a:lnTo>
                          <a:lnTo>
                            <a:pt x="80" y="0"/>
                          </a:lnTo>
                          <a:lnTo>
                            <a:pt x="62" y="3"/>
                          </a:lnTo>
                          <a:lnTo>
                            <a:pt x="45" y="8"/>
                          </a:lnTo>
                          <a:lnTo>
                            <a:pt x="30" y="19"/>
                          </a:lnTo>
                          <a:lnTo>
                            <a:pt x="18" y="30"/>
                          </a:lnTo>
                          <a:lnTo>
                            <a:pt x="8" y="45"/>
                          </a:lnTo>
                          <a:lnTo>
                            <a:pt x="2" y="63"/>
                          </a:lnTo>
                          <a:lnTo>
                            <a:pt x="0" y="81"/>
                          </a:lnTo>
                          <a:lnTo>
                            <a:pt x="2" y="99"/>
                          </a:lnTo>
                          <a:lnTo>
                            <a:pt x="8" y="116"/>
                          </a:lnTo>
                          <a:lnTo>
                            <a:pt x="18" y="131"/>
                          </a:lnTo>
                          <a:lnTo>
                            <a:pt x="30" y="143"/>
                          </a:lnTo>
                          <a:lnTo>
                            <a:pt x="45" y="154"/>
                          </a:lnTo>
                          <a:lnTo>
                            <a:pt x="62" y="159"/>
                          </a:lnTo>
                          <a:lnTo>
                            <a:pt x="80" y="162"/>
                          </a:lnTo>
                          <a:lnTo>
                            <a:pt x="99" y="159"/>
                          </a:lnTo>
                          <a:lnTo>
                            <a:pt x="116" y="154"/>
                          </a:lnTo>
                          <a:lnTo>
                            <a:pt x="130" y="143"/>
                          </a:lnTo>
                          <a:lnTo>
                            <a:pt x="143" y="131"/>
                          </a:lnTo>
                          <a:lnTo>
                            <a:pt x="153" y="116"/>
                          </a:lnTo>
                          <a:lnTo>
                            <a:pt x="159" y="99"/>
                          </a:lnTo>
                          <a:lnTo>
                            <a:pt x="161" y="81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0" name="Freeform 57"/>
                    <p:cNvSpPr>
                      <a:spLocks/>
                    </p:cNvSpPr>
                    <p:nvPr/>
                  </p:nvSpPr>
                  <p:spPr bwMode="auto">
                    <a:xfrm>
                      <a:off x="4558" y="1032"/>
                      <a:ext cx="154" cy="154"/>
                    </a:xfrm>
                    <a:custGeom>
                      <a:avLst/>
                      <a:gdLst>
                        <a:gd name="T0" fmla="*/ 154 w 154"/>
                        <a:gd name="T1" fmla="*/ 77 h 154"/>
                        <a:gd name="T2" fmla="*/ 152 w 154"/>
                        <a:gd name="T3" fmla="*/ 60 h 154"/>
                        <a:gd name="T4" fmla="*/ 146 w 154"/>
                        <a:gd name="T5" fmla="*/ 43 h 154"/>
                        <a:gd name="T6" fmla="*/ 137 w 154"/>
                        <a:gd name="T7" fmla="*/ 29 h 154"/>
                        <a:gd name="T8" fmla="*/ 125 w 154"/>
                        <a:gd name="T9" fmla="*/ 17 h 154"/>
                        <a:gd name="T10" fmla="*/ 111 w 154"/>
                        <a:gd name="T11" fmla="*/ 8 h 154"/>
                        <a:gd name="T12" fmla="*/ 94 w 154"/>
                        <a:gd name="T13" fmla="*/ 2 h 154"/>
                        <a:gd name="T14" fmla="*/ 77 w 154"/>
                        <a:gd name="T15" fmla="*/ 0 h 154"/>
                        <a:gd name="T16" fmla="*/ 59 w 154"/>
                        <a:gd name="T17" fmla="*/ 2 h 154"/>
                        <a:gd name="T18" fmla="*/ 43 w 154"/>
                        <a:gd name="T19" fmla="*/ 8 h 154"/>
                        <a:gd name="T20" fmla="*/ 28 w 154"/>
                        <a:gd name="T21" fmla="*/ 17 h 154"/>
                        <a:gd name="T22" fmla="*/ 16 w 154"/>
                        <a:gd name="T23" fmla="*/ 29 h 154"/>
                        <a:gd name="T24" fmla="*/ 8 w 154"/>
                        <a:gd name="T25" fmla="*/ 43 h 154"/>
                        <a:gd name="T26" fmla="*/ 2 w 154"/>
                        <a:gd name="T27" fmla="*/ 60 h 154"/>
                        <a:gd name="T28" fmla="*/ 0 w 154"/>
                        <a:gd name="T29" fmla="*/ 77 h 154"/>
                        <a:gd name="T30" fmla="*/ 2 w 154"/>
                        <a:gd name="T31" fmla="*/ 94 h 154"/>
                        <a:gd name="T32" fmla="*/ 8 w 154"/>
                        <a:gd name="T33" fmla="*/ 111 h 154"/>
                        <a:gd name="T34" fmla="*/ 16 w 154"/>
                        <a:gd name="T35" fmla="*/ 125 h 154"/>
                        <a:gd name="T36" fmla="*/ 28 w 154"/>
                        <a:gd name="T37" fmla="*/ 137 h 154"/>
                        <a:gd name="T38" fmla="*/ 43 w 154"/>
                        <a:gd name="T39" fmla="*/ 146 h 154"/>
                        <a:gd name="T40" fmla="*/ 59 w 154"/>
                        <a:gd name="T41" fmla="*/ 152 h 154"/>
                        <a:gd name="T42" fmla="*/ 77 w 154"/>
                        <a:gd name="T43" fmla="*/ 154 h 154"/>
                        <a:gd name="T44" fmla="*/ 94 w 154"/>
                        <a:gd name="T45" fmla="*/ 152 h 154"/>
                        <a:gd name="T46" fmla="*/ 111 w 154"/>
                        <a:gd name="T47" fmla="*/ 146 h 154"/>
                        <a:gd name="T48" fmla="*/ 125 w 154"/>
                        <a:gd name="T49" fmla="*/ 137 h 154"/>
                        <a:gd name="T50" fmla="*/ 137 w 154"/>
                        <a:gd name="T51" fmla="*/ 125 h 154"/>
                        <a:gd name="T52" fmla="*/ 146 w 154"/>
                        <a:gd name="T53" fmla="*/ 111 h 154"/>
                        <a:gd name="T54" fmla="*/ 152 w 154"/>
                        <a:gd name="T55" fmla="*/ 94 h 154"/>
                        <a:gd name="T56" fmla="*/ 154 w 154"/>
                        <a:gd name="T57" fmla="*/ 77 h 154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54"/>
                        <a:gd name="T88" fmla="*/ 0 h 154"/>
                        <a:gd name="T89" fmla="*/ 154 w 154"/>
                        <a:gd name="T90" fmla="*/ 154 h 154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54" h="154">
                          <a:moveTo>
                            <a:pt x="154" y="77"/>
                          </a:moveTo>
                          <a:lnTo>
                            <a:pt x="152" y="60"/>
                          </a:lnTo>
                          <a:lnTo>
                            <a:pt x="146" y="43"/>
                          </a:lnTo>
                          <a:lnTo>
                            <a:pt x="137" y="29"/>
                          </a:lnTo>
                          <a:lnTo>
                            <a:pt x="125" y="17"/>
                          </a:lnTo>
                          <a:lnTo>
                            <a:pt x="111" y="8"/>
                          </a:lnTo>
                          <a:lnTo>
                            <a:pt x="94" y="2"/>
                          </a:lnTo>
                          <a:lnTo>
                            <a:pt x="77" y="0"/>
                          </a:lnTo>
                          <a:lnTo>
                            <a:pt x="59" y="2"/>
                          </a:lnTo>
                          <a:lnTo>
                            <a:pt x="43" y="8"/>
                          </a:lnTo>
                          <a:lnTo>
                            <a:pt x="28" y="17"/>
                          </a:lnTo>
                          <a:lnTo>
                            <a:pt x="16" y="29"/>
                          </a:lnTo>
                          <a:lnTo>
                            <a:pt x="8" y="43"/>
                          </a:lnTo>
                          <a:lnTo>
                            <a:pt x="2" y="60"/>
                          </a:lnTo>
                          <a:lnTo>
                            <a:pt x="0" y="77"/>
                          </a:lnTo>
                          <a:lnTo>
                            <a:pt x="2" y="94"/>
                          </a:lnTo>
                          <a:lnTo>
                            <a:pt x="8" y="111"/>
                          </a:lnTo>
                          <a:lnTo>
                            <a:pt x="16" y="125"/>
                          </a:lnTo>
                          <a:lnTo>
                            <a:pt x="28" y="137"/>
                          </a:lnTo>
                          <a:lnTo>
                            <a:pt x="43" y="146"/>
                          </a:lnTo>
                          <a:lnTo>
                            <a:pt x="59" y="152"/>
                          </a:lnTo>
                          <a:lnTo>
                            <a:pt x="77" y="154"/>
                          </a:lnTo>
                          <a:lnTo>
                            <a:pt x="94" y="152"/>
                          </a:lnTo>
                          <a:lnTo>
                            <a:pt x="111" y="146"/>
                          </a:lnTo>
                          <a:lnTo>
                            <a:pt x="125" y="137"/>
                          </a:lnTo>
                          <a:lnTo>
                            <a:pt x="137" y="125"/>
                          </a:lnTo>
                          <a:lnTo>
                            <a:pt x="146" y="111"/>
                          </a:lnTo>
                          <a:lnTo>
                            <a:pt x="152" y="94"/>
                          </a:lnTo>
                          <a:lnTo>
                            <a:pt x="154" y="7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1" name="Freeform 58"/>
                    <p:cNvSpPr>
                      <a:spLocks/>
                    </p:cNvSpPr>
                    <p:nvPr/>
                  </p:nvSpPr>
                  <p:spPr bwMode="auto">
                    <a:xfrm>
                      <a:off x="4558" y="1032"/>
                      <a:ext cx="154" cy="154"/>
                    </a:xfrm>
                    <a:custGeom>
                      <a:avLst/>
                      <a:gdLst>
                        <a:gd name="T0" fmla="*/ 154 w 154"/>
                        <a:gd name="T1" fmla="*/ 77 h 154"/>
                        <a:gd name="T2" fmla="*/ 152 w 154"/>
                        <a:gd name="T3" fmla="*/ 60 h 154"/>
                        <a:gd name="T4" fmla="*/ 146 w 154"/>
                        <a:gd name="T5" fmla="*/ 43 h 154"/>
                        <a:gd name="T6" fmla="*/ 137 w 154"/>
                        <a:gd name="T7" fmla="*/ 29 h 154"/>
                        <a:gd name="T8" fmla="*/ 125 w 154"/>
                        <a:gd name="T9" fmla="*/ 17 h 154"/>
                        <a:gd name="T10" fmla="*/ 111 w 154"/>
                        <a:gd name="T11" fmla="*/ 8 h 154"/>
                        <a:gd name="T12" fmla="*/ 94 w 154"/>
                        <a:gd name="T13" fmla="*/ 2 h 154"/>
                        <a:gd name="T14" fmla="*/ 77 w 154"/>
                        <a:gd name="T15" fmla="*/ 0 h 154"/>
                        <a:gd name="T16" fmla="*/ 59 w 154"/>
                        <a:gd name="T17" fmla="*/ 2 h 154"/>
                        <a:gd name="T18" fmla="*/ 43 w 154"/>
                        <a:gd name="T19" fmla="*/ 8 h 154"/>
                        <a:gd name="T20" fmla="*/ 28 w 154"/>
                        <a:gd name="T21" fmla="*/ 17 h 154"/>
                        <a:gd name="T22" fmla="*/ 16 w 154"/>
                        <a:gd name="T23" fmla="*/ 29 h 154"/>
                        <a:gd name="T24" fmla="*/ 8 w 154"/>
                        <a:gd name="T25" fmla="*/ 43 h 154"/>
                        <a:gd name="T26" fmla="*/ 2 w 154"/>
                        <a:gd name="T27" fmla="*/ 60 h 154"/>
                        <a:gd name="T28" fmla="*/ 0 w 154"/>
                        <a:gd name="T29" fmla="*/ 77 h 154"/>
                        <a:gd name="T30" fmla="*/ 2 w 154"/>
                        <a:gd name="T31" fmla="*/ 94 h 154"/>
                        <a:gd name="T32" fmla="*/ 8 w 154"/>
                        <a:gd name="T33" fmla="*/ 111 h 154"/>
                        <a:gd name="T34" fmla="*/ 16 w 154"/>
                        <a:gd name="T35" fmla="*/ 125 h 154"/>
                        <a:gd name="T36" fmla="*/ 28 w 154"/>
                        <a:gd name="T37" fmla="*/ 137 h 154"/>
                        <a:gd name="T38" fmla="*/ 43 w 154"/>
                        <a:gd name="T39" fmla="*/ 146 h 154"/>
                        <a:gd name="T40" fmla="*/ 59 w 154"/>
                        <a:gd name="T41" fmla="*/ 152 h 154"/>
                        <a:gd name="T42" fmla="*/ 77 w 154"/>
                        <a:gd name="T43" fmla="*/ 154 h 154"/>
                        <a:gd name="T44" fmla="*/ 94 w 154"/>
                        <a:gd name="T45" fmla="*/ 152 h 154"/>
                        <a:gd name="T46" fmla="*/ 111 w 154"/>
                        <a:gd name="T47" fmla="*/ 146 h 154"/>
                        <a:gd name="T48" fmla="*/ 125 w 154"/>
                        <a:gd name="T49" fmla="*/ 137 h 154"/>
                        <a:gd name="T50" fmla="*/ 137 w 154"/>
                        <a:gd name="T51" fmla="*/ 125 h 154"/>
                        <a:gd name="T52" fmla="*/ 146 w 154"/>
                        <a:gd name="T53" fmla="*/ 111 h 154"/>
                        <a:gd name="T54" fmla="*/ 152 w 154"/>
                        <a:gd name="T55" fmla="*/ 94 h 154"/>
                        <a:gd name="T56" fmla="*/ 154 w 154"/>
                        <a:gd name="T57" fmla="*/ 77 h 154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54"/>
                        <a:gd name="T88" fmla="*/ 0 h 154"/>
                        <a:gd name="T89" fmla="*/ 154 w 154"/>
                        <a:gd name="T90" fmla="*/ 154 h 154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54" h="154">
                          <a:moveTo>
                            <a:pt x="154" y="77"/>
                          </a:moveTo>
                          <a:lnTo>
                            <a:pt x="152" y="60"/>
                          </a:lnTo>
                          <a:lnTo>
                            <a:pt x="146" y="43"/>
                          </a:lnTo>
                          <a:lnTo>
                            <a:pt x="137" y="29"/>
                          </a:lnTo>
                          <a:lnTo>
                            <a:pt x="125" y="17"/>
                          </a:lnTo>
                          <a:lnTo>
                            <a:pt x="111" y="8"/>
                          </a:lnTo>
                          <a:lnTo>
                            <a:pt x="94" y="2"/>
                          </a:lnTo>
                          <a:lnTo>
                            <a:pt x="77" y="0"/>
                          </a:lnTo>
                          <a:lnTo>
                            <a:pt x="59" y="2"/>
                          </a:lnTo>
                          <a:lnTo>
                            <a:pt x="43" y="8"/>
                          </a:lnTo>
                          <a:lnTo>
                            <a:pt x="28" y="17"/>
                          </a:lnTo>
                          <a:lnTo>
                            <a:pt x="16" y="29"/>
                          </a:lnTo>
                          <a:lnTo>
                            <a:pt x="8" y="43"/>
                          </a:lnTo>
                          <a:lnTo>
                            <a:pt x="2" y="60"/>
                          </a:lnTo>
                          <a:lnTo>
                            <a:pt x="0" y="77"/>
                          </a:lnTo>
                          <a:lnTo>
                            <a:pt x="2" y="94"/>
                          </a:lnTo>
                          <a:lnTo>
                            <a:pt x="8" y="111"/>
                          </a:lnTo>
                          <a:lnTo>
                            <a:pt x="16" y="125"/>
                          </a:lnTo>
                          <a:lnTo>
                            <a:pt x="28" y="137"/>
                          </a:lnTo>
                          <a:lnTo>
                            <a:pt x="43" y="146"/>
                          </a:lnTo>
                          <a:lnTo>
                            <a:pt x="59" y="152"/>
                          </a:lnTo>
                          <a:lnTo>
                            <a:pt x="77" y="154"/>
                          </a:lnTo>
                          <a:lnTo>
                            <a:pt x="94" y="152"/>
                          </a:lnTo>
                          <a:lnTo>
                            <a:pt x="111" y="146"/>
                          </a:lnTo>
                          <a:lnTo>
                            <a:pt x="125" y="137"/>
                          </a:lnTo>
                          <a:lnTo>
                            <a:pt x="137" y="125"/>
                          </a:lnTo>
                          <a:lnTo>
                            <a:pt x="146" y="111"/>
                          </a:lnTo>
                          <a:lnTo>
                            <a:pt x="152" y="94"/>
                          </a:lnTo>
                          <a:lnTo>
                            <a:pt x="154" y="7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2" name="Freeform 59"/>
                    <p:cNvSpPr>
                      <a:spLocks/>
                    </p:cNvSpPr>
                    <p:nvPr/>
                  </p:nvSpPr>
                  <p:spPr bwMode="auto">
                    <a:xfrm>
                      <a:off x="4537" y="2820"/>
                      <a:ext cx="150" cy="151"/>
                    </a:xfrm>
                    <a:custGeom>
                      <a:avLst/>
                      <a:gdLst>
                        <a:gd name="T0" fmla="*/ 150 w 150"/>
                        <a:gd name="T1" fmla="*/ 76 h 151"/>
                        <a:gd name="T2" fmla="*/ 147 w 150"/>
                        <a:gd name="T3" fmla="*/ 58 h 151"/>
                        <a:gd name="T4" fmla="*/ 142 w 150"/>
                        <a:gd name="T5" fmla="*/ 43 h 151"/>
                        <a:gd name="T6" fmla="*/ 133 w 150"/>
                        <a:gd name="T7" fmla="*/ 29 h 151"/>
                        <a:gd name="T8" fmla="*/ 121 w 150"/>
                        <a:gd name="T9" fmla="*/ 17 h 151"/>
                        <a:gd name="T10" fmla="*/ 107 w 150"/>
                        <a:gd name="T11" fmla="*/ 8 h 151"/>
                        <a:gd name="T12" fmla="*/ 92 w 150"/>
                        <a:gd name="T13" fmla="*/ 3 h 151"/>
                        <a:gd name="T14" fmla="*/ 74 w 150"/>
                        <a:gd name="T15" fmla="*/ 0 h 151"/>
                        <a:gd name="T16" fmla="*/ 57 w 150"/>
                        <a:gd name="T17" fmla="*/ 3 h 151"/>
                        <a:gd name="T18" fmla="*/ 41 w 150"/>
                        <a:gd name="T19" fmla="*/ 8 h 151"/>
                        <a:gd name="T20" fmla="*/ 27 w 150"/>
                        <a:gd name="T21" fmla="*/ 17 h 151"/>
                        <a:gd name="T22" fmla="*/ 16 w 150"/>
                        <a:gd name="T23" fmla="*/ 29 h 151"/>
                        <a:gd name="T24" fmla="*/ 8 w 150"/>
                        <a:gd name="T25" fmla="*/ 43 h 151"/>
                        <a:gd name="T26" fmla="*/ 1 w 150"/>
                        <a:gd name="T27" fmla="*/ 58 h 151"/>
                        <a:gd name="T28" fmla="*/ 0 w 150"/>
                        <a:gd name="T29" fmla="*/ 76 h 151"/>
                        <a:gd name="T30" fmla="*/ 1 w 150"/>
                        <a:gd name="T31" fmla="*/ 93 h 151"/>
                        <a:gd name="T32" fmla="*/ 8 w 150"/>
                        <a:gd name="T33" fmla="*/ 109 h 151"/>
                        <a:gd name="T34" fmla="*/ 16 w 150"/>
                        <a:gd name="T35" fmla="*/ 123 h 151"/>
                        <a:gd name="T36" fmla="*/ 27 w 150"/>
                        <a:gd name="T37" fmla="*/ 135 h 151"/>
                        <a:gd name="T38" fmla="*/ 41 w 150"/>
                        <a:gd name="T39" fmla="*/ 143 h 151"/>
                        <a:gd name="T40" fmla="*/ 57 w 150"/>
                        <a:gd name="T41" fmla="*/ 149 h 151"/>
                        <a:gd name="T42" fmla="*/ 74 w 150"/>
                        <a:gd name="T43" fmla="*/ 151 h 151"/>
                        <a:gd name="T44" fmla="*/ 92 w 150"/>
                        <a:gd name="T45" fmla="*/ 149 h 151"/>
                        <a:gd name="T46" fmla="*/ 107 w 150"/>
                        <a:gd name="T47" fmla="*/ 143 h 151"/>
                        <a:gd name="T48" fmla="*/ 121 w 150"/>
                        <a:gd name="T49" fmla="*/ 135 h 151"/>
                        <a:gd name="T50" fmla="*/ 133 w 150"/>
                        <a:gd name="T51" fmla="*/ 123 h 151"/>
                        <a:gd name="T52" fmla="*/ 142 w 150"/>
                        <a:gd name="T53" fmla="*/ 109 h 151"/>
                        <a:gd name="T54" fmla="*/ 147 w 150"/>
                        <a:gd name="T55" fmla="*/ 93 h 151"/>
                        <a:gd name="T56" fmla="*/ 150 w 150"/>
                        <a:gd name="T57" fmla="*/ 76 h 151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50"/>
                        <a:gd name="T88" fmla="*/ 0 h 151"/>
                        <a:gd name="T89" fmla="*/ 150 w 150"/>
                        <a:gd name="T90" fmla="*/ 151 h 151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50" h="151">
                          <a:moveTo>
                            <a:pt x="150" y="76"/>
                          </a:moveTo>
                          <a:lnTo>
                            <a:pt x="147" y="58"/>
                          </a:lnTo>
                          <a:lnTo>
                            <a:pt x="142" y="43"/>
                          </a:lnTo>
                          <a:lnTo>
                            <a:pt x="133" y="29"/>
                          </a:lnTo>
                          <a:lnTo>
                            <a:pt x="121" y="17"/>
                          </a:lnTo>
                          <a:lnTo>
                            <a:pt x="107" y="8"/>
                          </a:lnTo>
                          <a:lnTo>
                            <a:pt x="92" y="3"/>
                          </a:lnTo>
                          <a:lnTo>
                            <a:pt x="74" y="0"/>
                          </a:lnTo>
                          <a:lnTo>
                            <a:pt x="57" y="3"/>
                          </a:lnTo>
                          <a:lnTo>
                            <a:pt x="41" y="8"/>
                          </a:lnTo>
                          <a:lnTo>
                            <a:pt x="27" y="17"/>
                          </a:lnTo>
                          <a:lnTo>
                            <a:pt x="16" y="29"/>
                          </a:lnTo>
                          <a:lnTo>
                            <a:pt x="8" y="43"/>
                          </a:lnTo>
                          <a:lnTo>
                            <a:pt x="1" y="58"/>
                          </a:lnTo>
                          <a:lnTo>
                            <a:pt x="0" y="76"/>
                          </a:lnTo>
                          <a:lnTo>
                            <a:pt x="1" y="93"/>
                          </a:lnTo>
                          <a:lnTo>
                            <a:pt x="8" y="109"/>
                          </a:lnTo>
                          <a:lnTo>
                            <a:pt x="16" y="123"/>
                          </a:lnTo>
                          <a:lnTo>
                            <a:pt x="27" y="135"/>
                          </a:lnTo>
                          <a:lnTo>
                            <a:pt x="41" y="143"/>
                          </a:lnTo>
                          <a:lnTo>
                            <a:pt x="57" y="149"/>
                          </a:lnTo>
                          <a:lnTo>
                            <a:pt x="74" y="151"/>
                          </a:lnTo>
                          <a:lnTo>
                            <a:pt x="92" y="149"/>
                          </a:lnTo>
                          <a:lnTo>
                            <a:pt x="107" y="143"/>
                          </a:lnTo>
                          <a:lnTo>
                            <a:pt x="121" y="135"/>
                          </a:lnTo>
                          <a:lnTo>
                            <a:pt x="133" y="123"/>
                          </a:lnTo>
                          <a:lnTo>
                            <a:pt x="142" y="109"/>
                          </a:lnTo>
                          <a:lnTo>
                            <a:pt x="147" y="93"/>
                          </a:lnTo>
                          <a:lnTo>
                            <a:pt x="150" y="7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3" name="Freeform 60"/>
                    <p:cNvSpPr>
                      <a:spLocks/>
                    </p:cNvSpPr>
                    <p:nvPr/>
                  </p:nvSpPr>
                  <p:spPr bwMode="auto">
                    <a:xfrm>
                      <a:off x="4537" y="2820"/>
                      <a:ext cx="150" cy="151"/>
                    </a:xfrm>
                    <a:custGeom>
                      <a:avLst/>
                      <a:gdLst>
                        <a:gd name="T0" fmla="*/ 150 w 150"/>
                        <a:gd name="T1" fmla="*/ 76 h 151"/>
                        <a:gd name="T2" fmla="*/ 147 w 150"/>
                        <a:gd name="T3" fmla="*/ 58 h 151"/>
                        <a:gd name="T4" fmla="*/ 142 w 150"/>
                        <a:gd name="T5" fmla="*/ 43 h 151"/>
                        <a:gd name="T6" fmla="*/ 133 w 150"/>
                        <a:gd name="T7" fmla="*/ 29 h 151"/>
                        <a:gd name="T8" fmla="*/ 121 w 150"/>
                        <a:gd name="T9" fmla="*/ 17 h 151"/>
                        <a:gd name="T10" fmla="*/ 107 w 150"/>
                        <a:gd name="T11" fmla="*/ 8 h 151"/>
                        <a:gd name="T12" fmla="*/ 92 w 150"/>
                        <a:gd name="T13" fmla="*/ 3 h 151"/>
                        <a:gd name="T14" fmla="*/ 74 w 150"/>
                        <a:gd name="T15" fmla="*/ 0 h 151"/>
                        <a:gd name="T16" fmla="*/ 57 w 150"/>
                        <a:gd name="T17" fmla="*/ 3 h 151"/>
                        <a:gd name="T18" fmla="*/ 41 w 150"/>
                        <a:gd name="T19" fmla="*/ 8 h 151"/>
                        <a:gd name="T20" fmla="*/ 27 w 150"/>
                        <a:gd name="T21" fmla="*/ 17 h 151"/>
                        <a:gd name="T22" fmla="*/ 16 w 150"/>
                        <a:gd name="T23" fmla="*/ 29 h 151"/>
                        <a:gd name="T24" fmla="*/ 8 w 150"/>
                        <a:gd name="T25" fmla="*/ 43 h 151"/>
                        <a:gd name="T26" fmla="*/ 1 w 150"/>
                        <a:gd name="T27" fmla="*/ 58 h 151"/>
                        <a:gd name="T28" fmla="*/ 0 w 150"/>
                        <a:gd name="T29" fmla="*/ 76 h 151"/>
                        <a:gd name="T30" fmla="*/ 1 w 150"/>
                        <a:gd name="T31" fmla="*/ 93 h 151"/>
                        <a:gd name="T32" fmla="*/ 8 w 150"/>
                        <a:gd name="T33" fmla="*/ 109 h 151"/>
                        <a:gd name="T34" fmla="*/ 16 w 150"/>
                        <a:gd name="T35" fmla="*/ 123 h 151"/>
                        <a:gd name="T36" fmla="*/ 27 w 150"/>
                        <a:gd name="T37" fmla="*/ 135 h 151"/>
                        <a:gd name="T38" fmla="*/ 41 w 150"/>
                        <a:gd name="T39" fmla="*/ 143 h 151"/>
                        <a:gd name="T40" fmla="*/ 57 w 150"/>
                        <a:gd name="T41" fmla="*/ 149 h 151"/>
                        <a:gd name="T42" fmla="*/ 74 w 150"/>
                        <a:gd name="T43" fmla="*/ 151 h 151"/>
                        <a:gd name="T44" fmla="*/ 92 w 150"/>
                        <a:gd name="T45" fmla="*/ 149 h 151"/>
                        <a:gd name="T46" fmla="*/ 107 w 150"/>
                        <a:gd name="T47" fmla="*/ 143 h 151"/>
                        <a:gd name="T48" fmla="*/ 121 w 150"/>
                        <a:gd name="T49" fmla="*/ 135 h 151"/>
                        <a:gd name="T50" fmla="*/ 133 w 150"/>
                        <a:gd name="T51" fmla="*/ 123 h 151"/>
                        <a:gd name="T52" fmla="*/ 142 w 150"/>
                        <a:gd name="T53" fmla="*/ 109 h 151"/>
                        <a:gd name="T54" fmla="*/ 147 w 150"/>
                        <a:gd name="T55" fmla="*/ 93 h 151"/>
                        <a:gd name="T56" fmla="*/ 150 w 150"/>
                        <a:gd name="T57" fmla="*/ 76 h 151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50"/>
                        <a:gd name="T88" fmla="*/ 0 h 151"/>
                        <a:gd name="T89" fmla="*/ 150 w 150"/>
                        <a:gd name="T90" fmla="*/ 151 h 151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50" h="151">
                          <a:moveTo>
                            <a:pt x="150" y="76"/>
                          </a:moveTo>
                          <a:lnTo>
                            <a:pt x="147" y="58"/>
                          </a:lnTo>
                          <a:lnTo>
                            <a:pt x="142" y="43"/>
                          </a:lnTo>
                          <a:lnTo>
                            <a:pt x="133" y="29"/>
                          </a:lnTo>
                          <a:lnTo>
                            <a:pt x="121" y="17"/>
                          </a:lnTo>
                          <a:lnTo>
                            <a:pt x="107" y="8"/>
                          </a:lnTo>
                          <a:lnTo>
                            <a:pt x="92" y="3"/>
                          </a:lnTo>
                          <a:lnTo>
                            <a:pt x="74" y="0"/>
                          </a:lnTo>
                          <a:lnTo>
                            <a:pt x="57" y="3"/>
                          </a:lnTo>
                          <a:lnTo>
                            <a:pt x="41" y="8"/>
                          </a:lnTo>
                          <a:lnTo>
                            <a:pt x="27" y="17"/>
                          </a:lnTo>
                          <a:lnTo>
                            <a:pt x="16" y="29"/>
                          </a:lnTo>
                          <a:lnTo>
                            <a:pt x="8" y="43"/>
                          </a:lnTo>
                          <a:lnTo>
                            <a:pt x="1" y="58"/>
                          </a:lnTo>
                          <a:lnTo>
                            <a:pt x="0" y="76"/>
                          </a:lnTo>
                          <a:lnTo>
                            <a:pt x="1" y="93"/>
                          </a:lnTo>
                          <a:lnTo>
                            <a:pt x="8" y="109"/>
                          </a:lnTo>
                          <a:lnTo>
                            <a:pt x="16" y="123"/>
                          </a:lnTo>
                          <a:lnTo>
                            <a:pt x="27" y="135"/>
                          </a:lnTo>
                          <a:lnTo>
                            <a:pt x="41" y="143"/>
                          </a:lnTo>
                          <a:lnTo>
                            <a:pt x="57" y="149"/>
                          </a:lnTo>
                          <a:lnTo>
                            <a:pt x="74" y="151"/>
                          </a:lnTo>
                          <a:lnTo>
                            <a:pt x="92" y="149"/>
                          </a:lnTo>
                          <a:lnTo>
                            <a:pt x="107" y="143"/>
                          </a:lnTo>
                          <a:lnTo>
                            <a:pt x="121" y="135"/>
                          </a:lnTo>
                          <a:lnTo>
                            <a:pt x="133" y="123"/>
                          </a:lnTo>
                          <a:lnTo>
                            <a:pt x="142" y="109"/>
                          </a:lnTo>
                          <a:lnTo>
                            <a:pt x="147" y="93"/>
                          </a:lnTo>
                          <a:lnTo>
                            <a:pt x="150" y="7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4" name="Freeform 61"/>
                    <p:cNvSpPr>
                      <a:spLocks/>
                    </p:cNvSpPr>
                    <p:nvPr/>
                  </p:nvSpPr>
                  <p:spPr bwMode="auto">
                    <a:xfrm>
                      <a:off x="4856" y="1178"/>
                      <a:ext cx="150" cy="151"/>
                    </a:xfrm>
                    <a:custGeom>
                      <a:avLst/>
                      <a:gdLst>
                        <a:gd name="T0" fmla="*/ 150 w 150"/>
                        <a:gd name="T1" fmla="*/ 76 h 151"/>
                        <a:gd name="T2" fmla="*/ 147 w 150"/>
                        <a:gd name="T3" fmla="*/ 58 h 151"/>
                        <a:gd name="T4" fmla="*/ 142 w 150"/>
                        <a:gd name="T5" fmla="*/ 43 h 151"/>
                        <a:gd name="T6" fmla="*/ 133 w 150"/>
                        <a:gd name="T7" fmla="*/ 28 h 151"/>
                        <a:gd name="T8" fmla="*/ 121 w 150"/>
                        <a:gd name="T9" fmla="*/ 17 h 151"/>
                        <a:gd name="T10" fmla="*/ 107 w 150"/>
                        <a:gd name="T11" fmla="*/ 8 h 151"/>
                        <a:gd name="T12" fmla="*/ 92 w 150"/>
                        <a:gd name="T13" fmla="*/ 2 h 151"/>
                        <a:gd name="T14" fmla="*/ 74 w 150"/>
                        <a:gd name="T15" fmla="*/ 0 h 151"/>
                        <a:gd name="T16" fmla="*/ 57 w 150"/>
                        <a:gd name="T17" fmla="*/ 2 h 151"/>
                        <a:gd name="T18" fmla="*/ 41 w 150"/>
                        <a:gd name="T19" fmla="*/ 8 h 151"/>
                        <a:gd name="T20" fmla="*/ 27 w 150"/>
                        <a:gd name="T21" fmla="*/ 17 h 151"/>
                        <a:gd name="T22" fmla="*/ 16 w 150"/>
                        <a:gd name="T23" fmla="*/ 28 h 151"/>
                        <a:gd name="T24" fmla="*/ 8 w 150"/>
                        <a:gd name="T25" fmla="*/ 43 h 151"/>
                        <a:gd name="T26" fmla="*/ 1 w 150"/>
                        <a:gd name="T27" fmla="*/ 58 h 151"/>
                        <a:gd name="T28" fmla="*/ 0 w 150"/>
                        <a:gd name="T29" fmla="*/ 76 h 151"/>
                        <a:gd name="T30" fmla="*/ 1 w 150"/>
                        <a:gd name="T31" fmla="*/ 93 h 151"/>
                        <a:gd name="T32" fmla="*/ 8 w 150"/>
                        <a:gd name="T33" fmla="*/ 109 h 151"/>
                        <a:gd name="T34" fmla="*/ 16 w 150"/>
                        <a:gd name="T35" fmla="*/ 123 h 151"/>
                        <a:gd name="T36" fmla="*/ 27 w 150"/>
                        <a:gd name="T37" fmla="*/ 134 h 151"/>
                        <a:gd name="T38" fmla="*/ 41 w 150"/>
                        <a:gd name="T39" fmla="*/ 143 h 151"/>
                        <a:gd name="T40" fmla="*/ 57 w 150"/>
                        <a:gd name="T41" fmla="*/ 149 h 151"/>
                        <a:gd name="T42" fmla="*/ 74 w 150"/>
                        <a:gd name="T43" fmla="*/ 151 h 151"/>
                        <a:gd name="T44" fmla="*/ 92 w 150"/>
                        <a:gd name="T45" fmla="*/ 149 h 151"/>
                        <a:gd name="T46" fmla="*/ 107 w 150"/>
                        <a:gd name="T47" fmla="*/ 143 h 151"/>
                        <a:gd name="T48" fmla="*/ 121 w 150"/>
                        <a:gd name="T49" fmla="*/ 134 h 151"/>
                        <a:gd name="T50" fmla="*/ 133 w 150"/>
                        <a:gd name="T51" fmla="*/ 123 h 151"/>
                        <a:gd name="T52" fmla="*/ 142 w 150"/>
                        <a:gd name="T53" fmla="*/ 109 h 151"/>
                        <a:gd name="T54" fmla="*/ 147 w 150"/>
                        <a:gd name="T55" fmla="*/ 93 h 151"/>
                        <a:gd name="T56" fmla="*/ 150 w 150"/>
                        <a:gd name="T57" fmla="*/ 76 h 151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50"/>
                        <a:gd name="T88" fmla="*/ 0 h 151"/>
                        <a:gd name="T89" fmla="*/ 150 w 150"/>
                        <a:gd name="T90" fmla="*/ 151 h 151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50" h="151">
                          <a:moveTo>
                            <a:pt x="150" y="76"/>
                          </a:moveTo>
                          <a:lnTo>
                            <a:pt x="147" y="58"/>
                          </a:lnTo>
                          <a:lnTo>
                            <a:pt x="142" y="43"/>
                          </a:lnTo>
                          <a:lnTo>
                            <a:pt x="133" y="28"/>
                          </a:lnTo>
                          <a:lnTo>
                            <a:pt x="121" y="17"/>
                          </a:lnTo>
                          <a:lnTo>
                            <a:pt x="107" y="8"/>
                          </a:lnTo>
                          <a:lnTo>
                            <a:pt x="92" y="2"/>
                          </a:lnTo>
                          <a:lnTo>
                            <a:pt x="74" y="0"/>
                          </a:lnTo>
                          <a:lnTo>
                            <a:pt x="57" y="2"/>
                          </a:lnTo>
                          <a:lnTo>
                            <a:pt x="41" y="8"/>
                          </a:lnTo>
                          <a:lnTo>
                            <a:pt x="27" y="17"/>
                          </a:lnTo>
                          <a:lnTo>
                            <a:pt x="16" y="28"/>
                          </a:lnTo>
                          <a:lnTo>
                            <a:pt x="8" y="43"/>
                          </a:lnTo>
                          <a:lnTo>
                            <a:pt x="1" y="58"/>
                          </a:lnTo>
                          <a:lnTo>
                            <a:pt x="0" y="76"/>
                          </a:lnTo>
                          <a:lnTo>
                            <a:pt x="1" y="93"/>
                          </a:lnTo>
                          <a:lnTo>
                            <a:pt x="8" y="109"/>
                          </a:lnTo>
                          <a:lnTo>
                            <a:pt x="16" y="123"/>
                          </a:lnTo>
                          <a:lnTo>
                            <a:pt x="27" y="134"/>
                          </a:lnTo>
                          <a:lnTo>
                            <a:pt x="41" y="143"/>
                          </a:lnTo>
                          <a:lnTo>
                            <a:pt x="57" y="149"/>
                          </a:lnTo>
                          <a:lnTo>
                            <a:pt x="74" y="151"/>
                          </a:lnTo>
                          <a:lnTo>
                            <a:pt x="92" y="149"/>
                          </a:lnTo>
                          <a:lnTo>
                            <a:pt x="107" y="143"/>
                          </a:lnTo>
                          <a:lnTo>
                            <a:pt x="121" y="134"/>
                          </a:lnTo>
                          <a:lnTo>
                            <a:pt x="133" y="123"/>
                          </a:lnTo>
                          <a:lnTo>
                            <a:pt x="142" y="109"/>
                          </a:lnTo>
                          <a:lnTo>
                            <a:pt x="147" y="93"/>
                          </a:lnTo>
                          <a:lnTo>
                            <a:pt x="150" y="7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5" name="Freeform 62"/>
                    <p:cNvSpPr>
                      <a:spLocks/>
                    </p:cNvSpPr>
                    <p:nvPr/>
                  </p:nvSpPr>
                  <p:spPr bwMode="auto">
                    <a:xfrm>
                      <a:off x="4856" y="1178"/>
                      <a:ext cx="150" cy="151"/>
                    </a:xfrm>
                    <a:custGeom>
                      <a:avLst/>
                      <a:gdLst>
                        <a:gd name="T0" fmla="*/ 150 w 150"/>
                        <a:gd name="T1" fmla="*/ 76 h 151"/>
                        <a:gd name="T2" fmla="*/ 147 w 150"/>
                        <a:gd name="T3" fmla="*/ 58 h 151"/>
                        <a:gd name="T4" fmla="*/ 142 w 150"/>
                        <a:gd name="T5" fmla="*/ 43 h 151"/>
                        <a:gd name="T6" fmla="*/ 133 w 150"/>
                        <a:gd name="T7" fmla="*/ 28 h 151"/>
                        <a:gd name="T8" fmla="*/ 121 w 150"/>
                        <a:gd name="T9" fmla="*/ 17 h 151"/>
                        <a:gd name="T10" fmla="*/ 107 w 150"/>
                        <a:gd name="T11" fmla="*/ 8 h 151"/>
                        <a:gd name="T12" fmla="*/ 92 w 150"/>
                        <a:gd name="T13" fmla="*/ 2 h 151"/>
                        <a:gd name="T14" fmla="*/ 74 w 150"/>
                        <a:gd name="T15" fmla="*/ 0 h 151"/>
                        <a:gd name="T16" fmla="*/ 57 w 150"/>
                        <a:gd name="T17" fmla="*/ 2 h 151"/>
                        <a:gd name="T18" fmla="*/ 41 w 150"/>
                        <a:gd name="T19" fmla="*/ 8 h 151"/>
                        <a:gd name="T20" fmla="*/ 27 w 150"/>
                        <a:gd name="T21" fmla="*/ 17 h 151"/>
                        <a:gd name="T22" fmla="*/ 16 w 150"/>
                        <a:gd name="T23" fmla="*/ 28 h 151"/>
                        <a:gd name="T24" fmla="*/ 8 w 150"/>
                        <a:gd name="T25" fmla="*/ 43 h 151"/>
                        <a:gd name="T26" fmla="*/ 1 w 150"/>
                        <a:gd name="T27" fmla="*/ 58 h 151"/>
                        <a:gd name="T28" fmla="*/ 0 w 150"/>
                        <a:gd name="T29" fmla="*/ 76 h 151"/>
                        <a:gd name="T30" fmla="*/ 1 w 150"/>
                        <a:gd name="T31" fmla="*/ 93 h 151"/>
                        <a:gd name="T32" fmla="*/ 8 w 150"/>
                        <a:gd name="T33" fmla="*/ 109 h 151"/>
                        <a:gd name="T34" fmla="*/ 16 w 150"/>
                        <a:gd name="T35" fmla="*/ 123 h 151"/>
                        <a:gd name="T36" fmla="*/ 27 w 150"/>
                        <a:gd name="T37" fmla="*/ 134 h 151"/>
                        <a:gd name="T38" fmla="*/ 41 w 150"/>
                        <a:gd name="T39" fmla="*/ 143 h 151"/>
                        <a:gd name="T40" fmla="*/ 57 w 150"/>
                        <a:gd name="T41" fmla="*/ 149 h 151"/>
                        <a:gd name="T42" fmla="*/ 74 w 150"/>
                        <a:gd name="T43" fmla="*/ 151 h 151"/>
                        <a:gd name="T44" fmla="*/ 92 w 150"/>
                        <a:gd name="T45" fmla="*/ 149 h 151"/>
                        <a:gd name="T46" fmla="*/ 107 w 150"/>
                        <a:gd name="T47" fmla="*/ 143 h 151"/>
                        <a:gd name="T48" fmla="*/ 121 w 150"/>
                        <a:gd name="T49" fmla="*/ 134 h 151"/>
                        <a:gd name="T50" fmla="*/ 133 w 150"/>
                        <a:gd name="T51" fmla="*/ 123 h 151"/>
                        <a:gd name="T52" fmla="*/ 142 w 150"/>
                        <a:gd name="T53" fmla="*/ 109 h 151"/>
                        <a:gd name="T54" fmla="*/ 147 w 150"/>
                        <a:gd name="T55" fmla="*/ 93 h 151"/>
                        <a:gd name="T56" fmla="*/ 150 w 150"/>
                        <a:gd name="T57" fmla="*/ 76 h 151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50"/>
                        <a:gd name="T88" fmla="*/ 0 h 151"/>
                        <a:gd name="T89" fmla="*/ 150 w 150"/>
                        <a:gd name="T90" fmla="*/ 151 h 151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50" h="151">
                          <a:moveTo>
                            <a:pt x="150" y="76"/>
                          </a:moveTo>
                          <a:lnTo>
                            <a:pt x="147" y="58"/>
                          </a:lnTo>
                          <a:lnTo>
                            <a:pt x="142" y="43"/>
                          </a:lnTo>
                          <a:lnTo>
                            <a:pt x="133" y="28"/>
                          </a:lnTo>
                          <a:lnTo>
                            <a:pt x="121" y="17"/>
                          </a:lnTo>
                          <a:lnTo>
                            <a:pt x="107" y="8"/>
                          </a:lnTo>
                          <a:lnTo>
                            <a:pt x="92" y="2"/>
                          </a:lnTo>
                          <a:lnTo>
                            <a:pt x="74" y="0"/>
                          </a:lnTo>
                          <a:lnTo>
                            <a:pt x="57" y="2"/>
                          </a:lnTo>
                          <a:lnTo>
                            <a:pt x="41" y="8"/>
                          </a:lnTo>
                          <a:lnTo>
                            <a:pt x="27" y="17"/>
                          </a:lnTo>
                          <a:lnTo>
                            <a:pt x="16" y="28"/>
                          </a:lnTo>
                          <a:lnTo>
                            <a:pt x="8" y="43"/>
                          </a:lnTo>
                          <a:lnTo>
                            <a:pt x="1" y="58"/>
                          </a:lnTo>
                          <a:lnTo>
                            <a:pt x="0" y="76"/>
                          </a:lnTo>
                          <a:lnTo>
                            <a:pt x="1" y="93"/>
                          </a:lnTo>
                          <a:lnTo>
                            <a:pt x="8" y="109"/>
                          </a:lnTo>
                          <a:lnTo>
                            <a:pt x="16" y="123"/>
                          </a:lnTo>
                          <a:lnTo>
                            <a:pt x="27" y="134"/>
                          </a:lnTo>
                          <a:lnTo>
                            <a:pt x="41" y="143"/>
                          </a:lnTo>
                          <a:lnTo>
                            <a:pt x="57" y="149"/>
                          </a:lnTo>
                          <a:lnTo>
                            <a:pt x="74" y="151"/>
                          </a:lnTo>
                          <a:lnTo>
                            <a:pt x="92" y="149"/>
                          </a:lnTo>
                          <a:lnTo>
                            <a:pt x="107" y="143"/>
                          </a:lnTo>
                          <a:lnTo>
                            <a:pt x="121" y="134"/>
                          </a:lnTo>
                          <a:lnTo>
                            <a:pt x="133" y="123"/>
                          </a:lnTo>
                          <a:lnTo>
                            <a:pt x="142" y="109"/>
                          </a:lnTo>
                          <a:lnTo>
                            <a:pt x="147" y="93"/>
                          </a:lnTo>
                          <a:lnTo>
                            <a:pt x="150" y="7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6" name="Freeform 63"/>
                    <p:cNvSpPr>
                      <a:spLocks/>
                    </p:cNvSpPr>
                    <p:nvPr/>
                  </p:nvSpPr>
                  <p:spPr bwMode="auto">
                    <a:xfrm>
                      <a:off x="4398" y="2753"/>
                      <a:ext cx="148" cy="148"/>
                    </a:xfrm>
                    <a:custGeom>
                      <a:avLst/>
                      <a:gdLst>
                        <a:gd name="T0" fmla="*/ 148 w 148"/>
                        <a:gd name="T1" fmla="*/ 74 h 148"/>
                        <a:gd name="T2" fmla="*/ 147 w 148"/>
                        <a:gd name="T3" fmla="*/ 57 h 148"/>
                        <a:gd name="T4" fmla="*/ 140 w 148"/>
                        <a:gd name="T5" fmla="*/ 42 h 148"/>
                        <a:gd name="T6" fmla="*/ 132 w 148"/>
                        <a:gd name="T7" fmla="*/ 28 h 148"/>
                        <a:gd name="T8" fmla="*/ 121 w 148"/>
                        <a:gd name="T9" fmla="*/ 17 h 148"/>
                        <a:gd name="T10" fmla="*/ 106 w 148"/>
                        <a:gd name="T11" fmla="*/ 8 h 148"/>
                        <a:gd name="T12" fmla="*/ 92 w 148"/>
                        <a:gd name="T13" fmla="*/ 2 h 148"/>
                        <a:gd name="T14" fmla="*/ 74 w 148"/>
                        <a:gd name="T15" fmla="*/ 0 h 148"/>
                        <a:gd name="T16" fmla="*/ 57 w 148"/>
                        <a:gd name="T17" fmla="*/ 2 h 148"/>
                        <a:gd name="T18" fmla="*/ 42 w 148"/>
                        <a:gd name="T19" fmla="*/ 8 h 148"/>
                        <a:gd name="T20" fmla="*/ 28 w 148"/>
                        <a:gd name="T21" fmla="*/ 17 h 148"/>
                        <a:gd name="T22" fmla="*/ 17 w 148"/>
                        <a:gd name="T23" fmla="*/ 28 h 148"/>
                        <a:gd name="T24" fmla="*/ 8 w 148"/>
                        <a:gd name="T25" fmla="*/ 42 h 148"/>
                        <a:gd name="T26" fmla="*/ 2 w 148"/>
                        <a:gd name="T27" fmla="*/ 57 h 148"/>
                        <a:gd name="T28" fmla="*/ 0 w 148"/>
                        <a:gd name="T29" fmla="*/ 74 h 148"/>
                        <a:gd name="T30" fmla="*/ 2 w 148"/>
                        <a:gd name="T31" fmla="*/ 92 h 148"/>
                        <a:gd name="T32" fmla="*/ 8 w 148"/>
                        <a:gd name="T33" fmla="*/ 107 h 148"/>
                        <a:gd name="T34" fmla="*/ 17 w 148"/>
                        <a:gd name="T35" fmla="*/ 121 h 148"/>
                        <a:gd name="T36" fmla="*/ 28 w 148"/>
                        <a:gd name="T37" fmla="*/ 132 h 148"/>
                        <a:gd name="T38" fmla="*/ 42 w 148"/>
                        <a:gd name="T39" fmla="*/ 140 h 148"/>
                        <a:gd name="T40" fmla="*/ 57 w 148"/>
                        <a:gd name="T41" fmla="*/ 147 h 148"/>
                        <a:gd name="T42" fmla="*/ 74 w 148"/>
                        <a:gd name="T43" fmla="*/ 148 h 148"/>
                        <a:gd name="T44" fmla="*/ 92 w 148"/>
                        <a:gd name="T45" fmla="*/ 147 h 148"/>
                        <a:gd name="T46" fmla="*/ 106 w 148"/>
                        <a:gd name="T47" fmla="*/ 140 h 148"/>
                        <a:gd name="T48" fmla="*/ 121 w 148"/>
                        <a:gd name="T49" fmla="*/ 132 h 148"/>
                        <a:gd name="T50" fmla="*/ 132 w 148"/>
                        <a:gd name="T51" fmla="*/ 121 h 148"/>
                        <a:gd name="T52" fmla="*/ 140 w 148"/>
                        <a:gd name="T53" fmla="*/ 107 h 148"/>
                        <a:gd name="T54" fmla="*/ 147 w 148"/>
                        <a:gd name="T55" fmla="*/ 92 h 148"/>
                        <a:gd name="T56" fmla="*/ 148 w 148"/>
                        <a:gd name="T57" fmla="*/ 74 h 148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48"/>
                        <a:gd name="T88" fmla="*/ 0 h 148"/>
                        <a:gd name="T89" fmla="*/ 148 w 148"/>
                        <a:gd name="T90" fmla="*/ 148 h 148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48" h="148">
                          <a:moveTo>
                            <a:pt x="148" y="74"/>
                          </a:moveTo>
                          <a:lnTo>
                            <a:pt x="147" y="57"/>
                          </a:lnTo>
                          <a:lnTo>
                            <a:pt x="140" y="42"/>
                          </a:lnTo>
                          <a:lnTo>
                            <a:pt x="132" y="28"/>
                          </a:lnTo>
                          <a:lnTo>
                            <a:pt x="121" y="17"/>
                          </a:lnTo>
                          <a:lnTo>
                            <a:pt x="106" y="8"/>
                          </a:lnTo>
                          <a:lnTo>
                            <a:pt x="92" y="2"/>
                          </a:lnTo>
                          <a:lnTo>
                            <a:pt x="74" y="0"/>
                          </a:lnTo>
                          <a:lnTo>
                            <a:pt x="57" y="2"/>
                          </a:lnTo>
                          <a:lnTo>
                            <a:pt x="42" y="8"/>
                          </a:lnTo>
                          <a:lnTo>
                            <a:pt x="28" y="17"/>
                          </a:lnTo>
                          <a:lnTo>
                            <a:pt x="17" y="28"/>
                          </a:lnTo>
                          <a:lnTo>
                            <a:pt x="8" y="42"/>
                          </a:lnTo>
                          <a:lnTo>
                            <a:pt x="2" y="57"/>
                          </a:lnTo>
                          <a:lnTo>
                            <a:pt x="0" y="74"/>
                          </a:lnTo>
                          <a:lnTo>
                            <a:pt x="2" y="92"/>
                          </a:lnTo>
                          <a:lnTo>
                            <a:pt x="8" y="107"/>
                          </a:lnTo>
                          <a:lnTo>
                            <a:pt x="17" y="121"/>
                          </a:lnTo>
                          <a:lnTo>
                            <a:pt x="28" y="132"/>
                          </a:lnTo>
                          <a:lnTo>
                            <a:pt x="42" y="140"/>
                          </a:lnTo>
                          <a:lnTo>
                            <a:pt x="57" y="147"/>
                          </a:lnTo>
                          <a:lnTo>
                            <a:pt x="74" y="148"/>
                          </a:lnTo>
                          <a:lnTo>
                            <a:pt x="92" y="147"/>
                          </a:lnTo>
                          <a:lnTo>
                            <a:pt x="106" y="140"/>
                          </a:lnTo>
                          <a:lnTo>
                            <a:pt x="121" y="132"/>
                          </a:lnTo>
                          <a:lnTo>
                            <a:pt x="132" y="121"/>
                          </a:lnTo>
                          <a:lnTo>
                            <a:pt x="140" y="107"/>
                          </a:lnTo>
                          <a:lnTo>
                            <a:pt x="147" y="92"/>
                          </a:lnTo>
                          <a:lnTo>
                            <a:pt x="148" y="7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7" name="Freeform 64"/>
                    <p:cNvSpPr>
                      <a:spLocks/>
                    </p:cNvSpPr>
                    <p:nvPr/>
                  </p:nvSpPr>
                  <p:spPr bwMode="auto">
                    <a:xfrm>
                      <a:off x="4398" y="2753"/>
                      <a:ext cx="148" cy="148"/>
                    </a:xfrm>
                    <a:custGeom>
                      <a:avLst/>
                      <a:gdLst>
                        <a:gd name="T0" fmla="*/ 148 w 148"/>
                        <a:gd name="T1" fmla="*/ 74 h 148"/>
                        <a:gd name="T2" fmla="*/ 147 w 148"/>
                        <a:gd name="T3" fmla="*/ 57 h 148"/>
                        <a:gd name="T4" fmla="*/ 140 w 148"/>
                        <a:gd name="T5" fmla="*/ 42 h 148"/>
                        <a:gd name="T6" fmla="*/ 132 w 148"/>
                        <a:gd name="T7" fmla="*/ 28 h 148"/>
                        <a:gd name="T8" fmla="*/ 121 w 148"/>
                        <a:gd name="T9" fmla="*/ 17 h 148"/>
                        <a:gd name="T10" fmla="*/ 106 w 148"/>
                        <a:gd name="T11" fmla="*/ 8 h 148"/>
                        <a:gd name="T12" fmla="*/ 92 w 148"/>
                        <a:gd name="T13" fmla="*/ 2 h 148"/>
                        <a:gd name="T14" fmla="*/ 74 w 148"/>
                        <a:gd name="T15" fmla="*/ 0 h 148"/>
                        <a:gd name="T16" fmla="*/ 57 w 148"/>
                        <a:gd name="T17" fmla="*/ 2 h 148"/>
                        <a:gd name="T18" fmla="*/ 42 w 148"/>
                        <a:gd name="T19" fmla="*/ 8 h 148"/>
                        <a:gd name="T20" fmla="*/ 28 w 148"/>
                        <a:gd name="T21" fmla="*/ 17 h 148"/>
                        <a:gd name="T22" fmla="*/ 17 w 148"/>
                        <a:gd name="T23" fmla="*/ 28 h 148"/>
                        <a:gd name="T24" fmla="*/ 8 w 148"/>
                        <a:gd name="T25" fmla="*/ 42 h 148"/>
                        <a:gd name="T26" fmla="*/ 2 w 148"/>
                        <a:gd name="T27" fmla="*/ 57 h 148"/>
                        <a:gd name="T28" fmla="*/ 0 w 148"/>
                        <a:gd name="T29" fmla="*/ 74 h 148"/>
                        <a:gd name="T30" fmla="*/ 2 w 148"/>
                        <a:gd name="T31" fmla="*/ 92 h 148"/>
                        <a:gd name="T32" fmla="*/ 8 w 148"/>
                        <a:gd name="T33" fmla="*/ 107 h 148"/>
                        <a:gd name="T34" fmla="*/ 17 w 148"/>
                        <a:gd name="T35" fmla="*/ 121 h 148"/>
                        <a:gd name="T36" fmla="*/ 28 w 148"/>
                        <a:gd name="T37" fmla="*/ 132 h 148"/>
                        <a:gd name="T38" fmla="*/ 42 w 148"/>
                        <a:gd name="T39" fmla="*/ 140 h 148"/>
                        <a:gd name="T40" fmla="*/ 57 w 148"/>
                        <a:gd name="T41" fmla="*/ 147 h 148"/>
                        <a:gd name="T42" fmla="*/ 74 w 148"/>
                        <a:gd name="T43" fmla="*/ 148 h 148"/>
                        <a:gd name="T44" fmla="*/ 92 w 148"/>
                        <a:gd name="T45" fmla="*/ 147 h 148"/>
                        <a:gd name="T46" fmla="*/ 106 w 148"/>
                        <a:gd name="T47" fmla="*/ 140 h 148"/>
                        <a:gd name="T48" fmla="*/ 121 w 148"/>
                        <a:gd name="T49" fmla="*/ 132 h 148"/>
                        <a:gd name="T50" fmla="*/ 132 w 148"/>
                        <a:gd name="T51" fmla="*/ 121 h 148"/>
                        <a:gd name="T52" fmla="*/ 140 w 148"/>
                        <a:gd name="T53" fmla="*/ 107 h 148"/>
                        <a:gd name="T54" fmla="*/ 147 w 148"/>
                        <a:gd name="T55" fmla="*/ 92 h 148"/>
                        <a:gd name="T56" fmla="*/ 148 w 148"/>
                        <a:gd name="T57" fmla="*/ 74 h 148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48"/>
                        <a:gd name="T88" fmla="*/ 0 h 148"/>
                        <a:gd name="T89" fmla="*/ 148 w 148"/>
                        <a:gd name="T90" fmla="*/ 148 h 148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48" h="148">
                          <a:moveTo>
                            <a:pt x="148" y="74"/>
                          </a:moveTo>
                          <a:lnTo>
                            <a:pt x="147" y="57"/>
                          </a:lnTo>
                          <a:lnTo>
                            <a:pt x="140" y="42"/>
                          </a:lnTo>
                          <a:lnTo>
                            <a:pt x="132" y="28"/>
                          </a:lnTo>
                          <a:lnTo>
                            <a:pt x="121" y="17"/>
                          </a:lnTo>
                          <a:lnTo>
                            <a:pt x="106" y="8"/>
                          </a:lnTo>
                          <a:lnTo>
                            <a:pt x="92" y="2"/>
                          </a:lnTo>
                          <a:lnTo>
                            <a:pt x="74" y="0"/>
                          </a:lnTo>
                          <a:lnTo>
                            <a:pt x="57" y="2"/>
                          </a:lnTo>
                          <a:lnTo>
                            <a:pt x="42" y="8"/>
                          </a:lnTo>
                          <a:lnTo>
                            <a:pt x="28" y="17"/>
                          </a:lnTo>
                          <a:lnTo>
                            <a:pt x="17" y="28"/>
                          </a:lnTo>
                          <a:lnTo>
                            <a:pt x="8" y="42"/>
                          </a:lnTo>
                          <a:lnTo>
                            <a:pt x="2" y="57"/>
                          </a:lnTo>
                          <a:lnTo>
                            <a:pt x="0" y="74"/>
                          </a:lnTo>
                          <a:lnTo>
                            <a:pt x="2" y="92"/>
                          </a:lnTo>
                          <a:lnTo>
                            <a:pt x="8" y="107"/>
                          </a:lnTo>
                          <a:lnTo>
                            <a:pt x="17" y="121"/>
                          </a:lnTo>
                          <a:lnTo>
                            <a:pt x="28" y="132"/>
                          </a:lnTo>
                          <a:lnTo>
                            <a:pt x="42" y="140"/>
                          </a:lnTo>
                          <a:lnTo>
                            <a:pt x="57" y="147"/>
                          </a:lnTo>
                          <a:lnTo>
                            <a:pt x="74" y="148"/>
                          </a:lnTo>
                          <a:lnTo>
                            <a:pt x="92" y="147"/>
                          </a:lnTo>
                          <a:lnTo>
                            <a:pt x="106" y="140"/>
                          </a:lnTo>
                          <a:lnTo>
                            <a:pt x="121" y="132"/>
                          </a:lnTo>
                          <a:lnTo>
                            <a:pt x="132" y="121"/>
                          </a:lnTo>
                          <a:lnTo>
                            <a:pt x="140" y="107"/>
                          </a:lnTo>
                          <a:lnTo>
                            <a:pt x="147" y="92"/>
                          </a:lnTo>
                          <a:lnTo>
                            <a:pt x="148" y="74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8" name="Freeform 65"/>
                    <p:cNvSpPr>
                      <a:spLocks/>
                    </p:cNvSpPr>
                    <p:nvPr/>
                  </p:nvSpPr>
                  <p:spPr bwMode="auto">
                    <a:xfrm>
                      <a:off x="4369" y="2898"/>
                      <a:ext cx="149" cy="148"/>
                    </a:xfrm>
                    <a:custGeom>
                      <a:avLst/>
                      <a:gdLst>
                        <a:gd name="T0" fmla="*/ 149 w 149"/>
                        <a:gd name="T1" fmla="*/ 74 h 148"/>
                        <a:gd name="T2" fmla="*/ 146 w 149"/>
                        <a:gd name="T3" fmla="*/ 57 h 148"/>
                        <a:gd name="T4" fmla="*/ 141 w 149"/>
                        <a:gd name="T5" fmla="*/ 42 h 148"/>
                        <a:gd name="T6" fmla="*/ 132 w 149"/>
                        <a:gd name="T7" fmla="*/ 28 h 148"/>
                        <a:gd name="T8" fmla="*/ 121 w 149"/>
                        <a:gd name="T9" fmla="*/ 17 h 148"/>
                        <a:gd name="T10" fmla="*/ 107 w 149"/>
                        <a:gd name="T11" fmla="*/ 8 h 148"/>
                        <a:gd name="T12" fmla="*/ 91 w 149"/>
                        <a:gd name="T13" fmla="*/ 2 h 148"/>
                        <a:gd name="T14" fmla="*/ 74 w 149"/>
                        <a:gd name="T15" fmla="*/ 0 h 148"/>
                        <a:gd name="T16" fmla="*/ 57 w 149"/>
                        <a:gd name="T17" fmla="*/ 2 h 148"/>
                        <a:gd name="T18" fmla="*/ 42 w 149"/>
                        <a:gd name="T19" fmla="*/ 8 h 148"/>
                        <a:gd name="T20" fmla="*/ 28 w 149"/>
                        <a:gd name="T21" fmla="*/ 17 h 148"/>
                        <a:gd name="T22" fmla="*/ 17 w 149"/>
                        <a:gd name="T23" fmla="*/ 28 h 148"/>
                        <a:gd name="T24" fmla="*/ 8 w 149"/>
                        <a:gd name="T25" fmla="*/ 42 h 148"/>
                        <a:gd name="T26" fmla="*/ 2 w 149"/>
                        <a:gd name="T27" fmla="*/ 57 h 148"/>
                        <a:gd name="T28" fmla="*/ 0 w 149"/>
                        <a:gd name="T29" fmla="*/ 74 h 148"/>
                        <a:gd name="T30" fmla="*/ 2 w 149"/>
                        <a:gd name="T31" fmla="*/ 91 h 148"/>
                        <a:gd name="T32" fmla="*/ 8 w 149"/>
                        <a:gd name="T33" fmla="*/ 106 h 148"/>
                        <a:gd name="T34" fmla="*/ 17 w 149"/>
                        <a:gd name="T35" fmla="*/ 120 h 148"/>
                        <a:gd name="T36" fmla="*/ 28 w 149"/>
                        <a:gd name="T37" fmla="*/ 131 h 148"/>
                        <a:gd name="T38" fmla="*/ 42 w 149"/>
                        <a:gd name="T39" fmla="*/ 140 h 148"/>
                        <a:gd name="T40" fmla="*/ 57 w 149"/>
                        <a:gd name="T41" fmla="*/ 146 h 148"/>
                        <a:gd name="T42" fmla="*/ 74 w 149"/>
                        <a:gd name="T43" fmla="*/ 148 h 148"/>
                        <a:gd name="T44" fmla="*/ 91 w 149"/>
                        <a:gd name="T45" fmla="*/ 146 h 148"/>
                        <a:gd name="T46" fmla="*/ 107 w 149"/>
                        <a:gd name="T47" fmla="*/ 140 h 148"/>
                        <a:gd name="T48" fmla="*/ 121 w 149"/>
                        <a:gd name="T49" fmla="*/ 131 h 148"/>
                        <a:gd name="T50" fmla="*/ 132 w 149"/>
                        <a:gd name="T51" fmla="*/ 120 h 148"/>
                        <a:gd name="T52" fmla="*/ 141 w 149"/>
                        <a:gd name="T53" fmla="*/ 106 h 148"/>
                        <a:gd name="T54" fmla="*/ 146 w 149"/>
                        <a:gd name="T55" fmla="*/ 91 h 148"/>
                        <a:gd name="T56" fmla="*/ 149 w 149"/>
                        <a:gd name="T57" fmla="*/ 74 h 148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49"/>
                        <a:gd name="T88" fmla="*/ 0 h 148"/>
                        <a:gd name="T89" fmla="*/ 149 w 149"/>
                        <a:gd name="T90" fmla="*/ 148 h 148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49" h="148">
                          <a:moveTo>
                            <a:pt x="149" y="74"/>
                          </a:moveTo>
                          <a:lnTo>
                            <a:pt x="146" y="57"/>
                          </a:lnTo>
                          <a:lnTo>
                            <a:pt x="141" y="42"/>
                          </a:lnTo>
                          <a:lnTo>
                            <a:pt x="132" y="28"/>
                          </a:lnTo>
                          <a:lnTo>
                            <a:pt x="121" y="17"/>
                          </a:lnTo>
                          <a:lnTo>
                            <a:pt x="107" y="8"/>
                          </a:lnTo>
                          <a:lnTo>
                            <a:pt x="91" y="2"/>
                          </a:lnTo>
                          <a:lnTo>
                            <a:pt x="74" y="0"/>
                          </a:lnTo>
                          <a:lnTo>
                            <a:pt x="57" y="2"/>
                          </a:lnTo>
                          <a:lnTo>
                            <a:pt x="42" y="8"/>
                          </a:lnTo>
                          <a:lnTo>
                            <a:pt x="28" y="17"/>
                          </a:lnTo>
                          <a:lnTo>
                            <a:pt x="17" y="28"/>
                          </a:lnTo>
                          <a:lnTo>
                            <a:pt x="8" y="42"/>
                          </a:lnTo>
                          <a:lnTo>
                            <a:pt x="2" y="57"/>
                          </a:lnTo>
                          <a:lnTo>
                            <a:pt x="0" y="74"/>
                          </a:lnTo>
                          <a:lnTo>
                            <a:pt x="2" y="91"/>
                          </a:lnTo>
                          <a:lnTo>
                            <a:pt x="8" y="106"/>
                          </a:lnTo>
                          <a:lnTo>
                            <a:pt x="17" y="120"/>
                          </a:lnTo>
                          <a:lnTo>
                            <a:pt x="28" y="131"/>
                          </a:lnTo>
                          <a:lnTo>
                            <a:pt x="42" y="140"/>
                          </a:lnTo>
                          <a:lnTo>
                            <a:pt x="57" y="146"/>
                          </a:lnTo>
                          <a:lnTo>
                            <a:pt x="74" y="148"/>
                          </a:lnTo>
                          <a:lnTo>
                            <a:pt x="91" y="146"/>
                          </a:lnTo>
                          <a:lnTo>
                            <a:pt x="107" y="140"/>
                          </a:lnTo>
                          <a:lnTo>
                            <a:pt x="121" y="131"/>
                          </a:lnTo>
                          <a:lnTo>
                            <a:pt x="132" y="120"/>
                          </a:lnTo>
                          <a:lnTo>
                            <a:pt x="141" y="106"/>
                          </a:lnTo>
                          <a:lnTo>
                            <a:pt x="146" y="91"/>
                          </a:lnTo>
                          <a:lnTo>
                            <a:pt x="149" y="7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09" name="Freeform 66"/>
                    <p:cNvSpPr>
                      <a:spLocks/>
                    </p:cNvSpPr>
                    <p:nvPr/>
                  </p:nvSpPr>
                  <p:spPr bwMode="auto">
                    <a:xfrm>
                      <a:off x="4369" y="2898"/>
                      <a:ext cx="149" cy="148"/>
                    </a:xfrm>
                    <a:custGeom>
                      <a:avLst/>
                      <a:gdLst>
                        <a:gd name="T0" fmla="*/ 149 w 149"/>
                        <a:gd name="T1" fmla="*/ 74 h 148"/>
                        <a:gd name="T2" fmla="*/ 146 w 149"/>
                        <a:gd name="T3" fmla="*/ 57 h 148"/>
                        <a:gd name="T4" fmla="*/ 141 w 149"/>
                        <a:gd name="T5" fmla="*/ 42 h 148"/>
                        <a:gd name="T6" fmla="*/ 132 w 149"/>
                        <a:gd name="T7" fmla="*/ 28 h 148"/>
                        <a:gd name="T8" fmla="*/ 121 w 149"/>
                        <a:gd name="T9" fmla="*/ 17 h 148"/>
                        <a:gd name="T10" fmla="*/ 107 w 149"/>
                        <a:gd name="T11" fmla="*/ 8 h 148"/>
                        <a:gd name="T12" fmla="*/ 91 w 149"/>
                        <a:gd name="T13" fmla="*/ 2 h 148"/>
                        <a:gd name="T14" fmla="*/ 74 w 149"/>
                        <a:gd name="T15" fmla="*/ 0 h 148"/>
                        <a:gd name="T16" fmla="*/ 57 w 149"/>
                        <a:gd name="T17" fmla="*/ 2 h 148"/>
                        <a:gd name="T18" fmla="*/ 42 w 149"/>
                        <a:gd name="T19" fmla="*/ 8 h 148"/>
                        <a:gd name="T20" fmla="*/ 28 w 149"/>
                        <a:gd name="T21" fmla="*/ 17 h 148"/>
                        <a:gd name="T22" fmla="*/ 17 w 149"/>
                        <a:gd name="T23" fmla="*/ 28 h 148"/>
                        <a:gd name="T24" fmla="*/ 8 w 149"/>
                        <a:gd name="T25" fmla="*/ 42 h 148"/>
                        <a:gd name="T26" fmla="*/ 2 w 149"/>
                        <a:gd name="T27" fmla="*/ 57 h 148"/>
                        <a:gd name="T28" fmla="*/ 0 w 149"/>
                        <a:gd name="T29" fmla="*/ 74 h 148"/>
                        <a:gd name="T30" fmla="*/ 2 w 149"/>
                        <a:gd name="T31" fmla="*/ 91 h 148"/>
                        <a:gd name="T32" fmla="*/ 8 w 149"/>
                        <a:gd name="T33" fmla="*/ 106 h 148"/>
                        <a:gd name="T34" fmla="*/ 17 w 149"/>
                        <a:gd name="T35" fmla="*/ 120 h 148"/>
                        <a:gd name="T36" fmla="*/ 28 w 149"/>
                        <a:gd name="T37" fmla="*/ 131 h 148"/>
                        <a:gd name="T38" fmla="*/ 42 w 149"/>
                        <a:gd name="T39" fmla="*/ 140 h 148"/>
                        <a:gd name="T40" fmla="*/ 57 w 149"/>
                        <a:gd name="T41" fmla="*/ 146 h 148"/>
                        <a:gd name="T42" fmla="*/ 74 w 149"/>
                        <a:gd name="T43" fmla="*/ 148 h 148"/>
                        <a:gd name="T44" fmla="*/ 91 w 149"/>
                        <a:gd name="T45" fmla="*/ 146 h 148"/>
                        <a:gd name="T46" fmla="*/ 107 w 149"/>
                        <a:gd name="T47" fmla="*/ 140 h 148"/>
                        <a:gd name="T48" fmla="*/ 121 w 149"/>
                        <a:gd name="T49" fmla="*/ 131 h 148"/>
                        <a:gd name="T50" fmla="*/ 132 w 149"/>
                        <a:gd name="T51" fmla="*/ 120 h 148"/>
                        <a:gd name="T52" fmla="*/ 141 w 149"/>
                        <a:gd name="T53" fmla="*/ 106 h 148"/>
                        <a:gd name="T54" fmla="*/ 146 w 149"/>
                        <a:gd name="T55" fmla="*/ 91 h 148"/>
                        <a:gd name="T56" fmla="*/ 149 w 149"/>
                        <a:gd name="T57" fmla="*/ 74 h 148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49"/>
                        <a:gd name="T88" fmla="*/ 0 h 148"/>
                        <a:gd name="T89" fmla="*/ 149 w 149"/>
                        <a:gd name="T90" fmla="*/ 148 h 148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49" h="148">
                          <a:moveTo>
                            <a:pt x="149" y="74"/>
                          </a:moveTo>
                          <a:lnTo>
                            <a:pt x="146" y="57"/>
                          </a:lnTo>
                          <a:lnTo>
                            <a:pt x="141" y="42"/>
                          </a:lnTo>
                          <a:lnTo>
                            <a:pt x="132" y="28"/>
                          </a:lnTo>
                          <a:lnTo>
                            <a:pt x="121" y="17"/>
                          </a:lnTo>
                          <a:lnTo>
                            <a:pt x="107" y="8"/>
                          </a:lnTo>
                          <a:lnTo>
                            <a:pt x="91" y="2"/>
                          </a:lnTo>
                          <a:lnTo>
                            <a:pt x="74" y="0"/>
                          </a:lnTo>
                          <a:lnTo>
                            <a:pt x="57" y="2"/>
                          </a:lnTo>
                          <a:lnTo>
                            <a:pt x="42" y="8"/>
                          </a:lnTo>
                          <a:lnTo>
                            <a:pt x="28" y="17"/>
                          </a:lnTo>
                          <a:lnTo>
                            <a:pt x="17" y="28"/>
                          </a:lnTo>
                          <a:lnTo>
                            <a:pt x="8" y="42"/>
                          </a:lnTo>
                          <a:lnTo>
                            <a:pt x="2" y="57"/>
                          </a:lnTo>
                          <a:lnTo>
                            <a:pt x="0" y="74"/>
                          </a:lnTo>
                          <a:lnTo>
                            <a:pt x="2" y="91"/>
                          </a:lnTo>
                          <a:lnTo>
                            <a:pt x="8" y="106"/>
                          </a:lnTo>
                          <a:lnTo>
                            <a:pt x="17" y="120"/>
                          </a:lnTo>
                          <a:lnTo>
                            <a:pt x="28" y="131"/>
                          </a:lnTo>
                          <a:lnTo>
                            <a:pt x="42" y="140"/>
                          </a:lnTo>
                          <a:lnTo>
                            <a:pt x="57" y="146"/>
                          </a:lnTo>
                          <a:lnTo>
                            <a:pt x="74" y="148"/>
                          </a:lnTo>
                          <a:lnTo>
                            <a:pt x="91" y="146"/>
                          </a:lnTo>
                          <a:lnTo>
                            <a:pt x="107" y="140"/>
                          </a:lnTo>
                          <a:lnTo>
                            <a:pt x="121" y="131"/>
                          </a:lnTo>
                          <a:lnTo>
                            <a:pt x="132" y="120"/>
                          </a:lnTo>
                          <a:lnTo>
                            <a:pt x="141" y="106"/>
                          </a:lnTo>
                          <a:lnTo>
                            <a:pt x="146" y="91"/>
                          </a:lnTo>
                          <a:lnTo>
                            <a:pt x="149" y="74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0" name="Freeform 67"/>
                    <p:cNvSpPr>
                      <a:spLocks/>
                    </p:cNvSpPr>
                    <p:nvPr/>
                  </p:nvSpPr>
                  <p:spPr bwMode="auto">
                    <a:xfrm>
                      <a:off x="4570" y="2805"/>
                      <a:ext cx="147" cy="147"/>
                    </a:xfrm>
                    <a:custGeom>
                      <a:avLst/>
                      <a:gdLst>
                        <a:gd name="T0" fmla="*/ 147 w 147"/>
                        <a:gd name="T1" fmla="*/ 74 h 147"/>
                        <a:gd name="T2" fmla="*/ 146 w 147"/>
                        <a:gd name="T3" fmla="*/ 57 h 147"/>
                        <a:gd name="T4" fmla="*/ 140 w 147"/>
                        <a:gd name="T5" fmla="*/ 42 h 147"/>
                        <a:gd name="T6" fmla="*/ 131 w 147"/>
                        <a:gd name="T7" fmla="*/ 28 h 147"/>
                        <a:gd name="T8" fmla="*/ 120 w 147"/>
                        <a:gd name="T9" fmla="*/ 17 h 147"/>
                        <a:gd name="T10" fmla="*/ 106 w 147"/>
                        <a:gd name="T11" fmla="*/ 8 h 147"/>
                        <a:gd name="T12" fmla="*/ 91 w 147"/>
                        <a:gd name="T13" fmla="*/ 2 h 147"/>
                        <a:gd name="T14" fmla="*/ 74 w 147"/>
                        <a:gd name="T15" fmla="*/ 0 h 147"/>
                        <a:gd name="T16" fmla="*/ 56 w 147"/>
                        <a:gd name="T17" fmla="*/ 2 h 147"/>
                        <a:gd name="T18" fmla="*/ 41 w 147"/>
                        <a:gd name="T19" fmla="*/ 8 h 147"/>
                        <a:gd name="T20" fmla="*/ 27 w 147"/>
                        <a:gd name="T21" fmla="*/ 17 h 147"/>
                        <a:gd name="T22" fmla="*/ 16 w 147"/>
                        <a:gd name="T23" fmla="*/ 28 h 147"/>
                        <a:gd name="T24" fmla="*/ 8 w 147"/>
                        <a:gd name="T25" fmla="*/ 42 h 147"/>
                        <a:gd name="T26" fmla="*/ 1 w 147"/>
                        <a:gd name="T27" fmla="*/ 57 h 147"/>
                        <a:gd name="T28" fmla="*/ 0 w 147"/>
                        <a:gd name="T29" fmla="*/ 74 h 147"/>
                        <a:gd name="T30" fmla="*/ 1 w 147"/>
                        <a:gd name="T31" fmla="*/ 91 h 147"/>
                        <a:gd name="T32" fmla="*/ 8 w 147"/>
                        <a:gd name="T33" fmla="*/ 106 h 147"/>
                        <a:gd name="T34" fmla="*/ 16 w 147"/>
                        <a:gd name="T35" fmla="*/ 120 h 147"/>
                        <a:gd name="T36" fmla="*/ 27 w 147"/>
                        <a:gd name="T37" fmla="*/ 131 h 147"/>
                        <a:gd name="T38" fmla="*/ 41 w 147"/>
                        <a:gd name="T39" fmla="*/ 139 h 147"/>
                        <a:gd name="T40" fmla="*/ 56 w 147"/>
                        <a:gd name="T41" fmla="*/ 146 h 147"/>
                        <a:gd name="T42" fmla="*/ 74 w 147"/>
                        <a:gd name="T43" fmla="*/ 147 h 147"/>
                        <a:gd name="T44" fmla="*/ 91 w 147"/>
                        <a:gd name="T45" fmla="*/ 146 h 147"/>
                        <a:gd name="T46" fmla="*/ 106 w 147"/>
                        <a:gd name="T47" fmla="*/ 139 h 147"/>
                        <a:gd name="T48" fmla="*/ 120 w 147"/>
                        <a:gd name="T49" fmla="*/ 131 h 147"/>
                        <a:gd name="T50" fmla="*/ 131 w 147"/>
                        <a:gd name="T51" fmla="*/ 120 h 147"/>
                        <a:gd name="T52" fmla="*/ 140 w 147"/>
                        <a:gd name="T53" fmla="*/ 106 h 147"/>
                        <a:gd name="T54" fmla="*/ 146 w 147"/>
                        <a:gd name="T55" fmla="*/ 91 h 147"/>
                        <a:gd name="T56" fmla="*/ 147 w 147"/>
                        <a:gd name="T57" fmla="*/ 74 h 147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47"/>
                        <a:gd name="T88" fmla="*/ 0 h 147"/>
                        <a:gd name="T89" fmla="*/ 147 w 147"/>
                        <a:gd name="T90" fmla="*/ 147 h 147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47" h="147">
                          <a:moveTo>
                            <a:pt x="147" y="74"/>
                          </a:moveTo>
                          <a:lnTo>
                            <a:pt x="146" y="57"/>
                          </a:lnTo>
                          <a:lnTo>
                            <a:pt x="140" y="42"/>
                          </a:lnTo>
                          <a:lnTo>
                            <a:pt x="131" y="28"/>
                          </a:lnTo>
                          <a:lnTo>
                            <a:pt x="120" y="17"/>
                          </a:lnTo>
                          <a:lnTo>
                            <a:pt x="106" y="8"/>
                          </a:lnTo>
                          <a:lnTo>
                            <a:pt x="91" y="2"/>
                          </a:lnTo>
                          <a:lnTo>
                            <a:pt x="74" y="0"/>
                          </a:lnTo>
                          <a:lnTo>
                            <a:pt x="56" y="2"/>
                          </a:lnTo>
                          <a:lnTo>
                            <a:pt x="41" y="8"/>
                          </a:lnTo>
                          <a:lnTo>
                            <a:pt x="27" y="17"/>
                          </a:lnTo>
                          <a:lnTo>
                            <a:pt x="16" y="28"/>
                          </a:lnTo>
                          <a:lnTo>
                            <a:pt x="8" y="42"/>
                          </a:lnTo>
                          <a:lnTo>
                            <a:pt x="1" y="57"/>
                          </a:lnTo>
                          <a:lnTo>
                            <a:pt x="0" y="74"/>
                          </a:lnTo>
                          <a:lnTo>
                            <a:pt x="1" y="91"/>
                          </a:lnTo>
                          <a:lnTo>
                            <a:pt x="8" y="106"/>
                          </a:lnTo>
                          <a:lnTo>
                            <a:pt x="16" y="120"/>
                          </a:lnTo>
                          <a:lnTo>
                            <a:pt x="27" y="131"/>
                          </a:lnTo>
                          <a:lnTo>
                            <a:pt x="41" y="139"/>
                          </a:lnTo>
                          <a:lnTo>
                            <a:pt x="56" y="146"/>
                          </a:lnTo>
                          <a:lnTo>
                            <a:pt x="74" y="147"/>
                          </a:lnTo>
                          <a:lnTo>
                            <a:pt x="91" y="146"/>
                          </a:lnTo>
                          <a:lnTo>
                            <a:pt x="106" y="139"/>
                          </a:lnTo>
                          <a:lnTo>
                            <a:pt x="120" y="131"/>
                          </a:lnTo>
                          <a:lnTo>
                            <a:pt x="131" y="120"/>
                          </a:lnTo>
                          <a:lnTo>
                            <a:pt x="140" y="106"/>
                          </a:lnTo>
                          <a:lnTo>
                            <a:pt x="146" y="91"/>
                          </a:lnTo>
                          <a:lnTo>
                            <a:pt x="147" y="7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1" name="Freeform 68"/>
                    <p:cNvSpPr>
                      <a:spLocks/>
                    </p:cNvSpPr>
                    <p:nvPr/>
                  </p:nvSpPr>
                  <p:spPr bwMode="auto">
                    <a:xfrm>
                      <a:off x="4570" y="2805"/>
                      <a:ext cx="147" cy="147"/>
                    </a:xfrm>
                    <a:custGeom>
                      <a:avLst/>
                      <a:gdLst>
                        <a:gd name="T0" fmla="*/ 147 w 147"/>
                        <a:gd name="T1" fmla="*/ 74 h 147"/>
                        <a:gd name="T2" fmla="*/ 146 w 147"/>
                        <a:gd name="T3" fmla="*/ 57 h 147"/>
                        <a:gd name="T4" fmla="*/ 140 w 147"/>
                        <a:gd name="T5" fmla="*/ 42 h 147"/>
                        <a:gd name="T6" fmla="*/ 131 w 147"/>
                        <a:gd name="T7" fmla="*/ 28 h 147"/>
                        <a:gd name="T8" fmla="*/ 120 w 147"/>
                        <a:gd name="T9" fmla="*/ 17 h 147"/>
                        <a:gd name="T10" fmla="*/ 106 w 147"/>
                        <a:gd name="T11" fmla="*/ 8 h 147"/>
                        <a:gd name="T12" fmla="*/ 91 w 147"/>
                        <a:gd name="T13" fmla="*/ 2 h 147"/>
                        <a:gd name="T14" fmla="*/ 74 w 147"/>
                        <a:gd name="T15" fmla="*/ 0 h 147"/>
                        <a:gd name="T16" fmla="*/ 56 w 147"/>
                        <a:gd name="T17" fmla="*/ 2 h 147"/>
                        <a:gd name="T18" fmla="*/ 41 w 147"/>
                        <a:gd name="T19" fmla="*/ 8 h 147"/>
                        <a:gd name="T20" fmla="*/ 27 w 147"/>
                        <a:gd name="T21" fmla="*/ 17 h 147"/>
                        <a:gd name="T22" fmla="*/ 16 w 147"/>
                        <a:gd name="T23" fmla="*/ 28 h 147"/>
                        <a:gd name="T24" fmla="*/ 8 w 147"/>
                        <a:gd name="T25" fmla="*/ 42 h 147"/>
                        <a:gd name="T26" fmla="*/ 1 w 147"/>
                        <a:gd name="T27" fmla="*/ 57 h 147"/>
                        <a:gd name="T28" fmla="*/ 0 w 147"/>
                        <a:gd name="T29" fmla="*/ 74 h 147"/>
                        <a:gd name="T30" fmla="*/ 1 w 147"/>
                        <a:gd name="T31" fmla="*/ 91 h 147"/>
                        <a:gd name="T32" fmla="*/ 8 w 147"/>
                        <a:gd name="T33" fmla="*/ 106 h 147"/>
                        <a:gd name="T34" fmla="*/ 16 w 147"/>
                        <a:gd name="T35" fmla="*/ 120 h 147"/>
                        <a:gd name="T36" fmla="*/ 27 w 147"/>
                        <a:gd name="T37" fmla="*/ 131 h 147"/>
                        <a:gd name="T38" fmla="*/ 41 w 147"/>
                        <a:gd name="T39" fmla="*/ 139 h 147"/>
                        <a:gd name="T40" fmla="*/ 56 w 147"/>
                        <a:gd name="T41" fmla="*/ 146 h 147"/>
                        <a:gd name="T42" fmla="*/ 74 w 147"/>
                        <a:gd name="T43" fmla="*/ 147 h 147"/>
                        <a:gd name="T44" fmla="*/ 91 w 147"/>
                        <a:gd name="T45" fmla="*/ 146 h 147"/>
                        <a:gd name="T46" fmla="*/ 106 w 147"/>
                        <a:gd name="T47" fmla="*/ 139 h 147"/>
                        <a:gd name="T48" fmla="*/ 120 w 147"/>
                        <a:gd name="T49" fmla="*/ 131 h 147"/>
                        <a:gd name="T50" fmla="*/ 131 w 147"/>
                        <a:gd name="T51" fmla="*/ 120 h 147"/>
                        <a:gd name="T52" fmla="*/ 140 w 147"/>
                        <a:gd name="T53" fmla="*/ 106 h 147"/>
                        <a:gd name="T54" fmla="*/ 146 w 147"/>
                        <a:gd name="T55" fmla="*/ 91 h 147"/>
                        <a:gd name="T56" fmla="*/ 147 w 147"/>
                        <a:gd name="T57" fmla="*/ 74 h 147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47"/>
                        <a:gd name="T88" fmla="*/ 0 h 147"/>
                        <a:gd name="T89" fmla="*/ 147 w 147"/>
                        <a:gd name="T90" fmla="*/ 147 h 147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47" h="147">
                          <a:moveTo>
                            <a:pt x="147" y="74"/>
                          </a:moveTo>
                          <a:lnTo>
                            <a:pt x="146" y="57"/>
                          </a:lnTo>
                          <a:lnTo>
                            <a:pt x="140" y="42"/>
                          </a:lnTo>
                          <a:lnTo>
                            <a:pt x="131" y="28"/>
                          </a:lnTo>
                          <a:lnTo>
                            <a:pt x="120" y="17"/>
                          </a:lnTo>
                          <a:lnTo>
                            <a:pt x="106" y="8"/>
                          </a:lnTo>
                          <a:lnTo>
                            <a:pt x="91" y="2"/>
                          </a:lnTo>
                          <a:lnTo>
                            <a:pt x="74" y="0"/>
                          </a:lnTo>
                          <a:lnTo>
                            <a:pt x="56" y="2"/>
                          </a:lnTo>
                          <a:lnTo>
                            <a:pt x="41" y="8"/>
                          </a:lnTo>
                          <a:lnTo>
                            <a:pt x="27" y="17"/>
                          </a:lnTo>
                          <a:lnTo>
                            <a:pt x="16" y="28"/>
                          </a:lnTo>
                          <a:lnTo>
                            <a:pt x="8" y="42"/>
                          </a:lnTo>
                          <a:lnTo>
                            <a:pt x="1" y="57"/>
                          </a:lnTo>
                          <a:lnTo>
                            <a:pt x="0" y="74"/>
                          </a:lnTo>
                          <a:lnTo>
                            <a:pt x="1" y="91"/>
                          </a:lnTo>
                          <a:lnTo>
                            <a:pt x="8" y="106"/>
                          </a:lnTo>
                          <a:lnTo>
                            <a:pt x="16" y="120"/>
                          </a:lnTo>
                          <a:lnTo>
                            <a:pt x="27" y="131"/>
                          </a:lnTo>
                          <a:lnTo>
                            <a:pt x="41" y="139"/>
                          </a:lnTo>
                          <a:lnTo>
                            <a:pt x="56" y="146"/>
                          </a:lnTo>
                          <a:lnTo>
                            <a:pt x="74" y="147"/>
                          </a:lnTo>
                          <a:lnTo>
                            <a:pt x="91" y="146"/>
                          </a:lnTo>
                          <a:lnTo>
                            <a:pt x="106" y="139"/>
                          </a:lnTo>
                          <a:lnTo>
                            <a:pt x="120" y="131"/>
                          </a:lnTo>
                          <a:lnTo>
                            <a:pt x="131" y="120"/>
                          </a:lnTo>
                          <a:lnTo>
                            <a:pt x="140" y="106"/>
                          </a:lnTo>
                          <a:lnTo>
                            <a:pt x="146" y="91"/>
                          </a:lnTo>
                          <a:lnTo>
                            <a:pt x="147" y="74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2" name="Freeform 69"/>
                    <p:cNvSpPr>
                      <a:spLocks/>
                    </p:cNvSpPr>
                    <p:nvPr/>
                  </p:nvSpPr>
                  <p:spPr bwMode="auto">
                    <a:xfrm>
                      <a:off x="5151" y="1755"/>
                      <a:ext cx="146" cy="146"/>
                    </a:xfrm>
                    <a:custGeom>
                      <a:avLst/>
                      <a:gdLst>
                        <a:gd name="T0" fmla="*/ 146 w 146"/>
                        <a:gd name="T1" fmla="*/ 73 h 146"/>
                        <a:gd name="T2" fmla="*/ 145 w 146"/>
                        <a:gd name="T3" fmla="*/ 56 h 146"/>
                        <a:gd name="T4" fmla="*/ 139 w 146"/>
                        <a:gd name="T5" fmla="*/ 41 h 146"/>
                        <a:gd name="T6" fmla="*/ 131 w 146"/>
                        <a:gd name="T7" fmla="*/ 27 h 146"/>
                        <a:gd name="T8" fmla="*/ 119 w 146"/>
                        <a:gd name="T9" fmla="*/ 16 h 146"/>
                        <a:gd name="T10" fmla="*/ 105 w 146"/>
                        <a:gd name="T11" fmla="*/ 7 h 146"/>
                        <a:gd name="T12" fmla="*/ 90 w 146"/>
                        <a:gd name="T13" fmla="*/ 1 h 146"/>
                        <a:gd name="T14" fmla="*/ 73 w 146"/>
                        <a:gd name="T15" fmla="*/ 0 h 146"/>
                        <a:gd name="T16" fmla="*/ 57 w 146"/>
                        <a:gd name="T17" fmla="*/ 1 h 146"/>
                        <a:gd name="T18" fmla="*/ 41 w 146"/>
                        <a:gd name="T19" fmla="*/ 7 h 146"/>
                        <a:gd name="T20" fmla="*/ 28 w 146"/>
                        <a:gd name="T21" fmla="*/ 16 h 146"/>
                        <a:gd name="T22" fmla="*/ 17 w 146"/>
                        <a:gd name="T23" fmla="*/ 27 h 146"/>
                        <a:gd name="T24" fmla="*/ 8 w 146"/>
                        <a:gd name="T25" fmla="*/ 41 h 146"/>
                        <a:gd name="T26" fmla="*/ 2 w 146"/>
                        <a:gd name="T27" fmla="*/ 56 h 146"/>
                        <a:gd name="T28" fmla="*/ 0 w 146"/>
                        <a:gd name="T29" fmla="*/ 73 h 146"/>
                        <a:gd name="T30" fmla="*/ 2 w 146"/>
                        <a:gd name="T31" fmla="*/ 89 h 146"/>
                        <a:gd name="T32" fmla="*/ 8 w 146"/>
                        <a:gd name="T33" fmla="*/ 105 h 146"/>
                        <a:gd name="T34" fmla="*/ 17 w 146"/>
                        <a:gd name="T35" fmla="*/ 118 h 146"/>
                        <a:gd name="T36" fmla="*/ 28 w 146"/>
                        <a:gd name="T37" fmla="*/ 129 h 146"/>
                        <a:gd name="T38" fmla="*/ 41 w 146"/>
                        <a:gd name="T39" fmla="*/ 138 h 146"/>
                        <a:gd name="T40" fmla="*/ 57 w 146"/>
                        <a:gd name="T41" fmla="*/ 144 h 146"/>
                        <a:gd name="T42" fmla="*/ 73 w 146"/>
                        <a:gd name="T43" fmla="*/ 146 h 146"/>
                        <a:gd name="T44" fmla="*/ 90 w 146"/>
                        <a:gd name="T45" fmla="*/ 144 h 146"/>
                        <a:gd name="T46" fmla="*/ 105 w 146"/>
                        <a:gd name="T47" fmla="*/ 138 h 146"/>
                        <a:gd name="T48" fmla="*/ 119 w 146"/>
                        <a:gd name="T49" fmla="*/ 129 h 146"/>
                        <a:gd name="T50" fmla="*/ 131 w 146"/>
                        <a:gd name="T51" fmla="*/ 118 h 146"/>
                        <a:gd name="T52" fmla="*/ 139 w 146"/>
                        <a:gd name="T53" fmla="*/ 105 h 146"/>
                        <a:gd name="T54" fmla="*/ 145 w 146"/>
                        <a:gd name="T55" fmla="*/ 89 h 146"/>
                        <a:gd name="T56" fmla="*/ 146 w 146"/>
                        <a:gd name="T57" fmla="*/ 73 h 14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46"/>
                        <a:gd name="T88" fmla="*/ 0 h 146"/>
                        <a:gd name="T89" fmla="*/ 146 w 146"/>
                        <a:gd name="T90" fmla="*/ 146 h 146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46" h="146">
                          <a:moveTo>
                            <a:pt x="146" y="73"/>
                          </a:moveTo>
                          <a:lnTo>
                            <a:pt x="145" y="56"/>
                          </a:lnTo>
                          <a:lnTo>
                            <a:pt x="139" y="41"/>
                          </a:lnTo>
                          <a:lnTo>
                            <a:pt x="131" y="27"/>
                          </a:lnTo>
                          <a:lnTo>
                            <a:pt x="119" y="16"/>
                          </a:lnTo>
                          <a:lnTo>
                            <a:pt x="105" y="7"/>
                          </a:lnTo>
                          <a:lnTo>
                            <a:pt x="90" y="1"/>
                          </a:lnTo>
                          <a:lnTo>
                            <a:pt x="73" y="0"/>
                          </a:lnTo>
                          <a:lnTo>
                            <a:pt x="57" y="1"/>
                          </a:lnTo>
                          <a:lnTo>
                            <a:pt x="41" y="7"/>
                          </a:lnTo>
                          <a:lnTo>
                            <a:pt x="28" y="16"/>
                          </a:lnTo>
                          <a:lnTo>
                            <a:pt x="17" y="27"/>
                          </a:lnTo>
                          <a:lnTo>
                            <a:pt x="8" y="41"/>
                          </a:lnTo>
                          <a:lnTo>
                            <a:pt x="2" y="56"/>
                          </a:lnTo>
                          <a:lnTo>
                            <a:pt x="0" y="73"/>
                          </a:lnTo>
                          <a:lnTo>
                            <a:pt x="2" y="89"/>
                          </a:lnTo>
                          <a:lnTo>
                            <a:pt x="8" y="105"/>
                          </a:lnTo>
                          <a:lnTo>
                            <a:pt x="17" y="118"/>
                          </a:lnTo>
                          <a:lnTo>
                            <a:pt x="28" y="129"/>
                          </a:lnTo>
                          <a:lnTo>
                            <a:pt x="41" y="138"/>
                          </a:lnTo>
                          <a:lnTo>
                            <a:pt x="57" y="144"/>
                          </a:lnTo>
                          <a:lnTo>
                            <a:pt x="73" y="146"/>
                          </a:lnTo>
                          <a:lnTo>
                            <a:pt x="90" y="144"/>
                          </a:lnTo>
                          <a:lnTo>
                            <a:pt x="105" y="138"/>
                          </a:lnTo>
                          <a:lnTo>
                            <a:pt x="119" y="129"/>
                          </a:lnTo>
                          <a:lnTo>
                            <a:pt x="131" y="118"/>
                          </a:lnTo>
                          <a:lnTo>
                            <a:pt x="139" y="105"/>
                          </a:lnTo>
                          <a:lnTo>
                            <a:pt x="145" y="89"/>
                          </a:lnTo>
                          <a:lnTo>
                            <a:pt x="146" y="7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3" name="Freeform 70"/>
                    <p:cNvSpPr>
                      <a:spLocks/>
                    </p:cNvSpPr>
                    <p:nvPr/>
                  </p:nvSpPr>
                  <p:spPr bwMode="auto">
                    <a:xfrm>
                      <a:off x="5151" y="1755"/>
                      <a:ext cx="146" cy="146"/>
                    </a:xfrm>
                    <a:custGeom>
                      <a:avLst/>
                      <a:gdLst>
                        <a:gd name="T0" fmla="*/ 146 w 146"/>
                        <a:gd name="T1" fmla="*/ 73 h 146"/>
                        <a:gd name="T2" fmla="*/ 145 w 146"/>
                        <a:gd name="T3" fmla="*/ 56 h 146"/>
                        <a:gd name="T4" fmla="*/ 139 w 146"/>
                        <a:gd name="T5" fmla="*/ 41 h 146"/>
                        <a:gd name="T6" fmla="*/ 131 w 146"/>
                        <a:gd name="T7" fmla="*/ 27 h 146"/>
                        <a:gd name="T8" fmla="*/ 119 w 146"/>
                        <a:gd name="T9" fmla="*/ 16 h 146"/>
                        <a:gd name="T10" fmla="*/ 105 w 146"/>
                        <a:gd name="T11" fmla="*/ 7 h 146"/>
                        <a:gd name="T12" fmla="*/ 90 w 146"/>
                        <a:gd name="T13" fmla="*/ 1 h 146"/>
                        <a:gd name="T14" fmla="*/ 73 w 146"/>
                        <a:gd name="T15" fmla="*/ 0 h 146"/>
                        <a:gd name="T16" fmla="*/ 57 w 146"/>
                        <a:gd name="T17" fmla="*/ 1 h 146"/>
                        <a:gd name="T18" fmla="*/ 41 w 146"/>
                        <a:gd name="T19" fmla="*/ 7 h 146"/>
                        <a:gd name="T20" fmla="*/ 28 w 146"/>
                        <a:gd name="T21" fmla="*/ 16 h 146"/>
                        <a:gd name="T22" fmla="*/ 17 w 146"/>
                        <a:gd name="T23" fmla="*/ 27 h 146"/>
                        <a:gd name="T24" fmla="*/ 8 w 146"/>
                        <a:gd name="T25" fmla="*/ 41 h 146"/>
                        <a:gd name="T26" fmla="*/ 2 w 146"/>
                        <a:gd name="T27" fmla="*/ 56 h 146"/>
                        <a:gd name="T28" fmla="*/ 0 w 146"/>
                        <a:gd name="T29" fmla="*/ 73 h 146"/>
                        <a:gd name="T30" fmla="*/ 2 w 146"/>
                        <a:gd name="T31" fmla="*/ 89 h 146"/>
                        <a:gd name="T32" fmla="*/ 8 w 146"/>
                        <a:gd name="T33" fmla="*/ 105 h 146"/>
                        <a:gd name="T34" fmla="*/ 17 w 146"/>
                        <a:gd name="T35" fmla="*/ 118 h 146"/>
                        <a:gd name="T36" fmla="*/ 28 w 146"/>
                        <a:gd name="T37" fmla="*/ 129 h 146"/>
                        <a:gd name="T38" fmla="*/ 41 w 146"/>
                        <a:gd name="T39" fmla="*/ 138 h 146"/>
                        <a:gd name="T40" fmla="*/ 57 w 146"/>
                        <a:gd name="T41" fmla="*/ 144 h 146"/>
                        <a:gd name="T42" fmla="*/ 73 w 146"/>
                        <a:gd name="T43" fmla="*/ 146 h 146"/>
                        <a:gd name="T44" fmla="*/ 90 w 146"/>
                        <a:gd name="T45" fmla="*/ 144 h 146"/>
                        <a:gd name="T46" fmla="*/ 105 w 146"/>
                        <a:gd name="T47" fmla="*/ 138 h 146"/>
                        <a:gd name="T48" fmla="*/ 119 w 146"/>
                        <a:gd name="T49" fmla="*/ 129 h 146"/>
                        <a:gd name="T50" fmla="*/ 131 w 146"/>
                        <a:gd name="T51" fmla="*/ 118 h 146"/>
                        <a:gd name="T52" fmla="*/ 139 w 146"/>
                        <a:gd name="T53" fmla="*/ 105 h 146"/>
                        <a:gd name="T54" fmla="*/ 145 w 146"/>
                        <a:gd name="T55" fmla="*/ 89 h 146"/>
                        <a:gd name="T56" fmla="*/ 146 w 146"/>
                        <a:gd name="T57" fmla="*/ 73 h 14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46"/>
                        <a:gd name="T88" fmla="*/ 0 h 146"/>
                        <a:gd name="T89" fmla="*/ 146 w 146"/>
                        <a:gd name="T90" fmla="*/ 146 h 146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46" h="146">
                          <a:moveTo>
                            <a:pt x="146" y="73"/>
                          </a:moveTo>
                          <a:lnTo>
                            <a:pt x="145" y="56"/>
                          </a:lnTo>
                          <a:lnTo>
                            <a:pt x="139" y="41"/>
                          </a:lnTo>
                          <a:lnTo>
                            <a:pt x="131" y="27"/>
                          </a:lnTo>
                          <a:lnTo>
                            <a:pt x="119" y="16"/>
                          </a:lnTo>
                          <a:lnTo>
                            <a:pt x="105" y="7"/>
                          </a:lnTo>
                          <a:lnTo>
                            <a:pt x="90" y="1"/>
                          </a:lnTo>
                          <a:lnTo>
                            <a:pt x="73" y="0"/>
                          </a:lnTo>
                          <a:lnTo>
                            <a:pt x="57" y="1"/>
                          </a:lnTo>
                          <a:lnTo>
                            <a:pt x="41" y="7"/>
                          </a:lnTo>
                          <a:lnTo>
                            <a:pt x="28" y="16"/>
                          </a:lnTo>
                          <a:lnTo>
                            <a:pt x="17" y="27"/>
                          </a:lnTo>
                          <a:lnTo>
                            <a:pt x="8" y="41"/>
                          </a:lnTo>
                          <a:lnTo>
                            <a:pt x="2" y="56"/>
                          </a:lnTo>
                          <a:lnTo>
                            <a:pt x="0" y="73"/>
                          </a:lnTo>
                          <a:lnTo>
                            <a:pt x="2" y="89"/>
                          </a:lnTo>
                          <a:lnTo>
                            <a:pt x="8" y="105"/>
                          </a:lnTo>
                          <a:lnTo>
                            <a:pt x="17" y="118"/>
                          </a:lnTo>
                          <a:lnTo>
                            <a:pt x="28" y="129"/>
                          </a:lnTo>
                          <a:lnTo>
                            <a:pt x="41" y="138"/>
                          </a:lnTo>
                          <a:lnTo>
                            <a:pt x="57" y="144"/>
                          </a:lnTo>
                          <a:lnTo>
                            <a:pt x="73" y="146"/>
                          </a:lnTo>
                          <a:lnTo>
                            <a:pt x="90" y="144"/>
                          </a:lnTo>
                          <a:lnTo>
                            <a:pt x="105" y="138"/>
                          </a:lnTo>
                          <a:lnTo>
                            <a:pt x="119" y="129"/>
                          </a:lnTo>
                          <a:lnTo>
                            <a:pt x="131" y="118"/>
                          </a:lnTo>
                          <a:lnTo>
                            <a:pt x="139" y="105"/>
                          </a:lnTo>
                          <a:lnTo>
                            <a:pt x="145" y="89"/>
                          </a:lnTo>
                          <a:lnTo>
                            <a:pt x="146" y="7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4" name="Freeform 71"/>
                    <p:cNvSpPr>
                      <a:spLocks/>
                    </p:cNvSpPr>
                    <p:nvPr/>
                  </p:nvSpPr>
                  <p:spPr bwMode="auto">
                    <a:xfrm>
                      <a:off x="4604" y="1066"/>
                      <a:ext cx="137" cy="136"/>
                    </a:xfrm>
                    <a:custGeom>
                      <a:avLst/>
                      <a:gdLst>
                        <a:gd name="T0" fmla="*/ 137 w 137"/>
                        <a:gd name="T1" fmla="*/ 68 h 136"/>
                        <a:gd name="T2" fmla="*/ 135 w 137"/>
                        <a:gd name="T3" fmla="*/ 52 h 136"/>
                        <a:gd name="T4" fmla="*/ 130 w 137"/>
                        <a:gd name="T5" fmla="*/ 38 h 136"/>
                        <a:gd name="T6" fmla="*/ 122 w 137"/>
                        <a:gd name="T7" fmla="*/ 26 h 136"/>
                        <a:gd name="T8" fmla="*/ 111 w 137"/>
                        <a:gd name="T9" fmla="*/ 15 h 136"/>
                        <a:gd name="T10" fmla="*/ 98 w 137"/>
                        <a:gd name="T11" fmla="*/ 7 h 136"/>
                        <a:gd name="T12" fmla="*/ 84 w 137"/>
                        <a:gd name="T13" fmla="*/ 1 h 136"/>
                        <a:gd name="T14" fmla="*/ 69 w 137"/>
                        <a:gd name="T15" fmla="*/ 0 h 136"/>
                        <a:gd name="T16" fmla="*/ 53 w 137"/>
                        <a:gd name="T17" fmla="*/ 1 h 136"/>
                        <a:gd name="T18" fmla="*/ 39 w 137"/>
                        <a:gd name="T19" fmla="*/ 7 h 136"/>
                        <a:gd name="T20" fmla="*/ 26 w 137"/>
                        <a:gd name="T21" fmla="*/ 15 h 136"/>
                        <a:gd name="T22" fmla="*/ 15 w 137"/>
                        <a:gd name="T23" fmla="*/ 26 h 136"/>
                        <a:gd name="T24" fmla="*/ 7 w 137"/>
                        <a:gd name="T25" fmla="*/ 38 h 136"/>
                        <a:gd name="T26" fmla="*/ 2 w 137"/>
                        <a:gd name="T27" fmla="*/ 52 h 136"/>
                        <a:gd name="T28" fmla="*/ 0 w 137"/>
                        <a:gd name="T29" fmla="*/ 68 h 136"/>
                        <a:gd name="T30" fmla="*/ 2 w 137"/>
                        <a:gd name="T31" fmla="*/ 84 h 136"/>
                        <a:gd name="T32" fmla="*/ 7 w 137"/>
                        <a:gd name="T33" fmla="*/ 98 h 136"/>
                        <a:gd name="T34" fmla="*/ 15 w 137"/>
                        <a:gd name="T35" fmla="*/ 111 h 136"/>
                        <a:gd name="T36" fmla="*/ 26 w 137"/>
                        <a:gd name="T37" fmla="*/ 122 h 136"/>
                        <a:gd name="T38" fmla="*/ 39 w 137"/>
                        <a:gd name="T39" fmla="*/ 129 h 136"/>
                        <a:gd name="T40" fmla="*/ 53 w 137"/>
                        <a:gd name="T41" fmla="*/ 135 h 136"/>
                        <a:gd name="T42" fmla="*/ 69 w 137"/>
                        <a:gd name="T43" fmla="*/ 136 h 136"/>
                        <a:gd name="T44" fmla="*/ 84 w 137"/>
                        <a:gd name="T45" fmla="*/ 135 h 136"/>
                        <a:gd name="T46" fmla="*/ 98 w 137"/>
                        <a:gd name="T47" fmla="*/ 129 h 136"/>
                        <a:gd name="T48" fmla="*/ 111 w 137"/>
                        <a:gd name="T49" fmla="*/ 122 h 136"/>
                        <a:gd name="T50" fmla="*/ 122 w 137"/>
                        <a:gd name="T51" fmla="*/ 111 h 136"/>
                        <a:gd name="T52" fmla="*/ 130 w 137"/>
                        <a:gd name="T53" fmla="*/ 98 h 136"/>
                        <a:gd name="T54" fmla="*/ 135 w 137"/>
                        <a:gd name="T55" fmla="*/ 84 h 136"/>
                        <a:gd name="T56" fmla="*/ 137 w 137"/>
                        <a:gd name="T57" fmla="*/ 68 h 1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37"/>
                        <a:gd name="T88" fmla="*/ 0 h 136"/>
                        <a:gd name="T89" fmla="*/ 137 w 137"/>
                        <a:gd name="T90" fmla="*/ 136 h 136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37" h="136">
                          <a:moveTo>
                            <a:pt x="137" y="68"/>
                          </a:moveTo>
                          <a:lnTo>
                            <a:pt x="135" y="52"/>
                          </a:lnTo>
                          <a:lnTo>
                            <a:pt x="130" y="38"/>
                          </a:lnTo>
                          <a:lnTo>
                            <a:pt x="122" y="26"/>
                          </a:lnTo>
                          <a:lnTo>
                            <a:pt x="111" y="15"/>
                          </a:lnTo>
                          <a:lnTo>
                            <a:pt x="98" y="7"/>
                          </a:lnTo>
                          <a:lnTo>
                            <a:pt x="84" y="1"/>
                          </a:lnTo>
                          <a:lnTo>
                            <a:pt x="69" y="0"/>
                          </a:lnTo>
                          <a:lnTo>
                            <a:pt x="53" y="1"/>
                          </a:lnTo>
                          <a:lnTo>
                            <a:pt x="39" y="7"/>
                          </a:lnTo>
                          <a:lnTo>
                            <a:pt x="26" y="15"/>
                          </a:lnTo>
                          <a:lnTo>
                            <a:pt x="15" y="26"/>
                          </a:lnTo>
                          <a:lnTo>
                            <a:pt x="7" y="38"/>
                          </a:lnTo>
                          <a:lnTo>
                            <a:pt x="2" y="52"/>
                          </a:lnTo>
                          <a:lnTo>
                            <a:pt x="0" y="68"/>
                          </a:lnTo>
                          <a:lnTo>
                            <a:pt x="2" y="84"/>
                          </a:lnTo>
                          <a:lnTo>
                            <a:pt x="7" y="98"/>
                          </a:lnTo>
                          <a:lnTo>
                            <a:pt x="15" y="111"/>
                          </a:lnTo>
                          <a:lnTo>
                            <a:pt x="26" y="122"/>
                          </a:lnTo>
                          <a:lnTo>
                            <a:pt x="39" y="129"/>
                          </a:lnTo>
                          <a:lnTo>
                            <a:pt x="53" y="135"/>
                          </a:lnTo>
                          <a:lnTo>
                            <a:pt x="69" y="136"/>
                          </a:lnTo>
                          <a:lnTo>
                            <a:pt x="84" y="135"/>
                          </a:lnTo>
                          <a:lnTo>
                            <a:pt x="98" y="129"/>
                          </a:lnTo>
                          <a:lnTo>
                            <a:pt x="111" y="122"/>
                          </a:lnTo>
                          <a:lnTo>
                            <a:pt x="122" y="111"/>
                          </a:lnTo>
                          <a:lnTo>
                            <a:pt x="130" y="98"/>
                          </a:lnTo>
                          <a:lnTo>
                            <a:pt x="135" y="84"/>
                          </a:lnTo>
                          <a:lnTo>
                            <a:pt x="137" y="6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5" name="Freeform 72"/>
                    <p:cNvSpPr>
                      <a:spLocks/>
                    </p:cNvSpPr>
                    <p:nvPr/>
                  </p:nvSpPr>
                  <p:spPr bwMode="auto">
                    <a:xfrm>
                      <a:off x="4604" y="1066"/>
                      <a:ext cx="137" cy="136"/>
                    </a:xfrm>
                    <a:custGeom>
                      <a:avLst/>
                      <a:gdLst>
                        <a:gd name="T0" fmla="*/ 137 w 137"/>
                        <a:gd name="T1" fmla="*/ 68 h 136"/>
                        <a:gd name="T2" fmla="*/ 135 w 137"/>
                        <a:gd name="T3" fmla="*/ 52 h 136"/>
                        <a:gd name="T4" fmla="*/ 130 w 137"/>
                        <a:gd name="T5" fmla="*/ 38 h 136"/>
                        <a:gd name="T6" fmla="*/ 122 w 137"/>
                        <a:gd name="T7" fmla="*/ 26 h 136"/>
                        <a:gd name="T8" fmla="*/ 111 w 137"/>
                        <a:gd name="T9" fmla="*/ 15 h 136"/>
                        <a:gd name="T10" fmla="*/ 98 w 137"/>
                        <a:gd name="T11" fmla="*/ 7 h 136"/>
                        <a:gd name="T12" fmla="*/ 84 w 137"/>
                        <a:gd name="T13" fmla="*/ 1 h 136"/>
                        <a:gd name="T14" fmla="*/ 69 w 137"/>
                        <a:gd name="T15" fmla="*/ 0 h 136"/>
                        <a:gd name="T16" fmla="*/ 53 w 137"/>
                        <a:gd name="T17" fmla="*/ 1 h 136"/>
                        <a:gd name="T18" fmla="*/ 39 w 137"/>
                        <a:gd name="T19" fmla="*/ 7 h 136"/>
                        <a:gd name="T20" fmla="*/ 26 w 137"/>
                        <a:gd name="T21" fmla="*/ 15 h 136"/>
                        <a:gd name="T22" fmla="*/ 15 w 137"/>
                        <a:gd name="T23" fmla="*/ 26 h 136"/>
                        <a:gd name="T24" fmla="*/ 7 w 137"/>
                        <a:gd name="T25" fmla="*/ 38 h 136"/>
                        <a:gd name="T26" fmla="*/ 2 w 137"/>
                        <a:gd name="T27" fmla="*/ 52 h 136"/>
                        <a:gd name="T28" fmla="*/ 0 w 137"/>
                        <a:gd name="T29" fmla="*/ 68 h 136"/>
                        <a:gd name="T30" fmla="*/ 2 w 137"/>
                        <a:gd name="T31" fmla="*/ 84 h 136"/>
                        <a:gd name="T32" fmla="*/ 7 w 137"/>
                        <a:gd name="T33" fmla="*/ 98 h 136"/>
                        <a:gd name="T34" fmla="*/ 15 w 137"/>
                        <a:gd name="T35" fmla="*/ 111 h 136"/>
                        <a:gd name="T36" fmla="*/ 26 w 137"/>
                        <a:gd name="T37" fmla="*/ 122 h 136"/>
                        <a:gd name="T38" fmla="*/ 39 w 137"/>
                        <a:gd name="T39" fmla="*/ 129 h 136"/>
                        <a:gd name="T40" fmla="*/ 53 w 137"/>
                        <a:gd name="T41" fmla="*/ 135 h 136"/>
                        <a:gd name="T42" fmla="*/ 69 w 137"/>
                        <a:gd name="T43" fmla="*/ 136 h 136"/>
                        <a:gd name="T44" fmla="*/ 84 w 137"/>
                        <a:gd name="T45" fmla="*/ 135 h 136"/>
                        <a:gd name="T46" fmla="*/ 98 w 137"/>
                        <a:gd name="T47" fmla="*/ 129 h 136"/>
                        <a:gd name="T48" fmla="*/ 111 w 137"/>
                        <a:gd name="T49" fmla="*/ 122 h 136"/>
                        <a:gd name="T50" fmla="*/ 122 w 137"/>
                        <a:gd name="T51" fmla="*/ 111 h 136"/>
                        <a:gd name="T52" fmla="*/ 130 w 137"/>
                        <a:gd name="T53" fmla="*/ 98 h 136"/>
                        <a:gd name="T54" fmla="*/ 135 w 137"/>
                        <a:gd name="T55" fmla="*/ 84 h 136"/>
                        <a:gd name="T56" fmla="*/ 137 w 137"/>
                        <a:gd name="T57" fmla="*/ 68 h 1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60000 65536"/>
                        <a:gd name="T82" fmla="*/ 0 60000 65536"/>
                        <a:gd name="T83" fmla="*/ 0 60000 65536"/>
                        <a:gd name="T84" fmla="*/ 0 60000 65536"/>
                        <a:gd name="T85" fmla="*/ 0 60000 65536"/>
                        <a:gd name="T86" fmla="*/ 0 60000 65536"/>
                        <a:gd name="T87" fmla="*/ 0 w 137"/>
                        <a:gd name="T88" fmla="*/ 0 h 136"/>
                        <a:gd name="T89" fmla="*/ 137 w 137"/>
                        <a:gd name="T90" fmla="*/ 136 h 136"/>
                      </a:gdLst>
                      <a:ahLst/>
                      <a:cxnLst>
                        <a:cxn ang="T58">
                          <a:pos x="T0" y="T1"/>
                        </a:cxn>
                        <a:cxn ang="T59">
                          <a:pos x="T2" y="T3"/>
                        </a:cxn>
                        <a:cxn ang="T60">
                          <a:pos x="T4" y="T5"/>
                        </a:cxn>
                        <a:cxn ang="T61">
                          <a:pos x="T6" y="T7"/>
                        </a:cxn>
                        <a:cxn ang="T62">
                          <a:pos x="T8" y="T9"/>
                        </a:cxn>
                        <a:cxn ang="T63">
                          <a:pos x="T10" y="T11"/>
                        </a:cxn>
                        <a:cxn ang="T64">
                          <a:pos x="T12" y="T13"/>
                        </a:cxn>
                        <a:cxn ang="T65">
                          <a:pos x="T14" y="T15"/>
                        </a:cxn>
                        <a:cxn ang="T66">
                          <a:pos x="T16" y="T17"/>
                        </a:cxn>
                        <a:cxn ang="T67">
                          <a:pos x="T18" y="T19"/>
                        </a:cxn>
                        <a:cxn ang="T68">
                          <a:pos x="T20" y="T21"/>
                        </a:cxn>
                        <a:cxn ang="T69">
                          <a:pos x="T22" y="T23"/>
                        </a:cxn>
                        <a:cxn ang="T70">
                          <a:pos x="T24" y="T25"/>
                        </a:cxn>
                        <a:cxn ang="T71">
                          <a:pos x="T26" y="T27"/>
                        </a:cxn>
                        <a:cxn ang="T72">
                          <a:pos x="T28" y="T29"/>
                        </a:cxn>
                        <a:cxn ang="T73">
                          <a:pos x="T30" y="T31"/>
                        </a:cxn>
                        <a:cxn ang="T74">
                          <a:pos x="T32" y="T33"/>
                        </a:cxn>
                        <a:cxn ang="T75">
                          <a:pos x="T34" y="T35"/>
                        </a:cxn>
                        <a:cxn ang="T76">
                          <a:pos x="T36" y="T37"/>
                        </a:cxn>
                        <a:cxn ang="T77">
                          <a:pos x="T38" y="T39"/>
                        </a:cxn>
                        <a:cxn ang="T78">
                          <a:pos x="T40" y="T41"/>
                        </a:cxn>
                        <a:cxn ang="T79">
                          <a:pos x="T42" y="T43"/>
                        </a:cxn>
                        <a:cxn ang="T80">
                          <a:pos x="T44" y="T45"/>
                        </a:cxn>
                        <a:cxn ang="T81">
                          <a:pos x="T46" y="T47"/>
                        </a:cxn>
                        <a:cxn ang="T82">
                          <a:pos x="T48" y="T49"/>
                        </a:cxn>
                        <a:cxn ang="T83">
                          <a:pos x="T50" y="T51"/>
                        </a:cxn>
                        <a:cxn ang="T84">
                          <a:pos x="T52" y="T53"/>
                        </a:cxn>
                        <a:cxn ang="T85">
                          <a:pos x="T54" y="T55"/>
                        </a:cxn>
                        <a:cxn ang="T86">
                          <a:pos x="T56" y="T57"/>
                        </a:cxn>
                      </a:cxnLst>
                      <a:rect l="T87" t="T88" r="T89" b="T90"/>
                      <a:pathLst>
                        <a:path w="137" h="136">
                          <a:moveTo>
                            <a:pt x="137" y="68"/>
                          </a:moveTo>
                          <a:lnTo>
                            <a:pt x="135" y="52"/>
                          </a:lnTo>
                          <a:lnTo>
                            <a:pt x="130" y="38"/>
                          </a:lnTo>
                          <a:lnTo>
                            <a:pt x="122" y="26"/>
                          </a:lnTo>
                          <a:lnTo>
                            <a:pt x="111" y="15"/>
                          </a:lnTo>
                          <a:lnTo>
                            <a:pt x="98" y="7"/>
                          </a:lnTo>
                          <a:lnTo>
                            <a:pt x="84" y="1"/>
                          </a:lnTo>
                          <a:lnTo>
                            <a:pt x="69" y="0"/>
                          </a:lnTo>
                          <a:lnTo>
                            <a:pt x="53" y="1"/>
                          </a:lnTo>
                          <a:lnTo>
                            <a:pt x="39" y="7"/>
                          </a:lnTo>
                          <a:lnTo>
                            <a:pt x="26" y="15"/>
                          </a:lnTo>
                          <a:lnTo>
                            <a:pt x="15" y="26"/>
                          </a:lnTo>
                          <a:lnTo>
                            <a:pt x="7" y="38"/>
                          </a:lnTo>
                          <a:lnTo>
                            <a:pt x="2" y="52"/>
                          </a:lnTo>
                          <a:lnTo>
                            <a:pt x="0" y="68"/>
                          </a:lnTo>
                          <a:lnTo>
                            <a:pt x="2" y="84"/>
                          </a:lnTo>
                          <a:lnTo>
                            <a:pt x="7" y="98"/>
                          </a:lnTo>
                          <a:lnTo>
                            <a:pt x="15" y="111"/>
                          </a:lnTo>
                          <a:lnTo>
                            <a:pt x="26" y="122"/>
                          </a:lnTo>
                          <a:lnTo>
                            <a:pt x="39" y="129"/>
                          </a:lnTo>
                          <a:lnTo>
                            <a:pt x="53" y="135"/>
                          </a:lnTo>
                          <a:lnTo>
                            <a:pt x="69" y="136"/>
                          </a:lnTo>
                          <a:lnTo>
                            <a:pt x="84" y="135"/>
                          </a:lnTo>
                          <a:lnTo>
                            <a:pt x="98" y="129"/>
                          </a:lnTo>
                          <a:lnTo>
                            <a:pt x="111" y="122"/>
                          </a:lnTo>
                          <a:lnTo>
                            <a:pt x="122" y="111"/>
                          </a:lnTo>
                          <a:lnTo>
                            <a:pt x="130" y="98"/>
                          </a:lnTo>
                          <a:lnTo>
                            <a:pt x="135" y="84"/>
                          </a:lnTo>
                          <a:lnTo>
                            <a:pt x="137" y="6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6" name="Freeform 73"/>
                    <p:cNvSpPr>
                      <a:spLocks/>
                    </p:cNvSpPr>
                    <p:nvPr/>
                  </p:nvSpPr>
                  <p:spPr bwMode="auto">
                    <a:xfrm>
                      <a:off x="4499" y="2650"/>
                      <a:ext cx="134" cy="134"/>
                    </a:xfrm>
                    <a:custGeom>
                      <a:avLst/>
                      <a:gdLst>
                        <a:gd name="T0" fmla="*/ 134 w 134"/>
                        <a:gd name="T1" fmla="*/ 67 h 134"/>
                        <a:gd name="T2" fmla="*/ 132 w 134"/>
                        <a:gd name="T3" fmla="*/ 49 h 134"/>
                        <a:gd name="T4" fmla="*/ 125 w 134"/>
                        <a:gd name="T5" fmla="*/ 34 h 134"/>
                        <a:gd name="T6" fmla="*/ 115 w 134"/>
                        <a:gd name="T7" fmla="*/ 19 h 134"/>
                        <a:gd name="T8" fmla="*/ 101 w 134"/>
                        <a:gd name="T9" fmla="*/ 9 h 134"/>
                        <a:gd name="T10" fmla="*/ 85 w 134"/>
                        <a:gd name="T11" fmla="*/ 2 h 134"/>
                        <a:gd name="T12" fmla="*/ 67 w 134"/>
                        <a:gd name="T13" fmla="*/ 0 h 134"/>
                        <a:gd name="T14" fmla="*/ 51 w 134"/>
                        <a:gd name="T15" fmla="*/ 1 h 134"/>
                        <a:gd name="T16" fmla="*/ 38 w 134"/>
                        <a:gd name="T17" fmla="*/ 7 h 134"/>
                        <a:gd name="T18" fmla="*/ 25 w 134"/>
                        <a:gd name="T19" fmla="*/ 15 h 134"/>
                        <a:gd name="T20" fmla="*/ 15 w 134"/>
                        <a:gd name="T21" fmla="*/ 25 h 134"/>
                        <a:gd name="T22" fmla="*/ 7 w 134"/>
                        <a:gd name="T23" fmla="*/ 37 h 134"/>
                        <a:gd name="T24" fmla="*/ 2 w 134"/>
                        <a:gd name="T25" fmla="*/ 52 h 134"/>
                        <a:gd name="T26" fmla="*/ 0 w 134"/>
                        <a:gd name="T27" fmla="*/ 67 h 134"/>
                        <a:gd name="T28" fmla="*/ 2 w 134"/>
                        <a:gd name="T29" fmla="*/ 85 h 134"/>
                        <a:gd name="T30" fmla="*/ 9 w 134"/>
                        <a:gd name="T31" fmla="*/ 101 h 134"/>
                        <a:gd name="T32" fmla="*/ 20 w 134"/>
                        <a:gd name="T33" fmla="*/ 114 h 134"/>
                        <a:gd name="T34" fmla="*/ 33 w 134"/>
                        <a:gd name="T35" fmla="*/ 125 h 134"/>
                        <a:gd name="T36" fmla="*/ 49 w 134"/>
                        <a:gd name="T37" fmla="*/ 132 h 134"/>
                        <a:gd name="T38" fmla="*/ 67 w 134"/>
                        <a:gd name="T39" fmla="*/ 134 h 134"/>
                        <a:gd name="T40" fmla="*/ 82 w 134"/>
                        <a:gd name="T41" fmla="*/ 133 h 134"/>
                        <a:gd name="T42" fmla="*/ 97 w 134"/>
                        <a:gd name="T43" fmla="*/ 127 h 134"/>
                        <a:gd name="T44" fmla="*/ 109 w 134"/>
                        <a:gd name="T45" fmla="*/ 119 h 134"/>
                        <a:gd name="T46" fmla="*/ 119 w 134"/>
                        <a:gd name="T47" fmla="*/ 109 h 134"/>
                        <a:gd name="T48" fmla="*/ 127 w 134"/>
                        <a:gd name="T49" fmla="*/ 96 h 134"/>
                        <a:gd name="T50" fmla="*/ 133 w 134"/>
                        <a:gd name="T51" fmla="*/ 83 h 134"/>
                        <a:gd name="T52" fmla="*/ 134 w 134"/>
                        <a:gd name="T53" fmla="*/ 67 h 134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w 134"/>
                        <a:gd name="T82" fmla="*/ 0 h 134"/>
                        <a:gd name="T83" fmla="*/ 134 w 134"/>
                        <a:gd name="T84" fmla="*/ 134 h 134"/>
                      </a:gdLst>
                      <a:ahLst/>
                      <a:cxnLst>
                        <a:cxn ang="T54">
                          <a:pos x="T0" y="T1"/>
                        </a:cxn>
                        <a:cxn ang="T55">
                          <a:pos x="T2" y="T3"/>
                        </a:cxn>
                        <a:cxn ang="T56">
                          <a:pos x="T4" y="T5"/>
                        </a:cxn>
                        <a:cxn ang="T57">
                          <a:pos x="T6" y="T7"/>
                        </a:cxn>
                        <a:cxn ang="T58">
                          <a:pos x="T8" y="T9"/>
                        </a:cxn>
                        <a:cxn ang="T59">
                          <a:pos x="T10" y="T11"/>
                        </a:cxn>
                        <a:cxn ang="T60">
                          <a:pos x="T12" y="T13"/>
                        </a:cxn>
                        <a:cxn ang="T61">
                          <a:pos x="T14" y="T15"/>
                        </a:cxn>
                        <a:cxn ang="T62">
                          <a:pos x="T16" y="T17"/>
                        </a:cxn>
                        <a:cxn ang="T63">
                          <a:pos x="T18" y="T19"/>
                        </a:cxn>
                        <a:cxn ang="T64">
                          <a:pos x="T20" y="T21"/>
                        </a:cxn>
                        <a:cxn ang="T65">
                          <a:pos x="T22" y="T23"/>
                        </a:cxn>
                        <a:cxn ang="T66">
                          <a:pos x="T24" y="T25"/>
                        </a:cxn>
                        <a:cxn ang="T67">
                          <a:pos x="T26" y="T27"/>
                        </a:cxn>
                        <a:cxn ang="T68">
                          <a:pos x="T28" y="T29"/>
                        </a:cxn>
                        <a:cxn ang="T69">
                          <a:pos x="T30" y="T31"/>
                        </a:cxn>
                        <a:cxn ang="T70">
                          <a:pos x="T32" y="T33"/>
                        </a:cxn>
                        <a:cxn ang="T71">
                          <a:pos x="T34" y="T35"/>
                        </a:cxn>
                        <a:cxn ang="T72">
                          <a:pos x="T36" y="T37"/>
                        </a:cxn>
                        <a:cxn ang="T73">
                          <a:pos x="T38" y="T39"/>
                        </a:cxn>
                        <a:cxn ang="T74">
                          <a:pos x="T40" y="T41"/>
                        </a:cxn>
                        <a:cxn ang="T75">
                          <a:pos x="T42" y="T43"/>
                        </a:cxn>
                        <a:cxn ang="T76">
                          <a:pos x="T44" y="T45"/>
                        </a:cxn>
                        <a:cxn ang="T77">
                          <a:pos x="T46" y="T47"/>
                        </a:cxn>
                        <a:cxn ang="T78">
                          <a:pos x="T48" y="T49"/>
                        </a:cxn>
                        <a:cxn ang="T79">
                          <a:pos x="T50" y="T51"/>
                        </a:cxn>
                        <a:cxn ang="T80">
                          <a:pos x="T52" y="T53"/>
                        </a:cxn>
                      </a:cxnLst>
                      <a:rect l="T81" t="T82" r="T83" b="T84"/>
                      <a:pathLst>
                        <a:path w="134" h="134">
                          <a:moveTo>
                            <a:pt x="134" y="67"/>
                          </a:moveTo>
                          <a:lnTo>
                            <a:pt x="132" y="49"/>
                          </a:lnTo>
                          <a:lnTo>
                            <a:pt x="125" y="34"/>
                          </a:lnTo>
                          <a:lnTo>
                            <a:pt x="115" y="19"/>
                          </a:lnTo>
                          <a:lnTo>
                            <a:pt x="101" y="9"/>
                          </a:lnTo>
                          <a:lnTo>
                            <a:pt x="85" y="2"/>
                          </a:lnTo>
                          <a:lnTo>
                            <a:pt x="67" y="0"/>
                          </a:lnTo>
                          <a:lnTo>
                            <a:pt x="51" y="1"/>
                          </a:lnTo>
                          <a:lnTo>
                            <a:pt x="38" y="7"/>
                          </a:lnTo>
                          <a:lnTo>
                            <a:pt x="25" y="15"/>
                          </a:lnTo>
                          <a:lnTo>
                            <a:pt x="15" y="25"/>
                          </a:lnTo>
                          <a:lnTo>
                            <a:pt x="7" y="37"/>
                          </a:lnTo>
                          <a:lnTo>
                            <a:pt x="2" y="52"/>
                          </a:lnTo>
                          <a:lnTo>
                            <a:pt x="0" y="67"/>
                          </a:lnTo>
                          <a:lnTo>
                            <a:pt x="2" y="85"/>
                          </a:lnTo>
                          <a:lnTo>
                            <a:pt x="9" y="101"/>
                          </a:lnTo>
                          <a:lnTo>
                            <a:pt x="20" y="114"/>
                          </a:lnTo>
                          <a:lnTo>
                            <a:pt x="33" y="125"/>
                          </a:lnTo>
                          <a:lnTo>
                            <a:pt x="49" y="132"/>
                          </a:lnTo>
                          <a:lnTo>
                            <a:pt x="67" y="134"/>
                          </a:lnTo>
                          <a:lnTo>
                            <a:pt x="82" y="133"/>
                          </a:lnTo>
                          <a:lnTo>
                            <a:pt x="97" y="127"/>
                          </a:lnTo>
                          <a:lnTo>
                            <a:pt x="109" y="119"/>
                          </a:lnTo>
                          <a:lnTo>
                            <a:pt x="119" y="109"/>
                          </a:lnTo>
                          <a:lnTo>
                            <a:pt x="127" y="96"/>
                          </a:lnTo>
                          <a:lnTo>
                            <a:pt x="133" y="83"/>
                          </a:lnTo>
                          <a:lnTo>
                            <a:pt x="134" y="6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7" name="Freeform 74"/>
                    <p:cNvSpPr>
                      <a:spLocks/>
                    </p:cNvSpPr>
                    <p:nvPr/>
                  </p:nvSpPr>
                  <p:spPr bwMode="auto">
                    <a:xfrm>
                      <a:off x="4499" y="2650"/>
                      <a:ext cx="134" cy="134"/>
                    </a:xfrm>
                    <a:custGeom>
                      <a:avLst/>
                      <a:gdLst>
                        <a:gd name="T0" fmla="*/ 134 w 134"/>
                        <a:gd name="T1" fmla="*/ 67 h 134"/>
                        <a:gd name="T2" fmla="*/ 132 w 134"/>
                        <a:gd name="T3" fmla="*/ 49 h 134"/>
                        <a:gd name="T4" fmla="*/ 125 w 134"/>
                        <a:gd name="T5" fmla="*/ 34 h 134"/>
                        <a:gd name="T6" fmla="*/ 115 w 134"/>
                        <a:gd name="T7" fmla="*/ 19 h 134"/>
                        <a:gd name="T8" fmla="*/ 101 w 134"/>
                        <a:gd name="T9" fmla="*/ 9 h 134"/>
                        <a:gd name="T10" fmla="*/ 85 w 134"/>
                        <a:gd name="T11" fmla="*/ 2 h 134"/>
                        <a:gd name="T12" fmla="*/ 67 w 134"/>
                        <a:gd name="T13" fmla="*/ 0 h 134"/>
                        <a:gd name="T14" fmla="*/ 51 w 134"/>
                        <a:gd name="T15" fmla="*/ 1 h 134"/>
                        <a:gd name="T16" fmla="*/ 38 w 134"/>
                        <a:gd name="T17" fmla="*/ 7 h 134"/>
                        <a:gd name="T18" fmla="*/ 25 w 134"/>
                        <a:gd name="T19" fmla="*/ 15 h 134"/>
                        <a:gd name="T20" fmla="*/ 15 w 134"/>
                        <a:gd name="T21" fmla="*/ 25 h 134"/>
                        <a:gd name="T22" fmla="*/ 7 w 134"/>
                        <a:gd name="T23" fmla="*/ 37 h 134"/>
                        <a:gd name="T24" fmla="*/ 2 w 134"/>
                        <a:gd name="T25" fmla="*/ 52 h 134"/>
                        <a:gd name="T26" fmla="*/ 0 w 134"/>
                        <a:gd name="T27" fmla="*/ 67 h 134"/>
                        <a:gd name="T28" fmla="*/ 2 w 134"/>
                        <a:gd name="T29" fmla="*/ 85 h 134"/>
                        <a:gd name="T30" fmla="*/ 9 w 134"/>
                        <a:gd name="T31" fmla="*/ 101 h 134"/>
                        <a:gd name="T32" fmla="*/ 20 w 134"/>
                        <a:gd name="T33" fmla="*/ 114 h 134"/>
                        <a:gd name="T34" fmla="*/ 33 w 134"/>
                        <a:gd name="T35" fmla="*/ 125 h 134"/>
                        <a:gd name="T36" fmla="*/ 49 w 134"/>
                        <a:gd name="T37" fmla="*/ 132 h 134"/>
                        <a:gd name="T38" fmla="*/ 67 w 134"/>
                        <a:gd name="T39" fmla="*/ 134 h 134"/>
                        <a:gd name="T40" fmla="*/ 82 w 134"/>
                        <a:gd name="T41" fmla="*/ 133 h 134"/>
                        <a:gd name="T42" fmla="*/ 97 w 134"/>
                        <a:gd name="T43" fmla="*/ 127 h 134"/>
                        <a:gd name="T44" fmla="*/ 109 w 134"/>
                        <a:gd name="T45" fmla="*/ 119 h 134"/>
                        <a:gd name="T46" fmla="*/ 119 w 134"/>
                        <a:gd name="T47" fmla="*/ 109 h 134"/>
                        <a:gd name="T48" fmla="*/ 127 w 134"/>
                        <a:gd name="T49" fmla="*/ 96 h 134"/>
                        <a:gd name="T50" fmla="*/ 133 w 134"/>
                        <a:gd name="T51" fmla="*/ 83 h 134"/>
                        <a:gd name="T52" fmla="*/ 134 w 134"/>
                        <a:gd name="T53" fmla="*/ 67 h 134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60000 65536"/>
                        <a:gd name="T76" fmla="*/ 0 60000 65536"/>
                        <a:gd name="T77" fmla="*/ 0 60000 65536"/>
                        <a:gd name="T78" fmla="*/ 0 60000 65536"/>
                        <a:gd name="T79" fmla="*/ 0 60000 65536"/>
                        <a:gd name="T80" fmla="*/ 0 60000 65536"/>
                        <a:gd name="T81" fmla="*/ 0 w 134"/>
                        <a:gd name="T82" fmla="*/ 0 h 134"/>
                        <a:gd name="T83" fmla="*/ 134 w 134"/>
                        <a:gd name="T84" fmla="*/ 134 h 134"/>
                      </a:gdLst>
                      <a:ahLst/>
                      <a:cxnLst>
                        <a:cxn ang="T54">
                          <a:pos x="T0" y="T1"/>
                        </a:cxn>
                        <a:cxn ang="T55">
                          <a:pos x="T2" y="T3"/>
                        </a:cxn>
                        <a:cxn ang="T56">
                          <a:pos x="T4" y="T5"/>
                        </a:cxn>
                        <a:cxn ang="T57">
                          <a:pos x="T6" y="T7"/>
                        </a:cxn>
                        <a:cxn ang="T58">
                          <a:pos x="T8" y="T9"/>
                        </a:cxn>
                        <a:cxn ang="T59">
                          <a:pos x="T10" y="T11"/>
                        </a:cxn>
                        <a:cxn ang="T60">
                          <a:pos x="T12" y="T13"/>
                        </a:cxn>
                        <a:cxn ang="T61">
                          <a:pos x="T14" y="T15"/>
                        </a:cxn>
                        <a:cxn ang="T62">
                          <a:pos x="T16" y="T17"/>
                        </a:cxn>
                        <a:cxn ang="T63">
                          <a:pos x="T18" y="T19"/>
                        </a:cxn>
                        <a:cxn ang="T64">
                          <a:pos x="T20" y="T21"/>
                        </a:cxn>
                        <a:cxn ang="T65">
                          <a:pos x="T22" y="T23"/>
                        </a:cxn>
                        <a:cxn ang="T66">
                          <a:pos x="T24" y="T25"/>
                        </a:cxn>
                        <a:cxn ang="T67">
                          <a:pos x="T26" y="T27"/>
                        </a:cxn>
                        <a:cxn ang="T68">
                          <a:pos x="T28" y="T29"/>
                        </a:cxn>
                        <a:cxn ang="T69">
                          <a:pos x="T30" y="T31"/>
                        </a:cxn>
                        <a:cxn ang="T70">
                          <a:pos x="T32" y="T33"/>
                        </a:cxn>
                        <a:cxn ang="T71">
                          <a:pos x="T34" y="T35"/>
                        </a:cxn>
                        <a:cxn ang="T72">
                          <a:pos x="T36" y="T37"/>
                        </a:cxn>
                        <a:cxn ang="T73">
                          <a:pos x="T38" y="T39"/>
                        </a:cxn>
                        <a:cxn ang="T74">
                          <a:pos x="T40" y="T41"/>
                        </a:cxn>
                        <a:cxn ang="T75">
                          <a:pos x="T42" y="T43"/>
                        </a:cxn>
                        <a:cxn ang="T76">
                          <a:pos x="T44" y="T45"/>
                        </a:cxn>
                        <a:cxn ang="T77">
                          <a:pos x="T46" y="T47"/>
                        </a:cxn>
                        <a:cxn ang="T78">
                          <a:pos x="T48" y="T49"/>
                        </a:cxn>
                        <a:cxn ang="T79">
                          <a:pos x="T50" y="T51"/>
                        </a:cxn>
                        <a:cxn ang="T80">
                          <a:pos x="T52" y="T53"/>
                        </a:cxn>
                      </a:cxnLst>
                      <a:rect l="T81" t="T82" r="T83" b="T84"/>
                      <a:pathLst>
                        <a:path w="134" h="134">
                          <a:moveTo>
                            <a:pt x="134" y="67"/>
                          </a:moveTo>
                          <a:lnTo>
                            <a:pt x="132" y="49"/>
                          </a:lnTo>
                          <a:lnTo>
                            <a:pt x="125" y="34"/>
                          </a:lnTo>
                          <a:lnTo>
                            <a:pt x="115" y="19"/>
                          </a:lnTo>
                          <a:lnTo>
                            <a:pt x="101" y="9"/>
                          </a:lnTo>
                          <a:lnTo>
                            <a:pt x="85" y="2"/>
                          </a:lnTo>
                          <a:lnTo>
                            <a:pt x="67" y="0"/>
                          </a:lnTo>
                          <a:lnTo>
                            <a:pt x="51" y="1"/>
                          </a:lnTo>
                          <a:lnTo>
                            <a:pt x="38" y="7"/>
                          </a:lnTo>
                          <a:lnTo>
                            <a:pt x="25" y="15"/>
                          </a:lnTo>
                          <a:lnTo>
                            <a:pt x="15" y="25"/>
                          </a:lnTo>
                          <a:lnTo>
                            <a:pt x="7" y="37"/>
                          </a:lnTo>
                          <a:lnTo>
                            <a:pt x="2" y="52"/>
                          </a:lnTo>
                          <a:lnTo>
                            <a:pt x="0" y="67"/>
                          </a:lnTo>
                          <a:lnTo>
                            <a:pt x="2" y="85"/>
                          </a:lnTo>
                          <a:lnTo>
                            <a:pt x="9" y="101"/>
                          </a:lnTo>
                          <a:lnTo>
                            <a:pt x="20" y="114"/>
                          </a:lnTo>
                          <a:lnTo>
                            <a:pt x="33" y="125"/>
                          </a:lnTo>
                          <a:lnTo>
                            <a:pt x="49" y="132"/>
                          </a:lnTo>
                          <a:lnTo>
                            <a:pt x="67" y="134"/>
                          </a:lnTo>
                          <a:lnTo>
                            <a:pt x="82" y="133"/>
                          </a:lnTo>
                          <a:lnTo>
                            <a:pt x="97" y="127"/>
                          </a:lnTo>
                          <a:lnTo>
                            <a:pt x="109" y="119"/>
                          </a:lnTo>
                          <a:lnTo>
                            <a:pt x="119" y="109"/>
                          </a:lnTo>
                          <a:lnTo>
                            <a:pt x="127" y="96"/>
                          </a:lnTo>
                          <a:lnTo>
                            <a:pt x="133" y="83"/>
                          </a:lnTo>
                          <a:lnTo>
                            <a:pt x="134" y="6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8" name="Freeform 75"/>
                    <p:cNvSpPr>
                      <a:spLocks/>
                    </p:cNvSpPr>
                    <p:nvPr/>
                  </p:nvSpPr>
                  <p:spPr bwMode="auto">
                    <a:xfrm>
                      <a:off x="4900" y="1200"/>
                      <a:ext cx="128" cy="129"/>
                    </a:xfrm>
                    <a:custGeom>
                      <a:avLst/>
                      <a:gdLst>
                        <a:gd name="T0" fmla="*/ 128 w 128"/>
                        <a:gd name="T1" fmla="*/ 65 h 129"/>
                        <a:gd name="T2" fmla="*/ 125 w 128"/>
                        <a:gd name="T3" fmla="*/ 47 h 129"/>
                        <a:gd name="T4" fmla="*/ 119 w 128"/>
                        <a:gd name="T5" fmla="*/ 32 h 129"/>
                        <a:gd name="T6" fmla="*/ 109 w 128"/>
                        <a:gd name="T7" fmla="*/ 19 h 129"/>
                        <a:gd name="T8" fmla="*/ 96 w 128"/>
                        <a:gd name="T9" fmla="*/ 9 h 129"/>
                        <a:gd name="T10" fmla="*/ 81 w 128"/>
                        <a:gd name="T11" fmla="*/ 2 h 129"/>
                        <a:gd name="T12" fmla="*/ 63 w 128"/>
                        <a:gd name="T13" fmla="*/ 0 h 129"/>
                        <a:gd name="T14" fmla="*/ 46 w 128"/>
                        <a:gd name="T15" fmla="*/ 2 h 129"/>
                        <a:gd name="T16" fmla="*/ 31 w 128"/>
                        <a:gd name="T17" fmla="*/ 9 h 129"/>
                        <a:gd name="T18" fmla="*/ 19 w 128"/>
                        <a:gd name="T19" fmla="*/ 19 h 129"/>
                        <a:gd name="T20" fmla="*/ 8 w 128"/>
                        <a:gd name="T21" fmla="*/ 32 h 129"/>
                        <a:gd name="T22" fmla="*/ 2 w 128"/>
                        <a:gd name="T23" fmla="*/ 47 h 129"/>
                        <a:gd name="T24" fmla="*/ 0 w 128"/>
                        <a:gd name="T25" fmla="*/ 65 h 129"/>
                        <a:gd name="T26" fmla="*/ 2 w 128"/>
                        <a:gd name="T27" fmla="*/ 82 h 129"/>
                        <a:gd name="T28" fmla="*/ 8 w 128"/>
                        <a:gd name="T29" fmla="*/ 97 h 129"/>
                        <a:gd name="T30" fmla="*/ 19 w 128"/>
                        <a:gd name="T31" fmla="*/ 110 h 129"/>
                        <a:gd name="T32" fmla="*/ 31 w 128"/>
                        <a:gd name="T33" fmla="*/ 120 h 129"/>
                        <a:gd name="T34" fmla="*/ 46 w 128"/>
                        <a:gd name="T35" fmla="*/ 127 h 129"/>
                        <a:gd name="T36" fmla="*/ 63 w 128"/>
                        <a:gd name="T37" fmla="*/ 129 h 129"/>
                        <a:gd name="T38" fmla="*/ 81 w 128"/>
                        <a:gd name="T39" fmla="*/ 127 h 129"/>
                        <a:gd name="T40" fmla="*/ 96 w 128"/>
                        <a:gd name="T41" fmla="*/ 120 h 129"/>
                        <a:gd name="T42" fmla="*/ 109 w 128"/>
                        <a:gd name="T43" fmla="*/ 110 h 129"/>
                        <a:gd name="T44" fmla="*/ 119 w 128"/>
                        <a:gd name="T45" fmla="*/ 97 h 129"/>
                        <a:gd name="T46" fmla="*/ 125 w 128"/>
                        <a:gd name="T47" fmla="*/ 82 h 129"/>
                        <a:gd name="T48" fmla="*/ 128 w 128"/>
                        <a:gd name="T49" fmla="*/ 65 h 129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8"/>
                        <a:gd name="T76" fmla="*/ 0 h 129"/>
                        <a:gd name="T77" fmla="*/ 128 w 128"/>
                        <a:gd name="T78" fmla="*/ 129 h 129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8" h="129">
                          <a:moveTo>
                            <a:pt x="128" y="65"/>
                          </a:moveTo>
                          <a:lnTo>
                            <a:pt x="125" y="47"/>
                          </a:lnTo>
                          <a:lnTo>
                            <a:pt x="119" y="32"/>
                          </a:lnTo>
                          <a:lnTo>
                            <a:pt x="109" y="19"/>
                          </a:lnTo>
                          <a:lnTo>
                            <a:pt x="96" y="9"/>
                          </a:lnTo>
                          <a:lnTo>
                            <a:pt x="81" y="2"/>
                          </a:lnTo>
                          <a:lnTo>
                            <a:pt x="63" y="0"/>
                          </a:lnTo>
                          <a:lnTo>
                            <a:pt x="46" y="2"/>
                          </a:lnTo>
                          <a:lnTo>
                            <a:pt x="31" y="9"/>
                          </a:lnTo>
                          <a:lnTo>
                            <a:pt x="19" y="19"/>
                          </a:lnTo>
                          <a:lnTo>
                            <a:pt x="8" y="32"/>
                          </a:lnTo>
                          <a:lnTo>
                            <a:pt x="2" y="47"/>
                          </a:lnTo>
                          <a:lnTo>
                            <a:pt x="0" y="65"/>
                          </a:lnTo>
                          <a:lnTo>
                            <a:pt x="2" y="82"/>
                          </a:lnTo>
                          <a:lnTo>
                            <a:pt x="8" y="97"/>
                          </a:lnTo>
                          <a:lnTo>
                            <a:pt x="19" y="110"/>
                          </a:lnTo>
                          <a:lnTo>
                            <a:pt x="31" y="120"/>
                          </a:lnTo>
                          <a:lnTo>
                            <a:pt x="46" y="127"/>
                          </a:lnTo>
                          <a:lnTo>
                            <a:pt x="63" y="129"/>
                          </a:lnTo>
                          <a:lnTo>
                            <a:pt x="81" y="127"/>
                          </a:lnTo>
                          <a:lnTo>
                            <a:pt x="96" y="120"/>
                          </a:lnTo>
                          <a:lnTo>
                            <a:pt x="109" y="110"/>
                          </a:lnTo>
                          <a:lnTo>
                            <a:pt x="119" y="97"/>
                          </a:lnTo>
                          <a:lnTo>
                            <a:pt x="125" y="82"/>
                          </a:lnTo>
                          <a:lnTo>
                            <a:pt x="128" y="6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19" name="Freeform 76"/>
                    <p:cNvSpPr>
                      <a:spLocks/>
                    </p:cNvSpPr>
                    <p:nvPr/>
                  </p:nvSpPr>
                  <p:spPr bwMode="auto">
                    <a:xfrm>
                      <a:off x="4900" y="1200"/>
                      <a:ext cx="128" cy="129"/>
                    </a:xfrm>
                    <a:custGeom>
                      <a:avLst/>
                      <a:gdLst>
                        <a:gd name="T0" fmla="*/ 128 w 128"/>
                        <a:gd name="T1" fmla="*/ 65 h 129"/>
                        <a:gd name="T2" fmla="*/ 125 w 128"/>
                        <a:gd name="T3" fmla="*/ 47 h 129"/>
                        <a:gd name="T4" fmla="*/ 119 w 128"/>
                        <a:gd name="T5" fmla="*/ 32 h 129"/>
                        <a:gd name="T6" fmla="*/ 109 w 128"/>
                        <a:gd name="T7" fmla="*/ 19 h 129"/>
                        <a:gd name="T8" fmla="*/ 96 w 128"/>
                        <a:gd name="T9" fmla="*/ 9 h 129"/>
                        <a:gd name="T10" fmla="*/ 81 w 128"/>
                        <a:gd name="T11" fmla="*/ 2 h 129"/>
                        <a:gd name="T12" fmla="*/ 63 w 128"/>
                        <a:gd name="T13" fmla="*/ 0 h 129"/>
                        <a:gd name="T14" fmla="*/ 46 w 128"/>
                        <a:gd name="T15" fmla="*/ 2 h 129"/>
                        <a:gd name="T16" fmla="*/ 31 w 128"/>
                        <a:gd name="T17" fmla="*/ 9 h 129"/>
                        <a:gd name="T18" fmla="*/ 19 w 128"/>
                        <a:gd name="T19" fmla="*/ 19 h 129"/>
                        <a:gd name="T20" fmla="*/ 8 w 128"/>
                        <a:gd name="T21" fmla="*/ 32 h 129"/>
                        <a:gd name="T22" fmla="*/ 2 w 128"/>
                        <a:gd name="T23" fmla="*/ 47 h 129"/>
                        <a:gd name="T24" fmla="*/ 0 w 128"/>
                        <a:gd name="T25" fmla="*/ 65 h 129"/>
                        <a:gd name="T26" fmla="*/ 2 w 128"/>
                        <a:gd name="T27" fmla="*/ 82 h 129"/>
                        <a:gd name="T28" fmla="*/ 8 w 128"/>
                        <a:gd name="T29" fmla="*/ 97 h 129"/>
                        <a:gd name="T30" fmla="*/ 19 w 128"/>
                        <a:gd name="T31" fmla="*/ 110 h 129"/>
                        <a:gd name="T32" fmla="*/ 31 w 128"/>
                        <a:gd name="T33" fmla="*/ 120 h 129"/>
                        <a:gd name="T34" fmla="*/ 46 w 128"/>
                        <a:gd name="T35" fmla="*/ 127 h 129"/>
                        <a:gd name="T36" fmla="*/ 63 w 128"/>
                        <a:gd name="T37" fmla="*/ 129 h 129"/>
                        <a:gd name="T38" fmla="*/ 81 w 128"/>
                        <a:gd name="T39" fmla="*/ 127 h 129"/>
                        <a:gd name="T40" fmla="*/ 96 w 128"/>
                        <a:gd name="T41" fmla="*/ 120 h 129"/>
                        <a:gd name="T42" fmla="*/ 109 w 128"/>
                        <a:gd name="T43" fmla="*/ 110 h 129"/>
                        <a:gd name="T44" fmla="*/ 119 w 128"/>
                        <a:gd name="T45" fmla="*/ 97 h 129"/>
                        <a:gd name="T46" fmla="*/ 125 w 128"/>
                        <a:gd name="T47" fmla="*/ 82 h 129"/>
                        <a:gd name="T48" fmla="*/ 128 w 128"/>
                        <a:gd name="T49" fmla="*/ 65 h 129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8"/>
                        <a:gd name="T76" fmla="*/ 0 h 129"/>
                        <a:gd name="T77" fmla="*/ 128 w 128"/>
                        <a:gd name="T78" fmla="*/ 129 h 129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8" h="129">
                          <a:moveTo>
                            <a:pt x="128" y="65"/>
                          </a:moveTo>
                          <a:lnTo>
                            <a:pt x="125" y="47"/>
                          </a:lnTo>
                          <a:lnTo>
                            <a:pt x="119" y="32"/>
                          </a:lnTo>
                          <a:lnTo>
                            <a:pt x="109" y="19"/>
                          </a:lnTo>
                          <a:lnTo>
                            <a:pt x="96" y="9"/>
                          </a:lnTo>
                          <a:lnTo>
                            <a:pt x="81" y="2"/>
                          </a:lnTo>
                          <a:lnTo>
                            <a:pt x="63" y="0"/>
                          </a:lnTo>
                          <a:lnTo>
                            <a:pt x="46" y="2"/>
                          </a:lnTo>
                          <a:lnTo>
                            <a:pt x="31" y="9"/>
                          </a:lnTo>
                          <a:lnTo>
                            <a:pt x="19" y="19"/>
                          </a:lnTo>
                          <a:lnTo>
                            <a:pt x="8" y="32"/>
                          </a:lnTo>
                          <a:lnTo>
                            <a:pt x="2" y="47"/>
                          </a:lnTo>
                          <a:lnTo>
                            <a:pt x="0" y="65"/>
                          </a:lnTo>
                          <a:lnTo>
                            <a:pt x="2" y="82"/>
                          </a:lnTo>
                          <a:lnTo>
                            <a:pt x="8" y="97"/>
                          </a:lnTo>
                          <a:lnTo>
                            <a:pt x="19" y="110"/>
                          </a:lnTo>
                          <a:lnTo>
                            <a:pt x="31" y="120"/>
                          </a:lnTo>
                          <a:lnTo>
                            <a:pt x="46" y="127"/>
                          </a:lnTo>
                          <a:lnTo>
                            <a:pt x="63" y="129"/>
                          </a:lnTo>
                          <a:lnTo>
                            <a:pt x="81" y="127"/>
                          </a:lnTo>
                          <a:lnTo>
                            <a:pt x="96" y="120"/>
                          </a:lnTo>
                          <a:lnTo>
                            <a:pt x="109" y="110"/>
                          </a:lnTo>
                          <a:lnTo>
                            <a:pt x="119" y="97"/>
                          </a:lnTo>
                          <a:lnTo>
                            <a:pt x="125" y="82"/>
                          </a:lnTo>
                          <a:lnTo>
                            <a:pt x="128" y="6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0" name="Freeform 77"/>
                    <p:cNvSpPr>
                      <a:spLocks/>
                    </p:cNvSpPr>
                    <p:nvPr/>
                  </p:nvSpPr>
                  <p:spPr bwMode="auto">
                    <a:xfrm>
                      <a:off x="4811" y="1177"/>
                      <a:ext cx="123" cy="123"/>
                    </a:xfrm>
                    <a:custGeom>
                      <a:avLst/>
                      <a:gdLst>
                        <a:gd name="T0" fmla="*/ 123 w 123"/>
                        <a:gd name="T1" fmla="*/ 62 h 123"/>
                        <a:gd name="T2" fmla="*/ 121 w 123"/>
                        <a:gd name="T3" fmla="*/ 45 h 123"/>
                        <a:gd name="T4" fmla="*/ 115 w 123"/>
                        <a:gd name="T5" fmla="*/ 30 h 123"/>
                        <a:gd name="T6" fmla="*/ 105 w 123"/>
                        <a:gd name="T7" fmla="*/ 18 h 123"/>
                        <a:gd name="T8" fmla="*/ 93 w 123"/>
                        <a:gd name="T9" fmla="*/ 8 h 123"/>
                        <a:gd name="T10" fmla="*/ 78 w 123"/>
                        <a:gd name="T11" fmla="*/ 2 h 123"/>
                        <a:gd name="T12" fmla="*/ 61 w 123"/>
                        <a:gd name="T13" fmla="*/ 0 h 123"/>
                        <a:gd name="T14" fmla="*/ 45 w 123"/>
                        <a:gd name="T15" fmla="*/ 2 h 123"/>
                        <a:gd name="T16" fmla="*/ 31 w 123"/>
                        <a:gd name="T17" fmla="*/ 8 h 123"/>
                        <a:gd name="T18" fmla="*/ 18 w 123"/>
                        <a:gd name="T19" fmla="*/ 18 h 123"/>
                        <a:gd name="T20" fmla="*/ 9 w 123"/>
                        <a:gd name="T21" fmla="*/ 30 h 123"/>
                        <a:gd name="T22" fmla="*/ 2 w 123"/>
                        <a:gd name="T23" fmla="*/ 45 h 123"/>
                        <a:gd name="T24" fmla="*/ 0 w 123"/>
                        <a:gd name="T25" fmla="*/ 62 h 123"/>
                        <a:gd name="T26" fmla="*/ 2 w 123"/>
                        <a:gd name="T27" fmla="*/ 78 h 123"/>
                        <a:gd name="T28" fmla="*/ 9 w 123"/>
                        <a:gd name="T29" fmla="*/ 92 h 123"/>
                        <a:gd name="T30" fmla="*/ 18 w 123"/>
                        <a:gd name="T31" fmla="*/ 105 h 123"/>
                        <a:gd name="T32" fmla="*/ 31 w 123"/>
                        <a:gd name="T33" fmla="*/ 114 h 123"/>
                        <a:gd name="T34" fmla="*/ 45 w 123"/>
                        <a:gd name="T35" fmla="*/ 121 h 123"/>
                        <a:gd name="T36" fmla="*/ 61 w 123"/>
                        <a:gd name="T37" fmla="*/ 123 h 123"/>
                        <a:gd name="T38" fmla="*/ 78 w 123"/>
                        <a:gd name="T39" fmla="*/ 121 h 123"/>
                        <a:gd name="T40" fmla="*/ 93 w 123"/>
                        <a:gd name="T41" fmla="*/ 114 h 123"/>
                        <a:gd name="T42" fmla="*/ 105 w 123"/>
                        <a:gd name="T43" fmla="*/ 105 h 123"/>
                        <a:gd name="T44" fmla="*/ 115 w 123"/>
                        <a:gd name="T45" fmla="*/ 92 h 123"/>
                        <a:gd name="T46" fmla="*/ 121 w 123"/>
                        <a:gd name="T47" fmla="*/ 78 h 123"/>
                        <a:gd name="T48" fmla="*/ 123 w 123"/>
                        <a:gd name="T49" fmla="*/ 62 h 123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3"/>
                        <a:gd name="T76" fmla="*/ 0 h 123"/>
                        <a:gd name="T77" fmla="*/ 123 w 123"/>
                        <a:gd name="T78" fmla="*/ 123 h 123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3" h="123">
                          <a:moveTo>
                            <a:pt x="123" y="62"/>
                          </a:moveTo>
                          <a:lnTo>
                            <a:pt x="121" y="45"/>
                          </a:lnTo>
                          <a:lnTo>
                            <a:pt x="115" y="30"/>
                          </a:lnTo>
                          <a:lnTo>
                            <a:pt x="105" y="18"/>
                          </a:lnTo>
                          <a:lnTo>
                            <a:pt x="93" y="8"/>
                          </a:lnTo>
                          <a:lnTo>
                            <a:pt x="78" y="2"/>
                          </a:lnTo>
                          <a:lnTo>
                            <a:pt x="61" y="0"/>
                          </a:lnTo>
                          <a:lnTo>
                            <a:pt x="45" y="2"/>
                          </a:lnTo>
                          <a:lnTo>
                            <a:pt x="31" y="8"/>
                          </a:lnTo>
                          <a:lnTo>
                            <a:pt x="18" y="18"/>
                          </a:lnTo>
                          <a:lnTo>
                            <a:pt x="9" y="30"/>
                          </a:lnTo>
                          <a:lnTo>
                            <a:pt x="2" y="45"/>
                          </a:lnTo>
                          <a:lnTo>
                            <a:pt x="0" y="62"/>
                          </a:lnTo>
                          <a:lnTo>
                            <a:pt x="2" y="78"/>
                          </a:lnTo>
                          <a:lnTo>
                            <a:pt x="9" y="92"/>
                          </a:lnTo>
                          <a:lnTo>
                            <a:pt x="18" y="105"/>
                          </a:lnTo>
                          <a:lnTo>
                            <a:pt x="31" y="114"/>
                          </a:lnTo>
                          <a:lnTo>
                            <a:pt x="45" y="121"/>
                          </a:lnTo>
                          <a:lnTo>
                            <a:pt x="61" y="123"/>
                          </a:lnTo>
                          <a:lnTo>
                            <a:pt x="78" y="121"/>
                          </a:lnTo>
                          <a:lnTo>
                            <a:pt x="93" y="114"/>
                          </a:lnTo>
                          <a:lnTo>
                            <a:pt x="105" y="105"/>
                          </a:lnTo>
                          <a:lnTo>
                            <a:pt x="115" y="92"/>
                          </a:lnTo>
                          <a:lnTo>
                            <a:pt x="121" y="78"/>
                          </a:lnTo>
                          <a:lnTo>
                            <a:pt x="123" y="62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1" name="Freeform 78"/>
                    <p:cNvSpPr>
                      <a:spLocks/>
                    </p:cNvSpPr>
                    <p:nvPr/>
                  </p:nvSpPr>
                  <p:spPr bwMode="auto">
                    <a:xfrm>
                      <a:off x="4811" y="1177"/>
                      <a:ext cx="123" cy="123"/>
                    </a:xfrm>
                    <a:custGeom>
                      <a:avLst/>
                      <a:gdLst>
                        <a:gd name="T0" fmla="*/ 123 w 123"/>
                        <a:gd name="T1" fmla="*/ 62 h 123"/>
                        <a:gd name="T2" fmla="*/ 121 w 123"/>
                        <a:gd name="T3" fmla="*/ 45 h 123"/>
                        <a:gd name="T4" fmla="*/ 115 w 123"/>
                        <a:gd name="T5" fmla="*/ 30 h 123"/>
                        <a:gd name="T6" fmla="*/ 105 w 123"/>
                        <a:gd name="T7" fmla="*/ 18 h 123"/>
                        <a:gd name="T8" fmla="*/ 93 w 123"/>
                        <a:gd name="T9" fmla="*/ 8 h 123"/>
                        <a:gd name="T10" fmla="*/ 78 w 123"/>
                        <a:gd name="T11" fmla="*/ 2 h 123"/>
                        <a:gd name="T12" fmla="*/ 61 w 123"/>
                        <a:gd name="T13" fmla="*/ 0 h 123"/>
                        <a:gd name="T14" fmla="*/ 45 w 123"/>
                        <a:gd name="T15" fmla="*/ 2 h 123"/>
                        <a:gd name="T16" fmla="*/ 31 w 123"/>
                        <a:gd name="T17" fmla="*/ 8 h 123"/>
                        <a:gd name="T18" fmla="*/ 18 w 123"/>
                        <a:gd name="T19" fmla="*/ 18 h 123"/>
                        <a:gd name="T20" fmla="*/ 9 w 123"/>
                        <a:gd name="T21" fmla="*/ 30 h 123"/>
                        <a:gd name="T22" fmla="*/ 2 w 123"/>
                        <a:gd name="T23" fmla="*/ 45 h 123"/>
                        <a:gd name="T24" fmla="*/ 0 w 123"/>
                        <a:gd name="T25" fmla="*/ 62 h 123"/>
                        <a:gd name="T26" fmla="*/ 2 w 123"/>
                        <a:gd name="T27" fmla="*/ 78 h 123"/>
                        <a:gd name="T28" fmla="*/ 9 w 123"/>
                        <a:gd name="T29" fmla="*/ 92 h 123"/>
                        <a:gd name="T30" fmla="*/ 18 w 123"/>
                        <a:gd name="T31" fmla="*/ 105 h 123"/>
                        <a:gd name="T32" fmla="*/ 31 w 123"/>
                        <a:gd name="T33" fmla="*/ 114 h 123"/>
                        <a:gd name="T34" fmla="*/ 45 w 123"/>
                        <a:gd name="T35" fmla="*/ 121 h 123"/>
                        <a:gd name="T36" fmla="*/ 61 w 123"/>
                        <a:gd name="T37" fmla="*/ 123 h 123"/>
                        <a:gd name="T38" fmla="*/ 78 w 123"/>
                        <a:gd name="T39" fmla="*/ 121 h 123"/>
                        <a:gd name="T40" fmla="*/ 93 w 123"/>
                        <a:gd name="T41" fmla="*/ 114 h 123"/>
                        <a:gd name="T42" fmla="*/ 105 w 123"/>
                        <a:gd name="T43" fmla="*/ 105 h 123"/>
                        <a:gd name="T44" fmla="*/ 115 w 123"/>
                        <a:gd name="T45" fmla="*/ 92 h 123"/>
                        <a:gd name="T46" fmla="*/ 121 w 123"/>
                        <a:gd name="T47" fmla="*/ 78 h 123"/>
                        <a:gd name="T48" fmla="*/ 123 w 123"/>
                        <a:gd name="T49" fmla="*/ 62 h 123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3"/>
                        <a:gd name="T76" fmla="*/ 0 h 123"/>
                        <a:gd name="T77" fmla="*/ 123 w 123"/>
                        <a:gd name="T78" fmla="*/ 123 h 123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3" h="123">
                          <a:moveTo>
                            <a:pt x="123" y="62"/>
                          </a:moveTo>
                          <a:lnTo>
                            <a:pt x="121" y="45"/>
                          </a:lnTo>
                          <a:lnTo>
                            <a:pt x="115" y="30"/>
                          </a:lnTo>
                          <a:lnTo>
                            <a:pt x="105" y="18"/>
                          </a:lnTo>
                          <a:lnTo>
                            <a:pt x="93" y="8"/>
                          </a:lnTo>
                          <a:lnTo>
                            <a:pt x="78" y="2"/>
                          </a:lnTo>
                          <a:lnTo>
                            <a:pt x="61" y="0"/>
                          </a:lnTo>
                          <a:lnTo>
                            <a:pt x="45" y="2"/>
                          </a:lnTo>
                          <a:lnTo>
                            <a:pt x="31" y="8"/>
                          </a:lnTo>
                          <a:lnTo>
                            <a:pt x="18" y="18"/>
                          </a:lnTo>
                          <a:lnTo>
                            <a:pt x="9" y="30"/>
                          </a:lnTo>
                          <a:lnTo>
                            <a:pt x="2" y="45"/>
                          </a:lnTo>
                          <a:lnTo>
                            <a:pt x="0" y="62"/>
                          </a:lnTo>
                          <a:lnTo>
                            <a:pt x="2" y="78"/>
                          </a:lnTo>
                          <a:lnTo>
                            <a:pt x="9" y="92"/>
                          </a:lnTo>
                          <a:lnTo>
                            <a:pt x="18" y="105"/>
                          </a:lnTo>
                          <a:lnTo>
                            <a:pt x="31" y="114"/>
                          </a:lnTo>
                          <a:lnTo>
                            <a:pt x="45" y="121"/>
                          </a:lnTo>
                          <a:lnTo>
                            <a:pt x="61" y="123"/>
                          </a:lnTo>
                          <a:lnTo>
                            <a:pt x="78" y="121"/>
                          </a:lnTo>
                          <a:lnTo>
                            <a:pt x="93" y="114"/>
                          </a:lnTo>
                          <a:lnTo>
                            <a:pt x="105" y="105"/>
                          </a:lnTo>
                          <a:lnTo>
                            <a:pt x="115" y="92"/>
                          </a:lnTo>
                          <a:lnTo>
                            <a:pt x="121" y="78"/>
                          </a:lnTo>
                          <a:lnTo>
                            <a:pt x="123" y="62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2" name="Freeform 79"/>
                    <p:cNvSpPr>
                      <a:spLocks/>
                    </p:cNvSpPr>
                    <p:nvPr/>
                  </p:nvSpPr>
                  <p:spPr bwMode="auto">
                    <a:xfrm>
                      <a:off x="4441" y="2851"/>
                      <a:ext cx="122" cy="122"/>
                    </a:xfrm>
                    <a:custGeom>
                      <a:avLst/>
                      <a:gdLst>
                        <a:gd name="T0" fmla="*/ 122 w 122"/>
                        <a:gd name="T1" fmla="*/ 61 h 122"/>
                        <a:gd name="T2" fmla="*/ 119 w 122"/>
                        <a:gd name="T3" fmla="*/ 45 h 122"/>
                        <a:gd name="T4" fmla="*/ 113 w 122"/>
                        <a:gd name="T5" fmla="*/ 31 h 122"/>
                        <a:gd name="T6" fmla="*/ 104 w 122"/>
                        <a:gd name="T7" fmla="*/ 18 h 122"/>
                        <a:gd name="T8" fmla="*/ 91 w 122"/>
                        <a:gd name="T9" fmla="*/ 9 h 122"/>
                        <a:gd name="T10" fmla="*/ 77 w 122"/>
                        <a:gd name="T11" fmla="*/ 2 h 122"/>
                        <a:gd name="T12" fmla="*/ 60 w 122"/>
                        <a:gd name="T13" fmla="*/ 0 h 122"/>
                        <a:gd name="T14" fmla="*/ 44 w 122"/>
                        <a:gd name="T15" fmla="*/ 2 h 122"/>
                        <a:gd name="T16" fmla="*/ 30 w 122"/>
                        <a:gd name="T17" fmla="*/ 9 h 122"/>
                        <a:gd name="T18" fmla="*/ 17 w 122"/>
                        <a:gd name="T19" fmla="*/ 18 h 122"/>
                        <a:gd name="T20" fmla="*/ 8 w 122"/>
                        <a:gd name="T21" fmla="*/ 31 h 122"/>
                        <a:gd name="T22" fmla="*/ 2 w 122"/>
                        <a:gd name="T23" fmla="*/ 45 h 122"/>
                        <a:gd name="T24" fmla="*/ 0 w 122"/>
                        <a:gd name="T25" fmla="*/ 61 h 122"/>
                        <a:gd name="T26" fmla="*/ 2 w 122"/>
                        <a:gd name="T27" fmla="*/ 78 h 122"/>
                        <a:gd name="T28" fmla="*/ 8 w 122"/>
                        <a:gd name="T29" fmla="*/ 92 h 122"/>
                        <a:gd name="T30" fmla="*/ 17 w 122"/>
                        <a:gd name="T31" fmla="*/ 104 h 122"/>
                        <a:gd name="T32" fmla="*/ 30 w 122"/>
                        <a:gd name="T33" fmla="*/ 114 h 122"/>
                        <a:gd name="T34" fmla="*/ 44 w 122"/>
                        <a:gd name="T35" fmla="*/ 119 h 122"/>
                        <a:gd name="T36" fmla="*/ 60 w 122"/>
                        <a:gd name="T37" fmla="*/ 122 h 122"/>
                        <a:gd name="T38" fmla="*/ 77 w 122"/>
                        <a:gd name="T39" fmla="*/ 119 h 122"/>
                        <a:gd name="T40" fmla="*/ 91 w 122"/>
                        <a:gd name="T41" fmla="*/ 114 h 122"/>
                        <a:gd name="T42" fmla="*/ 104 w 122"/>
                        <a:gd name="T43" fmla="*/ 104 h 122"/>
                        <a:gd name="T44" fmla="*/ 113 w 122"/>
                        <a:gd name="T45" fmla="*/ 92 h 122"/>
                        <a:gd name="T46" fmla="*/ 119 w 122"/>
                        <a:gd name="T47" fmla="*/ 78 h 122"/>
                        <a:gd name="T48" fmla="*/ 122 w 122"/>
                        <a:gd name="T49" fmla="*/ 61 h 122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2"/>
                        <a:gd name="T76" fmla="*/ 0 h 122"/>
                        <a:gd name="T77" fmla="*/ 122 w 122"/>
                        <a:gd name="T78" fmla="*/ 122 h 122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2" h="122">
                          <a:moveTo>
                            <a:pt x="122" y="61"/>
                          </a:moveTo>
                          <a:lnTo>
                            <a:pt x="119" y="45"/>
                          </a:lnTo>
                          <a:lnTo>
                            <a:pt x="113" y="31"/>
                          </a:lnTo>
                          <a:lnTo>
                            <a:pt x="104" y="18"/>
                          </a:lnTo>
                          <a:lnTo>
                            <a:pt x="91" y="9"/>
                          </a:lnTo>
                          <a:lnTo>
                            <a:pt x="77" y="2"/>
                          </a:lnTo>
                          <a:lnTo>
                            <a:pt x="60" y="0"/>
                          </a:lnTo>
                          <a:lnTo>
                            <a:pt x="44" y="2"/>
                          </a:lnTo>
                          <a:lnTo>
                            <a:pt x="30" y="9"/>
                          </a:lnTo>
                          <a:lnTo>
                            <a:pt x="17" y="18"/>
                          </a:lnTo>
                          <a:lnTo>
                            <a:pt x="8" y="31"/>
                          </a:lnTo>
                          <a:lnTo>
                            <a:pt x="2" y="45"/>
                          </a:lnTo>
                          <a:lnTo>
                            <a:pt x="0" y="61"/>
                          </a:lnTo>
                          <a:lnTo>
                            <a:pt x="2" y="78"/>
                          </a:lnTo>
                          <a:lnTo>
                            <a:pt x="8" y="92"/>
                          </a:lnTo>
                          <a:lnTo>
                            <a:pt x="17" y="104"/>
                          </a:lnTo>
                          <a:lnTo>
                            <a:pt x="30" y="114"/>
                          </a:lnTo>
                          <a:lnTo>
                            <a:pt x="44" y="119"/>
                          </a:lnTo>
                          <a:lnTo>
                            <a:pt x="60" y="122"/>
                          </a:lnTo>
                          <a:lnTo>
                            <a:pt x="77" y="119"/>
                          </a:lnTo>
                          <a:lnTo>
                            <a:pt x="91" y="114"/>
                          </a:lnTo>
                          <a:lnTo>
                            <a:pt x="104" y="104"/>
                          </a:lnTo>
                          <a:lnTo>
                            <a:pt x="113" y="92"/>
                          </a:lnTo>
                          <a:lnTo>
                            <a:pt x="119" y="78"/>
                          </a:lnTo>
                          <a:lnTo>
                            <a:pt x="122" y="61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3" name="Freeform 80"/>
                    <p:cNvSpPr>
                      <a:spLocks/>
                    </p:cNvSpPr>
                    <p:nvPr/>
                  </p:nvSpPr>
                  <p:spPr bwMode="auto">
                    <a:xfrm>
                      <a:off x="4441" y="2851"/>
                      <a:ext cx="122" cy="122"/>
                    </a:xfrm>
                    <a:custGeom>
                      <a:avLst/>
                      <a:gdLst>
                        <a:gd name="T0" fmla="*/ 122 w 122"/>
                        <a:gd name="T1" fmla="*/ 61 h 122"/>
                        <a:gd name="T2" fmla="*/ 119 w 122"/>
                        <a:gd name="T3" fmla="*/ 45 h 122"/>
                        <a:gd name="T4" fmla="*/ 113 w 122"/>
                        <a:gd name="T5" fmla="*/ 31 h 122"/>
                        <a:gd name="T6" fmla="*/ 104 w 122"/>
                        <a:gd name="T7" fmla="*/ 18 h 122"/>
                        <a:gd name="T8" fmla="*/ 91 w 122"/>
                        <a:gd name="T9" fmla="*/ 9 h 122"/>
                        <a:gd name="T10" fmla="*/ 77 w 122"/>
                        <a:gd name="T11" fmla="*/ 2 h 122"/>
                        <a:gd name="T12" fmla="*/ 60 w 122"/>
                        <a:gd name="T13" fmla="*/ 0 h 122"/>
                        <a:gd name="T14" fmla="*/ 44 w 122"/>
                        <a:gd name="T15" fmla="*/ 2 h 122"/>
                        <a:gd name="T16" fmla="*/ 30 w 122"/>
                        <a:gd name="T17" fmla="*/ 9 h 122"/>
                        <a:gd name="T18" fmla="*/ 17 w 122"/>
                        <a:gd name="T19" fmla="*/ 18 h 122"/>
                        <a:gd name="T20" fmla="*/ 8 w 122"/>
                        <a:gd name="T21" fmla="*/ 31 h 122"/>
                        <a:gd name="T22" fmla="*/ 2 w 122"/>
                        <a:gd name="T23" fmla="*/ 45 h 122"/>
                        <a:gd name="T24" fmla="*/ 0 w 122"/>
                        <a:gd name="T25" fmla="*/ 61 h 122"/>
                        <a:gd name="T26" fmla="*/ 2 w 122"/>
                        <a:gd name="T27" fmla="*/ 78 h 122"/>
                        <a:gd name="T28" fmla="*/ 8 w 122"/>
                        <a:gd name="T29" fmla="*/ 92 h 122"/>
                        <a:gd name="T30" fmla="*/ 17 w 122"/>
                        <a:gd name="T31" fmla="*/ 104 h 122"/>
                        <a:gd name="T32" fmla="*/ 30 w 122"/>
                        <a:gd name="T33" fmla="*/ 114 h 122"/>
                        <a:gd name="T34" fmla="*/ 44 w 122"/>
                        <a:gd name="T35" fmla="*/ 119 h 122"/>
                        <a:gd name="T36" fmla="*/ 60 w 122"/>
                        <a:gd name="T37" fmla="*/ 122 h 122"/>
                        <a:gd name="T38" fmla="*/ 77 w 122"/>
                        <a:gd name="T39" fmla="*/ 119 h 122"/>
                        <a:gd name="T40" fmla="*/ 91 w 122"/>
                        <a:gd name="T41" fmla="*/ 114 h 122"/>
                        <a:gd name="T42" fmla="*/ 104 w 122"/>
                        <a:gd name="T43" fmla="*/ 104 h 122"/>
                        <a:gd name="T44" fmla="*/ 113 w 122"/>
                        <a:gd name="T45" fmla="*/ 92 h 122"/>
                        <a:gd name="T46" fmla="*/ 119 w 122"/>
                        <a:gd name="T47" fmla="*/ 78 h 122"/>
                        <a:gd name="T48" fmla="*/ 122 w 122"/>
                        <a:gd name="T49" fmla="*/ 61 h 122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2"/>
                        <a:gd name="T76" fmla="*/ 0 h 122"/>
                        <a:gd name="T77" fmla="*/ 122 w 122"/>
                        <a:gd name="T78" fmla="*/ 122 h 122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2" h="122">
                          <a:moveTo>
                            <a:pt x="122" y="61"/>
                          </a:moveTo>
                          <a:lnTo>
                            <a:pt x="119" y="45"/>
                          </a:lnTo>
                          <a:lnTo>
                            <a:pt x="113" y="31"/>
                          </a:lnTo>
                          <a:lnTo>
                            <a:pt x="104" y="18"/>
                          </a:lnTo>
                          <a:lnTo>
                            <a:pt x="91" y="9"/>
                          </a:lnTo>
                          <a:lnTo>
                            <a:pt x="77" y="2"/>
                          </a:lnTo>
                          <a:lnTo>
                            <a:pt x="60" y="0"/>
                          </a:lnTo>
                          <a:lnTo>
                            <a:pt x="44" y="2"/>
                          </a:lnTo>
                          <a:lnTo>
                            <a:pt x="30" y="9"/>
                          </a:lnTo>
                          <a:lnTo>
                            <a:pt x="17" y="18"/>
                          </a:lnTo>
                          <a:lnTo>
                            <a:pt x="8" y="31"/>
                          </a:lnTo>
                          <a:lnTo>
                            <a:pt x="2" y="45"/>
                          </a:lnTo>
                          <a:lnTo>
                            <a:pt x="0" y="61"/>
                          </a:lnTo>
                          <a:lnTo>
                            <a:pt x="2" y="78"/>
                          </a:lnTo>
                          <a:lnTo>
                            <a:pt x="8" y="92"/>
                          </a:lnTo>
                          <a:lnTo>
                            <a:pt x="17" y="104"/>
                          </a:lnTo>
                          <a:lnTo>
                            <a:pt x="30" y="114"/>
                          </a:lnTo>
                          <a:lnTo>
                            <a:pt x="44" y="119"/>
                          </a:lnTo>
                          <a:lnTo>
                            <a:pt x="60" y="122"/>
                          </a:lnTo>
                          <a:lnTo>
                            <a:pt x="77" y="119"/>
                          </a:lnTo>
                          <a:lnTo>
                            <a:pt x="91" y="114"/>
                          </a:lnTo>
                          <a:lnTo>
                            <a:pt x="104" y="104"/>
                          </a:lnTo>
                          <a:lnTo>
                            <a:pt x="113" y="92"/>
                          </a:lnTo>
                          <a:lnTo>
                            <a:pt x="119" y="78"/>
                          </a:lnTo>
                          <a:lnTo>
                            <a:pt x="122" y="61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4" name="Freeform 81"/>
                    <p:cNvSpPr>
                      <a:spLocks/>
                    </p:cNvSpPr>
                    <p:nvPr/>
                  </p:nvSpPr>
                  <p:spPr bwMode="auto">
                    <a:xfrm>
                      <a:off x="4047" y="2697"/>
                      <a:ext cx="120" cy="120"/>
                    </a:xfrm>
                    <a:custGeom>
                      <a:avLst/>
                      <a:gdLst>
                        <a:gd name="T0" fmla="*/ 120 w 120"/>
                        <a:gd name="T1" fmla="*/ 60 h 120"/>
                        <a:gd name="T2" fmla="*/ 118 w 120"/>
                        <a:gd name="T3" fmla="*/ 44 h 120"/>
                        <a:gd name="T4" fmla="*/ 113 w 120"/>
                        <a:gd name="T5" fmla="*/ 30 h 120"/>
                        <a:gd name="T6" fmla="*/ 103 w 120"/>
                        <a:gd name="T7" fmla="*/ 17 h 120"/>
                        <a:gd name="T8" fmla="*/ 91 w 120"/>
                        <a:gd name="T9" fmla="*/ 8 h 120"/>
                        <a:gd name="T10" fmla="*/ 76 w 120"/>
                        <a:gd name="T11" fmla="*/ 2 h 120"/>
                        <a:gd name="T12" fmla="*/ 61 w 120"/>
                        <a:gd name="T13" fmla="*/ 0 h 120"/>
                        <a:gd name="T14" fmla="*/ 45 w 120"/>
                        <a:gd name="T15" fmla="*/ 2 h 120"/>
                        <a:gd name="T16" fmla="*/ 30 w 120"/>
                        <a:gd name="T17" fmla="*/ 8 h 120"/>
                        <a:gd name="T18" fmla="*/ 18 w 120"/>
                        <a:gd name="T19" fmla="*/ 17 h 120"/>
                        <a:gd name="T20" fmla="*/ 9 w 120"/>
                        <a:gd name="T21" fmla="*/ 30 h 120"/>
                        <a:gd name="T22" fmla="*/ 3 w 120"/>
                        <a:gd name="T23" fmla="*/ 44 h 120"/>
                        <a:gd name="T24" fmla="*/ 0 w 120"/>
                        <a:gd name="T25" fmla="*/ 60 h 120"/>
                        <a:gd name="T26" fmla="*/ 3 w 120"/>
                        <a:gd name="T27" fmla="*/ 75 h 120"/>
                        <a:gd name="T28" fmla="*/ 9 w 120"/>
                        <a:gd name="T29" fmla="*/ 90 h 120"/>
                        <a:gd name="T30" fmla="*/ 18 w 120"/>
                        <a:gd name="T31" fmla="*/ 102 h 120"/>
                        <a:gd name="T32" fmla="*/ 30 w 120"/>
                        <a:gd name="T33" fmla="*/ 111 h 120"/>
                        <a:gd name="T34" fmla="*/ 45 w 120"/>
                        <a:gd name="T35" fmla="*/ 118 h 120"/>
                        <a:gd name="T36" fmla="*/ 61 w 120"/>
                        <a:gd name="T37" fmla="*/ 120 h 120"/>
                        <a:gd name="T38" fmla="*/ 76 w 120"/>
                        <a:gd name="T39" fmla="*/ 118 h 120"/>
                        <a:gd name="T40" fmla="*/ 91 w 120"/>
                        <a:gd name="T41" fmla="*/ 111 h 120"/>
                        <a:gd name="T42" fmla="*/ 103 w 120"/>
                        <a:gd name="T43" fmla="*/ 102 h 120"/>
                        <a:gd name="T44" fmla="*/ 113 w 120"/>
                        <a:gd name="T45" fmla="*/ 90 h 120"/>
                        <a:gd name="T46" fmla="*/ 118 w 120"/>
                        <a:gd name="T47" fmla="*/ 75 h 120"/>
                        <a:gd name="T48" fmla="*/ 120 w 120"/>
                        <a:gd name="T49" fmla="*/ 60 h 120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0"/>
                        <a:gd name="T76" fmla="*/ 0 h 120"/>
                        <a:gd name="T77" fmla="*/ 120 w 120"/>
                        <a:gd name="T78" fmla="*/ 120 h 120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0" h="120">
                          <a:moveTo>
                            <a:pt x="120" y="60"/>
                          </a:moveTo>
                          <a:lnTo>
                            <a:pt x="118" y="44"/>
                          </a:lnTo>
                          <a:lnTo>
                            <a:pt x="113" y="30"/>
                          </a:lnTo>
                          <a:lnTo>
                            <a:pt x="103" y="17"/>
                          </a:lnTo>
                          <a:lnTo>
                            <a:pt x="91" y="8"/>
                          </a:lnTo>
                          <a:lnTo>
                            <a:pt x="76" y="2"/>
                          </a:lnTo>
                          <a:lnTo>
                            <a:pt x="61" y="0"/>
                          </a:lnTo>
                          <a:lnTo>
                            <a:pt x="45" y="2"/>
                          </a:lnTo>
                          <a:lnTo>
                            <a:pt x="30" y="8"/>
                          </a:lnTo>
                          <a:lnTo>
                            <a:pt x="18" y="17"/>
                          </a:lnTo>
                          <a:lnTo>
                            <a:pt x="9" y="30"/>
                          </a:lnTo>
                          <a:lnTo>
                            <a:pt x="3" y="44"/>
                          </a:lnTo>
                          <a:lnTo>
                            <a:pt x="0" y="60"/>
                          </a:lnTo>
                          <a:lnTo>
                            <a:pt x="3" y="75"/>
                          </a:lnTo>
                          <a:lnTo>
                            <a:pt x="9" y="90"/>
                          </a:lnTo>
                          <a:lnTo>
                            <a:pt x="18" y="102"/>
                          </a:lnTo>
                          <a:lnTo>
                            <a:pt x="30" y="111"/>
                          </a:lnTo>
                          <a:lnTo>
                            <a:pt x="45" y="118"/>
                          </a:lnTo>
                          <a:lnTo>
                            <a:pt x="61" y="120"/>
                          </a:lnTo>
                          <a:lnTo>
                            <a:pt x="76" y="118"/>
                          </a:lnTo>
                          <a:lnTo>
                            <a:pt x="91" y="111"/>
                          </a:lnTo>
                          <a:lnTo>
                            <a:pt x="103" y="102"/>
                          </a:lnTo>
                          <a:lnTo>
                            <a:pt x="113" y="90"/>
                          </a:lnTo>
                          <a:lnTo>
                            <a:pt x="118" y="75"/>
                          </a:lnTo>
                          <a:lnTo>
                            <a:pt x="120" y="6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5" name="Freeform 82"/>
                    <p:cNvSpPr>
                      <a:spLocks/>
                    </p:cNvSpPr>
                    <p:nvPr/>
                  </p:nvSpPr>
                  <p:spPr bwMode="auto">
                    <a:xfrm>
                      <a:off x="4047" y="2697"/>
                      <a:ext cx="120" cy="120"/>
                    </a:xfrm>
                    <a:custGeom>
                      <a:avLst/>
                      <a:gdLst>
                        <a:gd name="T0" fmla="*/ 120 w 120"/>
                        <a:gd name="T1" fmla="*/ 60 h 120"/>
                        <a:gd name="T2" fmla="*/ 118 w 120"/>
                        <a:gd name="T3" fmla="*/ 44 h 120"/>
                        <a:gd name="T4" fmla="*/ 113 w 120"/>
                        <a:gd name="T5" fmla="*/ 30 h 120"/>
                        <a:gd name="T6" fmla="*/ 103 w 120"/>
                        <a:gd name="T7" fmla="*/ 17 h 120"/>
                        <a:gd name="T8" fmla="*/ 91 w 120"/>
                        <a:gd name="T9" fmla="*/ 8 h 120"/>
                        <a:gd name="T10" fmla="*/ 76 w 120"/>
                        <a:gd name="T11" fmla="*/ 2 h 120"/>
                        <a:gd name="T12" fmla="*/ 61 w 120"/>
                        <a:gd name="T13" fmla="*/ 0 h 120"/>
                        <a:gd name="T14" fmla="*/ 45 w 120"/>
                        <a:gd name="T15" fmla="*/ 2 h 120"/>
                        <a:gd name="T16" fmla="*/ 30 w 120"/>
                        <a:gd name="T17" fmla="*/ 8 h 120"/>
                        <a:gd name="T18" fmla="*/ 18 w 120"/>
                        <a:gd name="T19" fmla="*/ 17 h 120"/>
                        <a:gd name="T20" fmla="*/ 9 w 120"/>
                        <a:gd name="T21" fmla="*/ 30 h 120"/>
                        <a:gd name="T22" fmla="*/ 3 w 120"/>
                        <a:gd name="T23" fmla="*/ 44 h 120"/>
                        <a:gd name="T24" fmla="*/ 0 w 120"/>
                        <a:gd name="T25" fmla="*/ 60 h 120"/>
                        <a:gd name="T26" fmla="*/ 3 w 120"/>
                        <a:gd name="T27" fmla="*/ 75 h 120"/>
                        <a:gd name="T28" fmla="*/ 9 w 120"/>
                        <a:gd name="T29" fmla="*/ 90 h 120"/>
                        <a:gd name="T30" fmla="*/ 18 w 120"/>
                        <a:gd name="T31" fmla="*/ 102 h 120"/>
                        <a:gd name="T32" fmla="*/ 30 w 120"/>
                        <a:gd name="T33" fmla="*/ 111 h 120"/>
                        <a:gd name="T34" fmla="*/ 45 w 120"/>
                        <a:gd name="T35" fmla="*/ 118 h 120"/>
                        <a:gd name="T36" fmla="*/ 61 w 120"/>
                        <a:gd name="T37" fmla="*/ 120 h 120"/>
                        <a:gd name="T38" fmla="*/ 76 w 120"/>
                        <a:gd name="T39" fmla="*/ 118 h 120"/>
                        <a:gd name="T40" fmla="*/ 91 w 120"/>
                        <a:gd name="T41" fmla="*/ 111 h 120"/>
                        <a:gd name="T42" fmla="*/ 103 w 120"/>
                        <a:gd name="T43" fmla="*/ 102 h 120"/>
                        <a:gd name="T44" fmla="*/ 113 w 120"/>
                        <a:gd name="T45" fmla="*/ 90 h 120"/>
                        <a:gd name="T46" fmla="*/ 118 w 120"/>
                        <a:gd name="T47" fmla="*/ 75 h 120"/>
                        <a:gd name="T48" fmla="*/ 120 w 120"/>
                        <a:gd name="T49" fmla="*/ 60 h 120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0"/>
                        <a:gd name="T76" fmla="*/ 0 h 120"/>
                        <a:gd name="T77" fmla="*/ 120 w 120"/>
                        <a:gd name="T78" fmla="*/ 120 h 120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0" h="120">
                          <a:moveTo>
                            <a:pt x="120" y="60"/>
                          </a:moveTo>
                          <a:lnTo>
                            <a:pt x="118" y="44"/>
                          </a:lnTo>
                          <a:lnTo>
                            <a:pt x="113" y="30"/>
                          </a:lnTo>
                          <a:lnTo>
                            <a:pt x="103" y="17"/>
                          </a:lnTo>
                          <a:lnTo>
                            <a:pt x="91" y="8"/>
                          </a:lnTo>
                          <a:lnTo>
                            <a:pt x="76" y="2"/>
                          </a:lnTo>
                          <a:lnTo>
                            <a:pt x="61" y="0"/>
                          </a:lnTo>
                          <a:lnTo>
                            <a:pt x="45" y="2"/>
                          </a:lnTo>
                          <a:lnTo>
                            <a:pt x="30" y="8"/>
                          </a:lnTo>
                          <a:lnTo>
                            <a:pt x="18" y="17"/>
                          </a:lnTo>
                          <a:lnTo>
                            <a:pt x="9" y="30"/>
                          </a:lnTo>
                          <a:lnTo>
                            <a:pt x="3" y="44"/>
                          </a:lnTo>
                          <a:lnTo>
                            <a:pt x="0" y="60"/>
                          </a:lnTo>
                          <a:lnTo>
                            <a:pt x="3" y="75"/>
                          </a:lnTo>
                          <a:lnTo>
                            <a:pt x="9" y="90"/>
                          </a:lnTo>
                          <a:lnTo>
                            <a:pt x="18" y="102"/>
                          </a:lnTo>
                          <a:lnTo>
                            <a:pt x="30" y="111"/>
                          </a:lnTo>
                          <a:lnTo>
                            <a:pt x="45" y="118"/>
                          </a:lnTo>
                          <a:lnTo>
                            <a:pt x="61" y="120"/>
                          </a:lnTo>
                          <a:lnTo>
                            <a:pt x="76" y="118"/>
                          </a:lnTo>
                          <a:lnTo>
                            <a:pt x="91" y="111"/>
                          </a:lnTo>
                          <a:lnTo>
                            <a:pt x="103" y="102"/>
                          </a:lnTo>
                          <a:lnTo>
                            <a:pt x="113" y="90"/>
                          </a:lnTo>
                          <a:lnTo>
                            <a:pt x="118" y="75"/>
                          </a:lnTo>
                          <a:lnTo>
                            <a:pt x="120" y="6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6" name="Freeform 83"/>
                    <p:cNvSpPr>
                      <a:spLocks/>
                    </p:cNvSpPr>
                    <p:nvPr/>
                  </p:nvSpPr>
                  <p:spPr bwMode="auto">
                    <a:xfrm>
                      <a:off x="4792" y="1163"/>
                      <a:ext cx="120" cy="120"/>
                    </a:xfrm>
                    <a:custGeom>
                      <a:avLst/>
                      <a:gdLst>
                        <a:gd name="T0" fmla="*/ 120 w 120"/>
                        <a:gd name="T1" fmla="*/ 61 h 120"/>
                        <a:gd name="T2" fmla="*/ 118 w 120"/>
                        <a:gd name="T3" fmla="*/ 44 h 120"/>
                        <a:gd name="T4" fmla="*/ 112 w 120"/>
                        <a:gd name="T5" fmla="*/ 30 h 120"/>
                        <a:gd name="T6" fmla="*/ 103 w 120"/>
                        <a:gd name="T7" fmla="*/ 17 h 120"/>
                        <a:gd name="T8" fmla="*/ 90 w 120"/>
                        <a:gd name="T9" fmla="*/ 8 h 120"/>
                        <a:gd name="T10" fmla="*/ 76 w 120"/>
                        <a:gd name="T11" fmla="*/ 3 h 120"/>
                        <a:gd name="T12" fmla="*/ 60 w 120"/>
                        <a:gd name="T13" fmla="*/ 0 h 120"/>
                        <a:gd name="T14" fmla="*/ 44 w 120"/>
                        <a:gd name="T15" fmla="*/ 3 h 120"/>
                        <a:gd name="T16" fmla="*/ 30 w 120"/>
                        <a:gd name="T17" fmla="*/ 8 h 120"/>
                        <a:gd name="T18" fmla="*/ 17 w 120"/>
                        <a:gd name="T19" fmla="*/ 17 h 120"/>
                        <a:gd name="T20" fmla="*/ 8 w 120"/>
                        <a:gd name="T21" fmla="*/ 30 h 120"/>
                        <a:gd name="T22" fmla="*/ 2 w 120"/>
                        <a:gd name="T23" fmla="*/ 44 h 120"/>
                        <a:gd name="T24" fmla="*/ 0 w 120"/>
                        <a:gd name="T25" fmla="*/ 61 h 120"/>
                        <a:gd name="T26" fmla="*/ 2 w 120"/>
                        <a:gd name="T27" fmla="*/ 76 h 120"/>
                        <a:gd name="T28" fmla="*/ 8 w 120"/>
                        <a:gd name="T29" fmla="*/ 91 h 120"/>
                        <a:gd name="T30" fmla="*/ 17 w 120"/>
                        <a:gd name="T31" fmla="*/ 103 h 120"/>
                        <a:gd name="T32" fmla="*/ 30 w 120"/>
                        <a:gd name="T33" fmla="*/ 113 h 120"/>
                        <a:gd name="T34" fmla="*/ 44 w 120"/>
                        <a:gd name="T35" fmla="*/ 118 h 120"/>
                        <a:gd name="T36" fmla="*/ 60 w 120"/>
                        <a:gd name="T37" fmla="*/ 120 h 120"/>
                        <a:gd name="T38" fmla="*/ 76 w 120"/>
                        <a:gd name="T39" fmla="*/ 118 h 120"/>
                        <a:gd name="T40" fmla="*/ 90 w 120"/>
                        <a:gd name="T41" fmla="*/ 113 h 120"/>
                        <a:gd name="T42" fmla="*/ 103 w 120"/>
                        <a:gd name="T43" fmla="*/ 103 h 120"/>
                        <a:gd name="T44" fmla="*/ 112 w 120"/>
                        <a:gd name="T45" fmla="*/ 91 h 120"/>
                        <a:gd name="T46" fmla="*/ 118 w 120"/>
                        <a:gd name="T47" fmla="*/ 76 h 120"/>
                        <a:gd name="T48" fmla="*/ 120 w 120"/>
                        <a:gd name="T49" fmla="*/ 61 h 120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0"/>
                        <a:gd name="T76" fmla="*/ 0 h 120"/>
                        <a:gd name="T77" fmla="*/ 120 w 120"/>
                        <a:gd name="T78" fmla="*/ 120 h 120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0" h="120">
                          <a:moveTo>
                            <a:pt x="120" y="61"/>
                          </a:moveTo>
                          <a:lnTo>
                            <a:pt x="118" y="44"/>
                          </a:lnTo>
                          <a:lnTo>
                            <a:pt x="112" y="30"/>
                          </a:lnTo>
                          <a:lnTo>
                            <a:pt x="103" y="17"/>
                          </a:lnTo>
                          <a:lnTo>
                            <a:pt x="90" y="8"/>
                          </a:lnTo>
                          <a:lnTo>
                            <a:pt x="76" y="3"/>
                          </a:lnTo>
                          <a:lnTo>
                            <a:pt x="60" y="0"/>
                          </a:lnTo>
                          <a:lnTo>
                            <a:pt x="44" y="3"/>
                          </a:lnTo>
                          <a:lnTo>
                            <a:pt x="30" y="8"/>
                          </a:lnTo>
                          <a:lnTo>
                            <a:pt x="17" y="17"/>
                          </a:lnTo>
                          <a:lnTo>
                            <a:pt x="8" y="30"/>
                          </a:lnTo>
                          <a:lnTo>
                            <a:pt x="2" y="44"/>
                          </a:lnTo>
                          <a:lnTo>
                            <a:pt x="0" y="61"/>
                          </a:lnTo>
                          <a:lnTo>
                            <a:pt x="2" y="76"/>
                          </a:lnTo>
                          <a:lnTo>
                            <a:pt x="8" y="91"/>
                          </a:lnTo>
                          <a:lnTo>
                            <a:pt x="17" y="103"/>
                          </a:lnTo>
                          <a:lnTo>
                            <a:pt x="30" y="113"/>
                          </a:lnTo>
                          <a:lnTo>
                            <a:pt x="44" y="118"/>
                          </a:lnTo>
                          <a:lnTo>
                            <a:pt x="60" y="120"/>
                          </a:lnTo>
                          <a:lnTo>
                            <a:pt x="76" y="118"/>
                          </a:lnTo>
                          <a:lnTo>
                            <a:pt x="90" y="113"/>
                          </a:lnTo>
                          <a:lnTo>
                            <a:pt x="103" y="103"/>
                          </a:lnTo>
                          <a:lnTo>
                            <a:pt x="112" y="91"/>
                          </a:lnTo>
                          <a:lnTo>
                            <a:pt x="118" y="76"/>
                          </a:lnTo>
                          <a:lnTo>
                            <a:pt x="120" y="61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7" name="Freeform 84"/>
                    <p:cNvSpPr>
                      <a:spLocks/>
                    </p:cNvSpPr>
                    <p:nvPr/>
                  </p:nvSpPr>
                  <p:spPr bwMode="auto">
                    <a:xfrm>
                      <a:off x="4792" y="1163"/>
                      <a:ext cx="120" cy="120"/>
                    </a:xfrm>
                    <a:custGeom>
                      <a:avLst/>
                      <a:gdLst>
                        <a:gd name="T0" fmla="*/ 120 w 120"/>
                        <a:gd name="T1" fmla="*/ 61 h 120"/>
                        <a:gd name="T2" fmla="*/ 118 w 120"/>
                        <a:gd name="T3" fmla="*/ 44 h 120"/>
                        <a:gd name="T4" fmla="*/ 112 w 120"/>
                        <a:gd name="T5" fmla="*/ 30 h 120"/>
                        <a:gd name="T6" fmla="*/ 103 w 120"/>
                        <a:gd name="T7" fmla="*/ 17 h 120"/>
                        <a:gd name="T8" fmla="*/ 90 w 120"/>
                        <a:gd name="T9" fmla="*/ 8 h 120"/>
                        <a:gd name="T10" fmla="*/ 76 w 120"/>
                        <a:gd name="T11" fmla="*/ 3 h 120"/>
                        <a:gd name="T12" fmla="*/ 60 w 120"/>
                        <a:gd name="T13" fmla="*/ 0 h 120"/>
                        <a:gd name="T14" fmla="*/ 44 w 120"/>
                        <a:gd name="T15" fmla="*/ 3 h 120"/>
                        <a:gd name="T16" fmla="*/ 30 w 120"/>
                        <a:gd name="T17" fmla="*/ 8 h 120"/>
                        <a:gd name="T18" fmla="*/ 17 w 120"/>
                        <a:gd name="T19" fmla="*/ 17 h 120"/>
                        <a:gd name="T20" fmla="*/ 8 w 120"/>
                        <a:gd name="T21" fmla="*/ 30 h 120"/>
                        <a:gd name="T22" fmla="*/ 2 w 120"/>
                        <a:gd name="T23" fmla="*/ 44 h 120"/>
                        <a:gd name="T24" fmla="*/ 0 w 120"/>
                        <a:gd name="T25" fmla="*/ 61 h 120"/>
                        <a:gd name="T26" fmla="*/ 2 w 120"/>
                        <a:gd name="T27" fmla="*/ 76 h 120"/>
                        <a:gd name="T28" fmla="*/ 8 w 120"/>
                        <a:gd name="T29" fmla="*/ 91 h 120"/>
                        <a:gd name="T30" fmla="*/ 17 w 120"/>
                        <a:gd name="T31" fmla="*/ 103 h 120"/>
                        <a:gd name="T32" fmla="*/ 30 w 120"/>
                        <a:gd name="T33" fmla="*/ 113 h 120"/>
                        <a:gd name="T34" fmla="*/ 44 w 120"/>
                        <a:gd name="T35" fmla="*/ 118 h 120"/>
                        <a:gd name="T36" fmla="*/ 60 w 120"/>
                        <a:gd name="T37" fmla="*/ 120 h 120"/>
                        <a:gd name="T38" fmla="*/ 76 w 120"/>
                        <a:gd name="T39" fmla="*/ 118 h 120"/>
                        <a:gd name="T40" fmla="*/ 90 w 120"/>
                        <a:gd name="T41" fmla="*/ 113 h 120"/>
                        <a:gd name="T42" fmla="*/ 103 w 120"/>
                        <a:gd name="T43" fmla="*/ 103 h 120"/>
                        <a:gd name="T44" fmla="*/ 112 w 120"/>
                        <a:gd name="T45" fmla="*/ 91 h 120"/>
                        <a:gd name="T46" fmla="*/ 118 w 120"/>
                        <a:gd name="T47" fmla="*/ 76 h 120"/>
                        <a:gd name="T48" fmla="*/ 120 w 120"/>
                        <a:gd name="T49" fmla="*/ 61 h 120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20"/>
                        <a:gd name="T76" fmla="*/ 0 h 120"/>
                        <a:gd name="T77" fmla="*/ 120 w 120"/>
                        <a:gd name="T78" fmla="*/ 120 h 120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20" h="120">
                          <a:moveTo>
                            <a:pt x="120" y="61"/>
                          </a:moveTo>
                          <a:lnTo>
                            <a:pt x="118" y="44"/>
                          </a:lnTo>
                          <a:lnTo>
                            <a:pt x="112" y="30"/>
                          </a:lnTo>
                          <a:lnTo>
                            <a:pt x="103" y="17"/>
                          </a:lnTo>
                          <a:lnTo>
                            <a:pt x="90" y="8"/>
                          </a:lnTo>
                          <a:lnTo>
                            <a:pt x="76" y="3"/>
                          </a:lnTo>
                          <a:lnTo>
                            <a:pt x="60" y="0"/>
                          </a:lnTo>
                          <a:lnTo>
                            <a:pt x="44" y="3"/>
                          </a:lnTo>
                          <a:lnTo>
                            <a:pt x="30" y="8"/>
                          </a:lnTo>
                          <a:lnTo>
                            <a:pt x="17" y="17"/>
                          </a:lnTo>
                          <a:lnTo>
                            <a:pt x="8" y="30"/>
                          </a:lnTo>
                          <a:lnTo>
                            <a:pt x="2" y="44"/>
                          </a:lnTo>
                          <a:lnTo>
                            <a:pt x="0" y="61"/>
                          </a:lnTo>
                          <a:lnTo>
                            <a:pt x="2" y="76"/>
                          </a:lnTo>
                          <a:lnTo>
                            <a:pt x="8" y="91"/>
                          </a:lnTo>
                          <a:lnTo>
                            <a:pt x="17" y="103"/>
                          </a:lnTo>
                          <a:lnTo>
                            <a:pt x="30" y="113"/>
                          </a:lnTo>
                          <a:lnTo>
                            <a:pt x="44" y="118"/>
                          </a:lnTo>
                          <a:lnTo>
                            <a:pt x="60" y="120"/>
                          </a:lnTo>
                          <a:lnTo>
                            <a:pt x="76" y="118"/>
                          </a:lnTo>
                          <a:lnTo>
                            <a:pt x="90" y="113"/>
                          </a:lnTo>
                          <a:lnTo>
                            <a:pt x="103" y="103"/>
                          </a:lnTo>
                          <a:lnTo>
                            <a:pt x="112" y="91"/>
                          </a:lnTo>
                          <a:lnTo>
                            <a:pt x="118" y="76"/>
                          </a:lnTo>
                          <a:lnTo>
                            <a:pt x="120" y="61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8" name="Freeform 85"/>
                    <p:cNvSpPr>
                      <a:spLocks/>
                    </p:cNvSpPr>
                    <p:nvPr/>
                  </p:nvSpPr>
                  <p:spPr bwMode="auto">
                    <a:xfrm>
                      <a:off x="4222" y="2906"/>
                      <a:ext cx="119" cy="119"/>
                    </a:xfrm>
                    <a:custGeom>
                      <a:avLst/>
                      <a:gdLst>
                        <a:gd name="T0" fmla="*/ 119 w 119"/>
                        <a:gd name="T1" fmla="*/ 60 h 119"/>
                        <a:gd name="T2" fmla="*/ 117 w 119"/>
                        <a:gd name="T3" fmla="*/ 44 h 119"/>
                        <a:gd name="T4" fmla="*/ 111 w 119"/>
                        <a:gd name="T5" fmla="*/ 30 h 119"/>
                        <a:gd name="T6" fmla="*/ 102 w 119"/>
                        <a:gd name="T7" fmla="*/ 17 h 119"/>
                        <a:gd name="T8" fmla="*/ 90 w 119"/>
                        <a:gd name="T9" fmla="*/ 8 h 119"/>
                        <a:gd name="T10" fmla="*/ 76 w 119"/>
                        <a:gd name="T11" fmla="*/ 2 h 119"/>
                        <a:gd name="T12" fmla="*/ 60 w 119"/>
                        <a:gd name="T13" fmla="*/ 0 h 119"/>
                        <a:gd name="T14" fmla="*/ 44 w 119"/>
                        <a:gd name="T15" fmla="*/ 2 h 119"/>
                        <a:gd name="T16" fmla="*/ 30 w 119"/>
                        <a:gd name="T17" fmla="*/ 8 h 119"/>
                        <a:gd name="T18" fmla="*/ 18 w 119"/>
                        <a:gd name="T19" fmla="*/ 17 h 119"/>
                        <a:gd name="T20" fmla="*/ 8 w 119"/>
                        <a:gd name="T21" fmla="*/ 30 h 119"/>
                        <a:gd name="T22" fmla="*/ 3 w 119"/>
                        <a:gd name="T23" fmla="*/ 44 h 119"/>
                        <a:gd name="T24" fmla="*/ 0 w 119"/>
                        <a:gd name="T25" fmla="*/ 60 h 119"/>
                        <a:gd name="T26" fmla="*/ 3 w 119"/>
                        <a:gd name="T27" fmla="*/ 75 h 119"/>
                        <a:gd name="T28" fmla="*/ 8 w 119"/>
                        <a:gd name="T29" fmla="*/ 89 h 119"/>
                        <a:gd name="T30" fmla="*/ 18 w 119"/>
                        <a:gd name="T31" fmla="*/ 101 h 119"/>
                        <a:gd name="T32" fmla="*/ 30 w 119"/>
                        <a:gd name="T33" fmla="*/ 111 h 119"/>
                        <a:gd name="T34" fmla="*/ 44 w 119"/>
                        <a:gd name="T35" fmla="*/ 116 h 119"/>
                        <a:gd name="T36" fmla="*/ 60 w 119"/>
                        <a:gd name="T37" fmla="*/ 119 h 119"/>
                        <a:gd name="T38" fmla="*/ 76 w 119"/>
                        <a:gd name="T39" fmla="*/ 116 h 119"/>
                        <a:gd name="T40" fmla="*/ 90 w 119"/>
                        <a:gd name="T41" fmla="*/ 111 h 119"/>
                        <a:gd name="T42" fmla="*/ 102 w 119"/>
                        <a:gd name="T43" fmla="*/ 101 h 119"/>
                        <a:gd name="T44" fmla="*/ 111 w 119"/>
                        <a:gd name="T45" fmla="*/ 89 h 119"/>
                        <a:gd name="T46" fmla="*/ 117 w 119"/>
                        <a:gd name="T47" fmla="*/ 75 h 119"/>
                        <a:gd name="T48" fmla="*/ 119 w 119"/>
                        <a:gd name="T49" fmla="*/ 60 h 119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19"/>
                        <a:gd name="T76" fmla="*/ 0 h 119"/>
                        <a:gd name="T77" fmla="*/ 119 w 119"/>
                        <a:gd name="T78" fmla="*/ 119 h 119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19" h="119">
                          <a:moveTo>
                            <a:pt x="119" y="60"/>
                          </a:moveTo>
                          <a:lnTo>
                            <a:pt x="117" y="44"/>
                          </a:lnTo>
                          <a:lnTo>
                            <a:pt x="111" y="30"/>
                          </a:lnTo>
                          <a:lnTo>
                            <a:pt x="102" y="17"/>
                          </a:lnTo>
                          <a:lnTo>
                            <a:pt x="90" y="8"/>
                          </a:lnTo>
                          <a:lnTo>
                            <a:pt x="76" y="2"/>
                          </a:lnTo>
                          <a:lnTo>
                            <a:pt x="60" y="0"/>
                          </a:lnTo>
                          <a:lnTo>
                            <a:pt x="44" y="2"/>
                          </a:lnTo>
                          <a:lnTo>
                            <a:pt x="30" y="8"/>
                          </a:lnTo>
                          <a:lnTo>
                            <a:pt x="18" y="17"/>
                          </a:lnTo>
                          <a:lnTo>
                            <a:pt x="8" y="30"/>
                          </a:lnTo>
                          <a:lnTo>
                            <a:pt x="3" y="44"/>
                          </a:lnTo>
                          <a:lnTo>
                            <a:pt x="0" y="60"/>
                          </a:lnTo>
                          <a:lnTo>
                            <a:pt x="3" y="75"/>
                          </a:lnTo>
                          <a:lnTo>
                            <a:pt x="8" y="89"/>
                          </a:lnTo>
                          <a:lnTo>
                            <a:pt x="18" y="101"/>
                          </a:lnTo>
                          <a:lnTo>
                            <a:pt x="30" y="111"/>
                          </a:lnTo>
                          <a:lnTo>
                            <a:pt x="44" y="116"/>
                          </a:lnTo>
                          <a:lnTo>
                            <a:pt x="60" y="119"/>
                          </a:lnTo>
                          <a:lnTo>
                            <a:pt x="76" y="116"/>
                          </a:lnTo>
                          <a:lnTo>
                            <a:pt x="90" y="111"/>
                          </a:lnTo>
                          <a:lnTo>
                            <a:pt x="102" y="101"/>
                          </a:lnTo>
                          <a:lnTo>
                            <a:pt x="111" y="89"/>
                          </a:lnTo>
                          <a:lnTo>
                            <a:pt x="117" y="75"/>
                          </a:lnTo>
                          <a:lnTo>
                            <a:pt x="119" y="6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29" name="Freeform 86"/>
                    <p:cNvSpPr>
                      <a:spLocks/>
                    </p:cNvSpPr>
                    <p:nvPr/>
                  </p:nvSpPr>
                  <p:spPr bwMode="auto">
                    <a:xfrm>
                      <a:off x="4222" y="2906"/>
                      <a:ext cx="119" cy="119"/>
                    </a:xfrm>
                    <a:custGeom>
                      <a:avLst/>
                      <a:gdLst>
                        <a:gd name="T0" fmla="*/ 119 w 119"/>
                        <a:gd name="T1" fmla="*/ 60 h 119"/>
                        <a:gd name="T2" fmla="*/ 117 w 119"/>
                        <a:gd name="T3" fmla="*/ 44 h 119"/>
                        <a:gd name="T4" fmla="*/ 111 w 119"/>
                        <a:gd name="T5" fmla="*/ 30 h 119"/>
                        <a:gd name="T6" fmla="*/ 102 w 119"/>
                        <a:gd name="T7" fmla="*/ 17 h 119"/>
                        <a:gd name="T8" fmla="*/ 90 w 119"/>
                        <a:gd name="T9" fmla="*/ 8 h 119"/>
                        <a:gd name="T10" fmla="*/ 76 w 119"/>
                        <a:gd name="T11" fmla="*/ 2 h 119"/>
                        <a:gd name="T12" fmla="*/ 60 w 119"/>
                        <a:gd name="T13" fmla="*/ 0 h 119"/>
                        <a:gd name="T14" fmla="*/ 44 w 119"/>
                        <a:gd name="T15" fmla="*/ 2 h 119"/>
                        <a:gd name="T16" fmla="*/ 30 w 119"/>
                        <a:gd name="T17" fmla="*/ 8 h 119"/>
                        <a:gd name="T18" fmla="*/ 18 w 119"/>
                        <a:gd name="T19" fmla="*/ 17 h 119"/>
                        <a:gd name="T20" fmla="*/ 8 w 119"/>
                        <a:gd name="T21" fmla="*/ 30 h 119"/>
                        <a:gd name="T22" fmla="*/ 3 w 119"/>
                        <a:gd name="T23" fmla="*/ 44 h 119"/>
                        <a:gd name="T24" fmla="*/ 0 w 119"/>
                        <a:gd name="T25" fmla="*/ 60 h 119"/>
                        <a:gd name="T26" fmla="*/ 3 w 119"/>
                        <a:gd name="T27" fmla="*/ 75 h 119"/>
                        <a:gd name="T28" fmla="*/ 8 w 119"/>
                        <a:gd name="T29" fmla="*/ 89 h 119"/>
                        <a:gd name="T30" fmla="*/ 18 w 119"/>
                        <a:gd name="T31" fmla="*/ 101 h 119"/>
                        <a:gd name="T32" fmla="*/ 30 w 119"/>
                        <a:gd name="T33" fmla="*/ 111 h 119"/>
                        <a:gd name="T34" fmla="*/ 44 w 119"/>
                        <a:gd name="T35" fmla="*/ 116 h 119"/>
                        <a:gd name="T36" fmla="*/ 60 w 119"/>
                        <a:gd name="T37" fmla="*/ 119 h 119"/>
                        <a:gd name="T38" fmla="*/ 76 w 119"/>
                        <a:gd name="T39" fmla="*/ 116 h 119"/>
                        <a:gd name="T40" fmla="*/ 90 w 119"/>
                        <a:gd name="T41" fmla="*/ 111 h 119"/>
                        <a:gd name="T42" fmla="*/ 102 w 119"/>
                        <a:gd name="T43" fmla="*/ 101 h 119"/>
                        <a:gd name="T44" fmla="*/ 111 w 119"/>
                        <a:gd name="T45" fmla="*/ 89 h 119"/>
                        <a:gd name="T46" fmla="*/ 117 w 119"/>
                        <a:gd name="T47" fmla="*/ 75 h 119"/>
                        <a:gd name="T48" fmla="*/ 119 w 119"/>
                        <a:gd name="T49" fmla="*/ 60 h 119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19"/>
                        <a:gd name="T76" fmla="*/ 0 h 119"/>
                        <a:gd name="T77" fmla="*/ 119 w 119"/>
                        <a:gd name="T78" fmla="*/ 119 h 119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19" h="119">
                          <a:moveTo>
                            <a:pt x="119" y="60"/>
                          </a:moveTo>
                          <a:lnTo>
                            <a:pt x="117" y="44"/>
                          </a:lnTo>
                          <a:lnTo>
                            <a:pt x="111" y="30"/>
                          </a:lnTo>
                          <a:lnTo>
                            <a:pt x="102" y="17"/>
                          </a:lnTo>
                          <a:lnTo>
                            <a:pt x="90" y="8"/>
                          </a:lnTo>
                          <a:lnTo>
                            <a:pt x="76" y="2"/>
                          </a:lnTo>
                          <a:lnTo>
                            <a:pt x="60" y="0"/>
                          </a:lnTo>
                          <a:lnTo>
                            <a:pt x="44" y="2"/>
                          </a:lnTo>
                          <a:lnTo>
                            <a:pt x="30" y="8"/>
                          </a:lnTo>
                          <a:lnTo>
                            <a:pt x="18" y="17"/>
                          </a:lnTo>
                          <a:lnTo>
                            <a:pt x="8" y="30"/>
                          </a:lnTo>
                          <a:lnTo>
                            <a:pt x="3" y="44"/>
                          </a:lnTo>
                          <a:lnTo>
                            <a:pt x="0" y="60"/>
                          </a:lnTo>
                          <a:lnTo>
                            <a:pt x="3" y="75"/>
                          </a:lnTo>
                          <a:lnTo>
                            <a:pt x="8" y="89"/>
                          </a:lnTo>
                          <a:lnTo>
                            <a:pt x="18" y="101"/>
                          </a:lnTo>
                          <a:lnTo>
                            <a:pt x="30" y="111"/>
                          </a:lnTo>
                          <a:lnTo>
                            <a:pt x="44" y="116"/>
                          </a:lnTo>
                          <a:lnTo>
                            <a:pt x="60" y="119"/>
                          </a:lnTo>
                          <a:lnTo>
                            <a:pt x="76" y="116"/>
                          </a:lnTo>
                          <a:lnTo>
                            <a:pt x="90" y="111"/>
                          </a:lnTo>
                          <a:lnTo>
                            <a:pt x="102" y="101"/>
                          </a:lnTo>
                          <a:lnTo>
                            <a:pt x="111" y="89"/>
                          </a:lnTo>
                          <a:lnTo>
                            <a:pt x="117" y="75"/>
                          </a:lnTo>
                          <a:lnTo>
                            <a:pt x="119" y="6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0" name="Freeform 87"/>
                    <p:cNvSpPr>
                      <a:spLocks/>
                    </p:cNvSpPr>
                    <p:nvPr/>
                  </p:nvSpPr>
                  <p:spPr bwMode="auto">
                    <a:xfrm>
                      <a:off x="4317" y="2893"/>
                      <a:ext cx="115" cy="115"/>
                    </a:xfrm>
                    <a:custGeom>
                      <a:avLst/>
                      <a:gdLst>
                        <a:gd name="T0" fmla="*/ 115 w 115"/>
                        <a:gd name="T1" fmla="*/ 57 h 115"/>
                        <a:gd name="T2" fmla="*/ 113 w 115"/>
                        <a:gd name="T3" fmla="*/ 41 h 115"/>
                        <a:gd name="T4" fmla="*/ 107 w 115"/>
                        <a:gd name="T5" fmla="*/ 28 h 115"/>
                        <a:gd name="T6" fmla="*/ 98 w 115"/>
                        <a:gd name="T7" fmla="*/ 16 h 115"/>
                        <a:gd name="T8" fmla="*/ 86 w 115"/>
                        <a:gd name="T9" fmla="*/ 7 h 115"/>
                        <a:gd name="T10" fmla="*/ 73 w 115"/>
                        <a:gd name="T11" fmla="*/ 2 h 115"/>
                        <a:gd name="T12" fmla="*/ 57 w 115"/>
                        <a:gd name="T13" fmla="*/ 0 h 115"/>
                        <a:gd name="T14" fmla="*/ 42 w 115"/>
                        <a:gd name="T15" fmla="*/ 2 h 115"/>
                        <a:gd name="T16" fmla="*/ 28 w 115"/>
                        <a:gd name="T17" fmla="*/ 7 h 115"/>
                        <a:gd name="T18" fmla="*/ 16 w 115"/>
                        <a:gd name="T19" fmla="*/ 16 h 115"/>
                        <a:gd name="T20" fmla="*/ 8 w 115"/>
                        <a:gd name="T21" fmla="*/ 28 h 115"/>
                        <a:gd name="T22" fmla="*/ 2 w 115"/>
                        <a:gd name="T23" fmla="*/ 41 h 115"/>
                        <a:gd name="T24" fmla="*/ 0 w 115"/>
                        <a:gd name="T25" fmla="*/ 57 h 115"/>
                        <a:gd name="T26" fmla="*/ 2 w 115"/>
                        <a:gd name="T27" fmla="*/ 73 h 115"/>
                        <a:gd name="T28" fmla="*/ 8 w 115"/>
                        <a:gd name="T29" fmla="*/ 86 h 115"/>
                        <a:gd name="T30" fmla="*/ 16 w 115"/>
                        <a:gd name="T31" fmla="*/ 98 h 115"/>
                        <a:gd name="T32" fmla="*/ 28 w 115"/>
                        <a:gd name="T33" fmla="*/ 107 h 115"/>
                        <a:gd name="T34" fmla="*/ 42 w 115"/>
                        <a:gd name="T35" fmla="*/ 113 h 115"/>
                        <a:gd name="T36" fmla="*/ 57 w 115"/>
                        <a:gd name="T37" fmla="*/ 115 h 115"/>
                        <a:gd name="T38" fmla="*/ 73 w 115"/>
                        <a:gd name="T39" fmla="*/ 113 h 115"/>
                        <a:gd name="T40" fmla="*/ 86 w 115"/>
                        <a:gd name="T41" fmla="*/ 107 h 115"/>
                        <a:gd name="T42" fmla="*/ 98 w 115"/>
                        <a:gd name="T43" fmla="*/ 98 h 115"/>
                        <a:gd name="T44" fmla="*/ 107 w 115"/>
                        <a:gd name="T45" fmla="*/ 86 h 115"/>
                        <a:gd name="T46" fmla="*/ 113 w 115"/>
                        <a:gd name="T47" fmla="*/ 73 h 115"/>
                        <a:gd name="T48" fmla="*/ 115 w 115"/>
                        <a:gd name="T49" fmla="*/ 57 h 115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15"/>
                        <a:gd name="T76" fmla="*/ 0 h 115"/>
                        <a:gd name="T77" fmla="*/ 115 w 115"/>
                        <a:gd name="T78" fmla="*/ 115 h 115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15" h="115">
                          <a:moveTo>
                            <a:pt x="115" y="57"/>
                          </a:moveTo>
                          <a:lnTo>
                            <a:pt x="113" y="41"/>
                          </a:lnTo>
                          <a:lnTo>
                            <a:pt x="107" y="28"/>
                          </a:lnTo>
                          <a:lnTo>
                            <a:pt x="98" y="16"/>
                          </a:lnTo>
                          <a:lnTo>
                            <a:pt x="86" y="7"/>
                          </a:lnTo>
                          <a:lnTo>
                            <a:pt x="73" y="2"/>
                          </a:lnTo>
                          <a:lnTo>
                            <a:pt x="57" y="0"/>
                          </a:lnTo>
                          <a:lnTo>
                            <a:pt x="42" y="2"/>
                          </a:lnTo>
                          <a:lnTo>
                            <a:pt x="28" y="7"/>
                          </a:lnTo>
                          <a:lnTo>
                            <a:pt x="16" y="16"/>
                          </a:lnTo>
                          <a:lnTo>
                            <a:pt x="8" y="28"/>
                          </a:lnTo>
                          <a:lnTo>
                            <a:pt x="2" y="41"/>
                          </a:lnTo>
                          <a:lnTo>
                            <a:pt x="0" y="57"/>
                          </a:lnTo>
                          <a:lnTo>
                            <a:pt x="2" y="73"/>
                          </a:lnTo>
                          <a:lnTo>
                            <a:pt x="8" y="86"/>
                          </a:lnTo>
                          <a:lnTo>
                            <a:pt x="16" y="98"/>
                          </a:lnTo>
                          <a:lnTo>
                            <a:pt x="28" y="107"/>
                          </a:lnTo>
                          <a:lnTo>
                            <a:pt x="42" y="113"/>
                          </a:lnTo>
                          <a:lnTo>
                            <a:pt x="57" y="115"/>
                          </a:lnTo>
                          <a:lnTo>
                            <a:pt x="73" y="113"/>
                          </a:lnTo>
                          <a:lnTo>
                            <a:pt x="86" y="107"/>
                          </a:lnTo>
                          <a:lnTo>
                            <a:pt x="98" y="98"/>
                          </a:lnTo>
                          <a:lnTo>
                            <a:pt x="107" y="86"/>
                          </a:lnTo>
                          <a:lnTo>
                            <a:pt x="113" y="73"/>
                          </a:lnTo>
                          <a:lnTo>
                            <a:pt x="115" y="5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1" name="Freeform 88"/>
                    <p:cNvSpPr>
                      <a:spLocks/>
                    </p:cNvSpPr>
                    <p:nvPr/>
                  </p:nvSpPr>
                  <p:spPr bwMode="auto">
                    <a:xfrm>
                      <a:off x="4317" y="2893"/>
                      <a:ext cx="115" cy="115"/>
                    </a:xfrm>
                    <a:custGeom>
                      <a:avLst/>
                      <a:gdLst>
                        <a:gd name="T0" fmla="*/ 115 w 115"/>
                        <a:gd name="T1" fmla="*/ 57 h 115"/>
                        <a:gd name="T2" fmla="*/ 113 w 115"/>
                        <a:gd name="T3" fmla="*/ 41 h 115"/>
                        <a:gd name="T4" fmla="*/ 107 w 115"/>
                        <a:gd name="T5" fmla="*/ 28 h 115"/>
                        <a:gd name="T6" fmla="*/ 98 w 115"/>
                        <a:gd name="T7" fmla="*/ 16 h 115"/>
                        <a:gd name="T8" fmla="*/ 86 w 115"/>
                        <a:gd name="T9" fmla="*/ 7 h 115"/>
                        <a:gd name="T10" fmla="*/ 73 w 115"/>
                        <a:gd name="T11" fmla="*/ 2 h 115"/>
                        <a:gd name="T12" fmla="*/ 57 w 115"/>
                        <a:gd name="T13" fmla="*/ 0 h 115"/>
                        <a:gd name="T14" fmla="*/ 42 w 115"/>
                        <a:gd name="T15" fmla="*/ 2 h 115"/>
                        <a:gd name="T16" fmla="*/ 28 w 115"/>
                        <a:gd name="T17" fmla="*/ 7 h 115"/>
                        <a:gd name="T18" fmla="*/ 16 w 115"/>
                        <a:gd name="T19" fmla="*/ 16 h 115"/>
                        <a:gd name="T20" fmla="*/ 8 w 115"/>
                        <a:gd name="T21" fmla="*/ 28 h 115"/>
                        <a:gd name="T22" fmla="*/ 2 w 115"/>
                        <a:gd name="T23" fmla="*/ 41 h 115"/>
                        <a:gd name="T24" fmla="*/ 0 w 115"/>
                        <a:gd name="T25" fmla="*/ 57 h 115"/>
                        <a:gd name="T26" fmla="*/ 2 w 115"/>
                        <a:gd name="T27" fmla="*/ 73 h 115"/>
                        <a:gd name="T28" fmla="*/ 8 w 115"/>
                        <a:gd name="T29" fmla="*/ 86 h 115"/>
                        <a:gd name="T30" fmla="*/ 16 w 115"/>
                        <a:gd name="T31" fmla="*/ 98 h 115"/>
                        <a:gd name="T32" fmla="*/ 28 w 115"/>
                        <a:gd name="T33" fmla="*/ 107 h 115"/>
                        <a:gd name="T34" fmla="*/ 42 w 115"/>
                        <a:gd name="T35" fmla="*/ 113 h 115"/>
                        <a:gd name="T36" fmla="*/ 57 w 115"/>
                        <a:gd name="T37" fmla="*/ 115 h 115"/>
                        <a:gd name="T38" fmla="*/ 73 w 115"/>
                        <a:gd name="T39" fmla="*/ 113 h 115"/>
                        <a:gd name="T40" fmla="*/ 86 w 115"/>
                        <a:gd name="T41" fmla="*/ 107 h 115"/>
                        <a:gd name="T42" fmla="*/ 98 w 115"/>
                        <a:gd name="T43" fmla="*/ 98 h 115"/>
                        <a:gd name="T44" fmla="*/ 107 w 115"/>
                        <a:gd name="T45" fmla="*/ 86 h 115"/>
                        <a:gd name="T46" fmla="*/ 113 w 115"/>
                        <a:gd name="T47" fmla="*/ 73 h 115"/>
                        <a:gd name="T48" fmla="*/ 115 w 115"/>
                        <a:gd name="T49" fmla="*/ 57 h 115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115"/>
                        <a:gd name="T76" fmla="*/ 0 h 115"/>
                        <a:gd name="T77" fmla="*/ 115 w 115"/>
                        <a:gd name="T78" fmla="*/ 115 h 115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115" h="115">
                          <a:moveTo>
                            <a:pt x="115" y="57"/>
                          </a:moveTo>
                          <a:lnTo>
                            <a:pt x="113" y="41"/>
                          </a:lnTo>
                          <a:lnTo>
                            <a:pt x="107" y="28"/>
                          </a:lnTo>
                          <a:lnTo>
                            <a:pt x="98" y="16"/>
                          </a:lnTo>
                          <a:lnTo>
                            <a:pt x="86" y="7"/>
                          </a:lnTo>
                          <a:lnTo>
                            <a:pt x="73" y="2"/>
                          </a:lnTo>
                          <a:lnTo>
                            <a:pt x="57" y="0"/>
                          </a:lnTo>
                          <a:lnTo>
                            <a:pt x="42" y="2"/>
                          </a:lnTo>
                          <a:lnTo>
                            <a:pt x="28" y="7"/>
                          </a:lnTo>
                          <a:lnTo>
                            <a:pt x="16" y="16"/>
                          </a:lnTo>
                          <a:lnTo>
                            <a:pt x="8" y="28"/>
                          </a:lnTo>
                          <a:lnTo>
                            <a:pt x="2" y="41"/>
                          </a:lnTo>
                          <a:lnTo>
                            <a:pt x="0" y="57"/>
                          </a:lnTo>
                          <a:lnTo>
                            <a:pt x="2" y="73"/>
                          </a:lnTo>
                          <a:lnTo>
                            <a:pt x="8" y="86"/>
                          </a:lnTo>
                          <a:lnTo>
                            <a:pt x="16" y="98"/>
                          </a:lnTo>
                          <a:lnTo>
                            <a:pt x="28" y="107"/>
                          </a:lnTo>
                          <a:lnTo>
                            <a:pt x="42" y="113"/>
                          </a:lnTo>
                          <a:lnTo>
                            <a:pt x="57" y="115"/>
                          </a:lnTo>
                          <a:lnTo>
                            <a:pt x="73" y="113"/>
                          </a:lnTo>
                          <a:lnTo>
                            <a:pt x="86" y="107"/>
                          </a:lnTo>
                          <a:lnTo>
                            <a:pt x="98" y="98"/>
                          </a:lnTo>
                          <a:lnTo>
                            <a:pt x="107" y="86"/>
                          </a:lnTo>
                          <a:lnTo>
                            <a:pt x="113" y="73"/>
                          </a:lnTo>
                          <a:lnTo>
                            <a:pt x="115" y="5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2" name="Freeform 89"/>
                    <p:cNvSpPr>
                      <a:spLocks/>
                    </p:cNvSpPr>
                    <p:nvPr/>
                  </p:nvSpPr>
                  <p:spPr bwMode="auto">
                    <a:xfrm>
                      <a:off x="4871" y="1180"/>
                      <a:ext cx="98" cy="97"/>
                    </a:xfrm>
                    <a:custGeom>
                      <a:avLst/>
                      <a:gdLst>
                        <a:gd name="T0" fmla="*/ 98 w 98"/>
                        <a:gd name="T1" fmla="*/ 48 h 97"/>
                        <a:gd name="T2" fmla="*/ 96 w 98"/>
                        <a:gd name="T3" fmla="*/ 36 h 97"/>
                        <a:gd name="T4" fmla="*/ 91 w 98"/>
                        <a:gd name="T5" fmla="*/ 24 h 97"/>
                        <a:gd name="T6" fmla="*/ 84 w 98"/>
                        <a:gd name="T7" fmla="*/ 14 h 97"/>
                        <a:gd name="T8" fmla="*/ 73 w 98"/>
                        <a:gd name="T9" fmla="*/ 7 h 97"/>
                        <a:gd name="T10" fmla="*/ 62 w 98"/>
                        <a:gd name="T11" fmla="*/ 1 h 97"/>
                        <a:gd name="T12" fmla="*/ 49 w 98"/>
                        <a:gd name="T13" fmla="*/ 0 h 97"/>
                        <a:gd name="T14" fmla="*/ 36 w 98"/>
                        <a:gd name="T15" fmla="*/ 1 h 97"/>
                        <a:gd name="T16" fmla="*/ 24 w 98"/>
                        <a:gd name="T17" fmla="*/ 7 h 97"/>
                        <a:gd name="T18" fmla="*/ 14 w 98"/>
                        <a:gd name="T19" fmla="*/ 14 h 97"/>
                        <a:gd name="T20" fmla="*/ 7 w 98"/>
                        <a:gd name="T21" fmla="*/ 24 h 97"/>
                        <a:gd name="T22" fmla="*/ 1 w 98"/>
                        <a:gd name="T23" fmla="*/ 36 h 97"/>
                        <a:gd name="T24" fmla="*/ 0 w 98"/>
                        <a:gd name="T25" fmla="*/ 48 h 97"/>
                        <a:gd name="T26" fmla="*/ 1 w 98"/>
                        <a:gd name="T27" fmla="*/ 61 h 97"/>
                        <a:gd name="T28" fmla="*/ 7 w 98"/>
                        <a:gd name="T29" fmla="*/ 73 h 97"/>
                        <a:gd name="T30" fmla="*/ 14 w 98"/>
                        <a:gd name="T31" fmla="*/ 83 h 97"/>
                        <a:gd name="T32" fmla="*/ 24 w 98"/>
                        <a:gd name="T33" fmla="*/ 90 h 97"/>
                        <a:gd name="T34" fmla="*/ 36 w 98"/>
                        <a:gd name="T35" fmla="*/ 96 h 97"/>
                        <a:gd name="T36" fmla="*/ 49 w 98"/>
                        <a:gd name="T37" fmla="*/ 97 h 97"/>
                        <a:gd name="T38" fmla="*/ 62 w 98"/>
                        <a:gd name="T39" fmla="*/ 96 h 97"/>
                        <a:gd name="T40" fmla="*/ 73 w 98"/>
                        <a:gd name="T41" fmla="*/ 90 h 97"/>
                        <a:gd name="T42" fmla="*/ 84 w 98"/>
                        <a:gd name="T43" fmla="*/ 83 h 97"/>
                        <a:gd name="T44" fmla="*/ 91 w 98"/>
                        <a:gd name="T45" fmla="*/ 73 h 97"/>
                        <a:gd name="T46" fmla="*/ 96 w 98"/>
                        <a:gd name="T47" fmla="*/ 61 h 97"/>
                        <a:gd name="T48" fmla="*/ 98 w 98"/>
                        <a:gd name="T49" fmla="*/ 48 h 97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98"/>
                        <a:gd name="T76" fmla="*/ 0 h 97"/>
                        <a:gd name="T77" fmla="*/ 98 w 98"/>
                        <a:gd name="T78" fmla="*/ 97 h 97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98" h="97">
                          <a:moveTo>
                            <a:pt x="98" y="48"/>
                          </a:moveTo>
                          <a:lnTo>
                            <a:pt x="96" y="36"/>
                          </a:lnTo>
                          <a:lnTo>
                            <a:pt x="91" y="24"/>
                          </a:lnTo>
                          <a:lnTo>
                            <a:pt x="84" y="14"/>
                          </a:lnTo>
                          <a:lnTo>
                            <a:pt x="73" y="7"/>
                          </a:lnTo>
                          <a:lnTo>
                            <a:pt x="62" y="1"/>
                          </a:lnTo>
                          <a:lnTo>
                            <a:pt x="49" y="0"/>
                          </a:lnTo>
                          <a:lnTo>
                            <a:pt x="36" y="1"/>
                          </a:lnTo>
                          <a:lnTo>
                            <a:pt x="24" y="7"/>
                          </a:lnTo>
                          <a:lnTo>
                            <a:pt x="14" y="14"/>
                          </a:lnTo>
                          <a:lnTo>
                            <a:pt x="7" y="24"/>
                          </a:lnTo>
                          <a:lnTo>
                            <a:pt x="1" y="36"/>
                          </a:lnTo>
                          <a:lnTo>
                            <a:pt x="0" y="48"/>
                          </a:lnTo>
                          <a:lnTo>
                            <a:pt x="1" y="61"/>
                          </a:lnTo>
                          <a:lnTo>
                            <a:pt x="7" y="73"/>
                          </a:lnTo>
                          <a:lnTo>
                            <a:pt x="14" y="83"/>
                          </a:lnTo>
                          <a:lnTo>
                            <a:pt x="24" y="90"/>
                          </a:lnTo>
                          <a:lnTo>
                            <a:pt x="36" y="96"/>
                          </a:lnTo>
                          <a:lnTo>
                            <a:pt x="49" y="97"/>
                          </a:lnTo>
                          <a:lnTo>
                            <a:pt x="62" y="96"/>
                          </a:lnTo>
                          <a:lnTo>
                            <a:pt x="73" y="90"/>
                          </a:lnTo>
                          <a:lnTo>
                            <a:pt x="84" y="83"/>
                          </a:lnTo>
                          <a:lnTo>
                            <a:pt x="91" y="73"/>
                          </a:lnTo>
                          <a:lnTo>
                            <a:pt x="96" y="61"/>
                          </a:lnTo>
                          <a:lnTo>
                            <a:pt x="98" y="4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3" name="Freeform 90"/>
                    <p:cNvSpPr>
                      <a:spLocks/>
                    </p:cNvSpPr>
                    <p:nvPr/>
                  </p:nvSpPr>
                  <p:spPr bwMode="auto">
                    <a:xfrm>
                      <a:off x="4871" y="1180"/>
                      <a:ext cx="98" cy="97"/>
                    </a:xfrm>
                    <a:custGeom>
                      <a:avLst/>
                      <a:gdLst>
                        <a:gd name="T0" fmla="*/ 98 w 98"/>
                        <a:gd name="T1" fmla="*/ 48 h 97"/>
                        <a:gd name="T2" fmla="*/ 96 w 98"/>
                        <a:gd name="T3" fmla="*/ 36 h 97"/>
                        <a:gd name="T4" fmla="*/ 91 w 98"/>
                        <a:gd name="T5" fmla="*/ 24 h 97"/>
                        <a:gd name="T6" fmla="*/ 84 w 98"/>
                        <a:gd name="T7" fmla="*/ 14 h 97"/>
                        <a:gd name="T8" fmla="*/ 73 w 98"/>
                        <a:gd name="T9" fmla="*/ 7 h 97"/>
                        <a:gd name="T10" fmla="*/ 62 w 98"/>
                        <a:gd name="T11" fmla="*/ 1 h 97"/>
                        <a:gd name="T12" fmla="*/ 49 w 98"/>
                        <a:gd name="T13" fmla="*/ 0 h 97"/>
                        <a:gd name="T14" fmla="*/ 36 w 98"/>
                        <a:gd name="T15" fmla="*/ 1 h 97"/>
                        <a:gd name="T16" fmla="*/ 24 w 98"/>
                        <a:gd name="T17" fmla="*/ 7 h 97"/>
                        <a:gd name="T18" fmla="*/ 14 w 98"/>
                        <a:gd name="T19" fmla="*/ 14 h 97"/>
                        <a:gd name="T20" fmla="*/ 7 w 98"/>
                        <a:gd name="T21" fmla="*/ 24 h 97"/>
                        <a:gd name="T22" fmla="*/ 1 w 98"/>
                        <a:gd name="T23" fmla="*/ 36 h 97"/>
                        <a:gd name="T24" fmla="*/ 0 w 98"/>
                        <a:gd name="T25" fmla="*/ 48 h 97"/>
                        <a:gd name="T26" fmla="*/ 1 w 98"/>
                        <a:gd name="T27" fmla="*/ 61 h 97"/>
                        <a:gd name="T28" fmla="*/ 7 w 98"/>
                        <a:gd name="T29" fmla="*/ 73 h 97"/>
                        <a:gd name="T30" fmla="*/ 14 w 98"/>
                        <a:gd name="T31" fmla="*/ 83 h 97"/>
                        <a:gd name="T32" fmla="*/ 24 w 98"/>
                        <a:gd name="T33" fmla="*/ 90 h 97"/>
                        <a:gd name="T34" fmla="*/ 36 w 98"/>
                        <a:gd name="T35" fmla="*/ 96 h 97"/>
                        <a:gd name="T36" fmla="*/ 49 w 98"/>
                        <a:gd name="T37" fmla="*/ 97 h 97"/>
                        <a:gd name="T38" fmla="*/ 62 w 98"/>
                        <a:gd name="T39" fmla="*/ 96 h 97"/>
                        <a:gd name="T40" fmla="*/ 73 w 98"/>
                        <a:gd name="T41" fmla="*/ 90 h 97"/>
                        <a:gd name="T42" fmla="*/ 84 w 98"/>
                        <a:gd name="T43" fmla="*/ 83 h 97"/>
                        <a:gd name="T44" fmla="*/ 91 w 98"/>
                        <a:gd name="T45" fmla="*/ 73 h 97"/>
                        <a:gd name="T46" fmla="*/ 96 w 98"/>
                        <a:gd name="T47" fmla="*/ 61 h 97"/>
                        <a:gd name="T48" fmla="*/ 98 w 98"/>
                        <a:gd name="T49" fmla="*/ 48 h 97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98"/>
                        <a:gd name="T76" fmla="*/ 0 h 97"/>
                        <a:gd name="T77" fmla="*/ 98 w 98"/>
                        <a:gd name="T78" fmla="*/ 97 h 97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98" h="97">
                          <a:moveTo>
                            <a:pt x="98" y="48"/>
                          </a:moveTo>
                          <a:lnTo>
                            <a:pt x="96" y="36"/>
                          </a:lnTo>
                          <a:lnTo>
                            <a:pt x="91" y="24"/>
                          </a:lnTo>
                          <a:lnTo>
                            <a:pt x="84" y="14"/>
                          </a:lnTo>
                          <a:lnTo>
                            <a:pt x="73" y="7"/>
                          </a:lnTo>
                          <a:lnTo>
                            <a:pt x="62" y="1"/>
                          </a:lnTo>
                          <a:lnTo>
                            <a:pt x="49" y="0"/>
                          </a:lnTo>
                          <a:lnTo>
                            <a:pt x="36" y="1"/>
                          </a:lnTo>
                          <a:lnTo>
                            <a:pt x="24" y="7"/>
                          </a:lnTo>
                          <a:lnTo>
                            <a:pt x="14" y="14"/>
                          </a:lnTo>
                          <a:lnTo>
                            <a:pt x="7" y="24"/>
                          </a:lnTo>
                          <a:lnTo>
                            <a:pt x="1" y="36"/>
                          </a:lnTo>
                          <a:lnTo>
                            <a:pt x="0" y="48"/>
                          </a:lnTo>
                          <a:lnTo>
                            <a:pt x="1" y="61"/>
                          </a:lnTo>
                          <a:lnTo>
                            <a:pt x="7" y="73"/>
                          </a:lnTo>
                          <a:lnTo>
                            <a:pt x="14" y="83"/>
                          </a:lnTo>
                          <a:lnTo>
                            <a:pt x="24" y="90"/>
                          </a:lnTo>
                          <a:lnTo>
                            <a:pt x="36" y="96"/>
                          </a:lnTo>
                          <a:lnTo>
                            <a:pt x="49" y="97"/>
                          </a:lnTo>
                          <a:lnTo>
                            <a:pt x="62" y="96"/>
                          </a:lnTo>
                          <a:lnTo>
                            <a:pt x="73" y="90"/>
                          </a:lnTo>
                          <a:lnTo>
                            <a:pt x="84" y="83"/>
                          </a:lnTo>
                          <a:lnTo>
                            <a:pt x="91" y="73"/>
                          </a:lnTo>
                          <a:lnTo>
                            <a:pt x="96" y="61"/>
                          </a:lnTo>
                          <a:lnTo>
                            <a:pt x="98" y="4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4" name="Freeform 91"/>
                    <p:cNvSpPr>
                      <a:spLocks/>
                    </p:cNvSpPr>
                    <p:nvPr/>
                  </p:nvSpPr>
                  <p:spPr bwMode="auto">
                    <a:xfrm>
                      <a:off x="3467" y="2180"/>
                      <a:ext cx="98" cy="97"/>
                    </a:xfrm>
                    <a:custGeom>
                      <a:avLst/>
                      <a:gdLst>
                        <a:gd name="T0" fmla="*/ 98 w 98"/>
                        <a:gd name="T1" fmla="*/ 48 h 97"/>
                        <a:gd name="T2" fmla="*/ 96 w 98"/>
                        <a:gd name="T3" fmla="*/ 35 h 97"/>
                        <a:gd name="T4" fmla="*/ 91 w 98"/>
                        <a:gd name="T5" fmla="*/ 23 h 97"/>
                        <a:gd name="T6" fmla="*/ 84 w 98"/>
                        <a:gd name="T7" fmla="*/ 14 h 97"/>
                        <a:gd name="T8" fmla="*/ 73 w 98"/>
                        <a:gd name="T9" fmla="*/ 6 h 97"/>
                        <a:gd name="T10" fmla="*/ 62 w 98"/>
                        <a:gd name="T11" fmla="*/ 1 h 97"/>
                        <a:gd name="T12" fmla="*/ 49 w 98"/>
                        <a:gd name="T13" fmla="*/ 0 h 97"/>
                        <a:gd name="T14" fmla="*/ 36 w 98"/>
                        <a:gd name="T15" fmla="*/ 1 h 97"/>
                        <a:gd name="T16" fmla="*/ 25 w 98"/>
                        <a:gd name="T17" fmla="*/ 6 h 97"/>
                        <a:gd name="T18" fmla="*/ 14 w 98"/>
                        <a:gd name="T19" fmla="*/ 14 h 97"/>
                        <a:gd name="T20" fmla="*/ 7 w 98"/>
                        <a:gd name="T21" fmla="*/ 23 h 97"/>
                        <a:gd name="T22" fmla="*/ 2 w 98"/>
                        <a:gd name="T23" fmla="*/ 35 h 97"/>
                        <a:gd name="T24" fmla="*/ 0 w 98"/>
                        <a:gd name="T25" fmla="*/ 48 h 97"/>
                        <a:gd name="T26" fmla="*/ 2 w 98"/>
                        <a:gd name="T27" fmla="*/ 61 h 97"/>
                        <a:gd name="T28" fmla="*/ 7 w 98"/>
                        <a:gd name="T29" fmla="*/ 73 h 97"/>
                        <a:gd name="T30" fmla="*/ 14 w 98"/>
                        <a:gd name="T31" fmla="*/ 82 h 97"/>
                        <a:gd name="T32" fmla="*/ 25 w 98"/>
                        <a:gd name="T33" fmla="*/ 90 h 97"/>
                        <a:gd name="T34" fmla="*/ 36 w 98"/>
                        <a:gd name="T35" fmla="*/ 95 h 97"/>
                        <a:gd name="T36" fmla="*/ 49 w 98"/>
                        <a:gd name="T37" fmla="*/ 97 h 97"/>
                        <a:gd name="T38" fmla="*/ 62 w 98"/>
                        <a:gd name="T39" fmla="*/ 95 h 97"/>
                        <a:gd name="T40" fmla="*/ 73 w 98"/>
                        <a:gd name="T41" fmla="*/ 90 h 97"/>
                        <a:gd name="T42" fmla="*/ 84 w 98"/>
                        <a:gd name="T43" fmla="*/ 82 h 97"/>
                        <a:gd name="T44" fmla="*/ 91 w 98"/>
                        <a:gd name="T45" fmla="*/ 73 h 97"/>
                        <a:gd name="T46" fmla="*/ 96 w 98"/>
                        <a:gd name="T47" fmla="*/ 61 h 97"/>
                        <a:gd name="T48" fmla="*/ 98 w 98"/>
                        <a:gd name="T49" fmla="*/ 48 h 97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98"/>
                        <a:gd name="T76" fmla="*/ 0 h 97"/>
                        <a:gd name="T77" fmla="*/ 98 w 98"/>
                        <a:gd name="T78" fmla="*/ 97 h 97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98" h="97">
                          <a:moveTo>
                            <a:pt x="98" y="48"/>
                          </a:moveTo>
                          <a:lnTo>
                            <a:pt x="96" y="35"/>
                          </a:lnTo>
                          <a:lnTo>
                            <a:pt x="91" y="23"/>
                          </a:lnTo>
                          <a:lnTo>
                            <a:pt x="84" y="14"/>
                          </a:lnTo>
                          <a:lnTo>
                            <a:pt x="73" y="6"/>
                          </a:lnTo>
                          <a:lnTo>
                            <a:pt x="62" y="1"/>
                          </a:lnTo>
                          <a:lnTo>
                            <a:pt x="49" y="0"/>
                          </a:lnTo>
                          <a:lnTo>
                            <a:pt x="36" y="1"/>
                          </a:lnTo>
                          <a:lnTo>
                            <a:pt x="25" y="6"/>
                          </a:lnTo>
                          <a:lnTo>
                            <a:pt x="14" y="14"/>
                          </a:lnTo>
                          <a:lnTo>
                            <a:pt x="7" y="23"/>
                          </a:lnTo>
                          <a:lnTo>
                            <a:pt x="2" y="35"/>
                          </a:lnTo>
                          <a:lnTo>
                            <a:pt x="0" y="48"/>
                          </a:lnTo>
                          <a:lnTo>
                            <a:pt x="2" y="61"/>
                          </a:lnTo>
                          <a:lnTo>
                            <a:pt x="7" y="73"/>
                          </a:lnTo>
                          <a:lnTo>
                            <a:pt x="14" y="82"/>
                          </a:lnTo>
                          <a:lnTo>
                            <a:pt x="25" y="90"/>
                          </a:lnTo>
                          <a:lnTo>
                            <a:pt x="36" y="95"/>
                          </a:lnTo>
                          <a:lnTo>
                            <a:pt x="49" y="97"/>
                          </a:lnTo>
                          <a:lnTo>
                            <a:pt x="62" y="95"/>
                          </a:lnTo>
                          <a:lnTo>
                            <a:pt x="73" y="90"/>
                          </a:lnTo>
                          <a:lnTo>
                            <a:pt x="84" y="82"/>
                          </a:lnTo>
                          <a:lnTo>
                            <a:pt x="91" y="73"/>
                          </a:lnTo>
                          <a:lnTo>
                            <a:pt x="96" y="61"/>
                          </a:lnTo>
                          <a:lnTo>
                            <a:pt x="98" y="4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5" name="Freeform 92"/>
                    <p:cNvSpPr>
                      <a:spLocks/>
                    </p:cNvSpPr>
                    <p:nvPr/>
                  </p:nvSpPr>
                  <p:spPr bwMode="auto">
                    <a:xfrm>
                      <a:off x="3467" y="2180"/>
                      <a:ext cx="98" cy="97"/>
                    </a:xfrm>
                    <a:custGeom>
                      <a:avLst/>
                      <a:gdLst>
                        <a:gd name="T0" fmla="*/ 98 w 98"/>
                        <a:gd name="T1" fmla="*/ 48 h 97"/>
                        <a:gd name="T2" fmla="*/ 96 w 98"/>
                        <a:gd name="T3" fmla="*/ 35 h 97"/>
                        <a:gd name="T4" fmla="*/ 91 w 98"/>
                        <a:gd name="T5" fmla="*/ 23 h 97"/>
                        <a:gd name="T6" fmla="*/ 84 w 98"/>
                        <a:gd name="T7" fmla="*/ 14 h 97"/>
                        <a:gd name="T8" fmla="*/ 73 w 98"/>
                        <a:gd name="T9" fmla="*/ 6 h 97"/>
                        <a:gd name="T10" fmla="*/ 62 w 98"/>
                        <a:gd name="T11" fmla="*/ 1 h 97"/>
                        <a:gd name="T12" fmla="*/ 49 w 98"/>
                        <a:gd name="T13" fmla="*/ 0 h 97"/>
                        <a:gd name="T14" fmla="*/ 36 w 98"/>
                        <a:gd name="T15" fmla="*/ 1 h 97"/>
                        <a:gd name="T16" fmla="*/ 25 w 98"/>
                        <a:gd name="T17" fmla="*/ 6 h 97"/>
                        <a:gd name="T18" fmla="*/ 14 w 98"/>
                        <a:gd name="T19" fmla="*/ 14 h 97"/>
                        <a:gd name="T20" fmla="*/ 7 w 98"/>
                        <a:gd name="T21" fmla="*/ 23 h 97"/>
                        <a:gd name="T22" fmla="*/ 2 w 98"/>
                        <a:gd name="T23" fmla="*/ 35 h 97"/>
                        <a:gd name="T24" fmla="*/ 0 w 98"/>
                        <a:gd name="T25" fmla="*/ 48 h 97"/>
                        <a:gd name="T26" fmla="*/ 2 w 98"/>
                        <a:gd name="T27" fmla="*/ 61 h 97"/>
                        <a:gd name="T28" fmla="*/ 7 w 98"/>
                        <a:gd name="T29" fmla="*/ 73 h 97"/>
                        <a:gd name="T30" fmla="*/ 14 w 98"/>
                        <a:gd name="T31" fmla="*/ 82 h 97"/>
                        <a:gd name="T32" fmla="*/ 25 w 98"/>
                        <a:gd name="T33" fmla="*/ 90 h 97"/>
                        <a:gd name="T34" fmla="*/ 36 w 98"/>
                        <a:gd name="T35" fmla="*/ 95 h 97"/>
                        <a:gd name="T36" fmla="*/ 49 w 98"/>
                        <a:gd name="T37" fmla="*/ 97 h 97"/>
                        <a:gd name="T38" fmla="*/ 62 w 98"/>
                        <a:gd name="T39" fmla="*/ 95 h 97"/>
                        <a:gd name="T40" fmla="*/ 73 w 98"/>
                        <a:gd name="T41" fmla="*/ 90 h 97"/>
                        <a:gd name="T42" fmla="*/ 84 w 98"/>
                        <a:gd name="T43" fmla="*/ 82 h 97"/>
                        <a:gd name="T44" fmla="*/ 91 w 98"/>
                        <a:gd name="T45" fmla="*/ 73 h 97"/>
                        <a:gd name="T46" fmla="*/ 96 w 98"/>
                        <a:gd name="T47" fmla="*/ 61 h 97"/>
                        <a:gd name="T48" fmla="*/ 98 w 98"/>
                        <a:gd name="T49" fmla="*/ 48 h 97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98"/>
                        <a:gd name="T76" fmla="*/ 0 h 97"/>
                        <a:gd name="T77" fmla="*/ 98 w 98"/>
                        <a:gd name="T78" fmla="*/ 97 h 97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98" h="97">
                          <a:moveTo>
                            <a:pt x="98" y="48"/>
                          </a:moveTo>
                          <a:lnTo>
                            <a:pt x="96" y="35"/>
                          </a:lnTo>
                          <a:lnTo>
                            <a:pt x="91" y="23"/>
                          </a:lnTo>
                          <a:lnTo>
                            <a:pt x="84" y="14"/>
                          </a:lnTo>
                          <a:lnTo>
                            <a:pt x="73" y="6"/>
                          </a:lnTo>
                          <a:lnTo>
                            <a:pt x="62" y="1"/>
                          </a:lnTo>
                          <a:lnTo>
                            <a:pt x="49" y="0"/>
                          </a:lnTo>
                          <a:lnTo>
                            <a:pt x="36" y="1"/>
                          </a:lnTo>
                          <a:lnTo>
                            <a:pt x="25" y="6"/>
                          </a:lnTo>
                          <a:lnTo>
                            <a:pt x="14" y="14"/>
                          </a:lnTo>
                          <a:lnTo>
                            <a:pt x="7" y="23"/>
                          </a:lnTo>
                          <a:lnTo>
                            <a:pt x="2" y="35"/>
                          </a:lnTo>
                          <a:lnTo>
                            <a:pt x="0" y="48"/>
                          </a:lnTo>
                          <a:lnTo>
                            <a:pt x="2" y="61"/>
                          </a:lnTo>
                          <a:lnTo>
                            <a:pt x="7" y="73"/>
                          </a:lnTo>
                          <a:lnTo>
                            <a:pt x="14" y="82"/>
                          </a:lnTo>
                          <a:lnTo>
                            <a:pt x="25" y="90"/>
                          </a:lnTo>
                          <a:lnTo>
                            <a:pt x="36" y="95"/>
                          </a:lnTo>
                          <a:lnTo>
                            <a:pt x="49" y="97"/>
                          </a:lnTo>
                          <a:lnTo>
                            <a:pt x="62" y="95"/>
                          </a:lnTo>
                          <a:lnTo>
                            <a:pt x="73" y="90"/>
                          </a:lnTo>
                          <a:lnTo>
                            <a:pt x="84" y="82"/>
                          </a:lnTo>
                          <a:lnTo>
                            <a:pt x="91" y="73"/>
                          </a:lnTo>
                          <a:lnTo>
                            <a:pt x="96" y="61"/>
                          </a:lnTo>
                          <a:lnTo>
                            <a:pt x="98" y="4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6" name="Freeform 93"/>
                    <p:cNvSpPr>
                      <a:spLocks/>
                    </p:cNvSpPr>
                    <p:nvPr/>
                  </p:nvSpPr>
                  <p:spPr bwMode="auto">
                    <a:xfrm>
                      <a:off x="4907" y="2776"/>
                      <a:ext cx="96" cy="97"/>
                    </a:xfrm>
                    <a:custGeom>
                      <a:avLst/>
                      <a:gdLst>
                        <a:gd name="T0" fmla="*/ 96 w 96"/>
                        <a:gd name="T1" fmla="*/ 48 h 97"/>
                        <a:gd name="T2" fmla="*/ 95 w 96"/>
                        <a:gd name="T3" fmla="*/ 36 h 97"/>
                        <a:gd name="T4" fmla="*/ 90 w 96"/>
                        <a:gd name="T5" fmla="*/ 24 h 97"/>
                        <a:gd name="T6" fmla="*/ 82 w 96"/>
                        <a:gd name="T7" fmla="*/ 14 h 97"/>
                        <a:gd name="T8" fmla="*/ 73 w 96"/>
                        <a:gd name="T9" fmla="*/ 7 h 97"/>
                        <a:gd name="T10" fmla="*/ 61 w 96"/>
                        <a:gd name="T11" fmla="*/ 2 h 97"/>
                        <a:gd name="T12" fmla="*/ 48 w 96"/>
                        <a:gd name="T13" fmla="*/ 0 h 97"/>
                        <a:gd name="T14" fmla="*/ 36 w 96"/>
                        <a:gd name="T15" fmla="*/ 2 h 97"/>
                        <a:gd name="T16" fmla="*/ 24 w 96"/>
                        <a:gd name="T17" fmla="*/ 7 h 97"/>
                        <a:gd name="T18" fmla="*/ 14 w 96"/>
                        <a:gd name="T19" fmla="*/ 14 h 97"/>
                        <a:gd name="T20" fmla="*/ 7 w 96"/>
                        <a:gd name="T21" fmla="*/ 24 h 97"/>
                        <a:gd name="T22" fmla="*/ 1 w 96"/>
                        <a:gd name="T23" fmla="*/ 36 h 97"/>
                        <a:gd name="T24" fmla="*/ 0 w 96"/>
                        <a:gd name="T25" fmla="*/ 48 h 97"/>
                        <a:gd name="T26" fmla="*/ 1 w 96"/>
                        <a:gd name="T27" fmla="*/ 61 h 97"/>
                        <a:gd name="T28" fmla="*/ 7 w 96"/>
                        <a:gd name="T29" fmla="*/ 73 h 97"/>
                        <a:gd name="T30" fmla="*/ 14 w 96"/>
                        <a:gd name="T31" fmla="*/ 83 h 97"/>
                        <a:gd name="T32" fmla="*/ 24 w 96"/>
                        <a:gd name="T33" fmla="*/ 90 h 97"/>
                        <a:gd name="T34" fmla="*/ 36 w 96"/>
                        <a:gd name="T35" fmla="*/ 95 h 97"/>
                        <a:gd name="T36" fmla="*/ 48 w 96"/>
                        <a:gd name="T37" fmla="*/ 97 h 97"/>
                        <a:gd name="T38" fmla="*/ 61 w 96"/>
                        <a:gd name="T39" fmla="*/ 95 h 97"/>
                        <a:gd name="T40" fmla="*/ 73 w 96"/>
                        <a:gd name="T41" fmla="*/ 90 h 97"/>
                        <a:gd name="T42" fmla="*/ 82 w 96"/>
                        <a:gd name="T43" fmla="*/ 83 h 97"/>
                        <a:gd name="T44" fmla="*/ 90 w 96"/>
                        <a:gd name="T45" fmla="*/ 73 h 97"/>
                        <a:gd name="T46" fmla="*/ 95 w 96"/>
                        <a:gd name="T47" fmla="*/ 61 h 97"/>
                        <a:gd name="T48" fmla="*/ 96 w 96"/>
                        <a:gd name="T49" fmla="*/ 48 h 97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96"/>
                        <a:gd name="T76" fmla="*/ 0 h 97"/>
                        <a:gd name="T77" fmla="*/ 96 w 96"/>
                        <a:gd name="T78" fmla="*/ 97 h 97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96" h="97">
                          <a:moveTo>
                            <a:pt x="96" y="48"/>
                          </a:moveTo>
                          <a:lnTo>
                            <a:pt x="95" y="36"/>
                          </a:lnTo>
                          <a:lnTo>
                            <a:pt x="90" y="24"/>
                          </a:lnTo>
                          <a:lnTo>
                            <a:pt x="82" y="14"/>
                          </a:lnTo>
                          <a:lnTo>
                            <a:pt x="73" y="7"/>
                          </a:lnTo>
                          <a:lnTo>
                            <a:pt x="61" y="2"/>
                          </a:lnTo>
                          <a:lnTo>
                            <a:pt x="48" y="0"/>
                          </a:lnTo>
                          <a:lnTo>
                            <a:pt x="36" y="2"/>
                          </a:lnTo>
                          <a:lnTo>
                            <a:pt x="24" y="7"/>
                          </a:lnTo>
                          <a:lnTo>
                            <a:pt x="14" y="14"/>
                          </a:lnTo>
                          <a:lnTo>
                            <a:pt x="7" y="24"/>
                          </a:lnTo>
                          <a:lnTo>
                            <a:pt x="1" y="36"/>
                          </a:lnTo>
                          <a:lnTo>
                            <a:pt x="0" y="48"/>
                          </a:lnTo>
                          <a:lnTo>
                            <a:pt x="1" y="61"/>
                          </a:lnTo>
                          <a:lnTo>
                            <a:pt x="7" y="73"/>
                          </a:lnTo>
                          <a:lnTo>
                            <a:pt x="14" y="83"/>
                          </a:lnTo>
                          <a:lnTo>
                            <a:pt x="24" y="90"/>
                          </a:lnTo>
                          <a:lnTo>
                            <a:pt x="36" y="95"/>
                          </a:lnTo>
                          <a:lnTo>
                            <a:pt x="48" y="97"/>
                          </a:lnTo>
                          <a:lnTo>
                            <a:pt x="61" y="95"/>
                          </a:lnTo>
                          <a:lnTo>
                            <a:pt x="73" y="90"/>
                          </a:lnTo>
                          <a:lnTo>
                            <a:pt x="82" y="83"/>
                          </a:lnTo>
                          <a:lnTo>
                            <a:pt x="90" y="73"/>
                          </a:lnTo>
                          <a:lnTo>
                            <a:pt x="95" y="61"/>
                          </a:lnTo>
                          <a:lnTo>
                            <a:pt x="96" y="4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7" name="Freeform 94"/>
                    <p:cNvSpPr>
                      <a:spLocks/>
                    </p:cNvSpPr>
                    <p:nvPr/>
                  </p:nvSpPr>
                  <p:spPr bwMode="auto">
                    <a:xfrm>
                      <a:off x="4907" y="2776"/>
                      <a:ext cx="96" cy="97"/>
                    </a:xfrm>
                    <a:custGeom>
                      <a:avLst/>
                      <a:gdLst>
                        <a:gd name="T0" fmla="*/ 96 w 96"/>
                        <a:gd name="T1" fmla="*/ 48 h 97"/>
                        <a:gd name="T2" fmla="*/ 95 w 96"/>
                        <a:gd name="T3" fmla="*/ 36 h 97"/>
                        <a:gd name="T4" fmla="*/ 90 w 96"/>
                        <a:gd name="T5" fmla="*/ 24 h 97"/>
                        <a:gd name="T6" fmla="*/ 82 w 96"/>
                        <a:gd name="T7" fmla="*/ 14 h 97"/>
                        <a:gd name="T8" fmla="*/ 73 w 96"/>
                        <a:gd name="T9" fmla="*/ 7 h 97"/>
                        <a:gd name="T10" fmla="*/ 61 w 96"/>
                        <a:gd name="T11" fmla="*/ 2 h 97"/>
                        <a:gd name="T12" fmla="*/ 48 w 96"/>
                        <a:gd name="T13" fmla="*/ 0 h 97"/>
                        <a:gd name="T14" fmla="*/ 36 w 96"/>
                        <a:gd name="T15" fmla="*/ 2 h 97"/>
                        <a:gd name="T16" fmla="*/ 24 w 96"/>
                        <a:gd name="T17" fmla="*/ 7 h 97"/>
                        <a:gd name="T18" fmla="*/ 14 w 96"/>
                        <a:gd name="T19" fmla="*/ 14 h 97"/>
                        <a:gd name="T20" fmla="*/ 7 w 96"/>
                        <a:gd name="T21" fmla="*/ 24 h 97"/>
                        <a:gd name="T22" fmla="*/ 1 w 96"/>
                        <a:gd name="T23" fmla="*/ 36 h 97"/>
                        <a:gd name="T24" fmla="*/ 0 w 96"/>
                        <a:gd name="T25" fmla="*/ 48 h 97"/>
                        <a:gd name="T26" fmla="*/ 1 w 96"/>
                        <a:gd name="T27" fmla="*/ 61 h 97"/>
                        <a:gd name="T28" fmla="*/ 7 w 96"/>
                        <a:gd name="T29" fmla="*/ 73 h 97"/>
                        <a:gd name="T30" fmla="*/ 14 w 96"/>
                        <a:gd name="T31" fmla="*/ 83 h 97"/>
                        <a:gd name="T32" fmla="*/ 24 w 96"/>
                        <a:gd name="T33" fmla="*/ 90 h 97"/>
                        <a:gd name="T34" fmla="*/ 36 w 96"/>
                        <a:gd name="T35" fmla="*/ 95 h 97"/>
                        <a:gd name="T36" fmla="*/ 48 w 96"/>
                        <a:gd name="T37" fmla="*/ 97 h 97"/>
                        <a:gd name="T38" fmla="*/ 61 w 96"/>
                        <a:gd name="T39" fmla="*/ 95 h 97"/>
                        <a:gd name="T40" fmla="*/ 73 w 96"/>
                        <a:gd name="T41" fmla="*/ 90 h 97"/>
                        <a:gd name="T42" fmla="*/ 82 w 96"/>
                        <a:gd name="T43" fmla="*/ 83 h 97"/>
                        <a:gd name="T44" fmla="*/ 90 w 96"/>
                        <a:gd name="T45" fmla="*/ 73 h 97"/>
                        <a:gd name="T46" fmla="*/ 95 w 96"/>
                        <a:gd name="T47" fmla="*/ 61 h 97"/>
                        <a:gd name="T48" fmla="*/ 96 w 96"/>
                        <a:gd name="T49" fmla="*/ 48 h 97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60000 65536"/>
                        <a:gd name="T70" fmla="*/ 0 60000 65536"/>
                        <a:gd name="T71" fmla="*/ 0 60000 65536"/>
                        <a:gd name="T72" fmla="*/ 0 60000 65536"/>
                        <a:gd name="T73" fmla="*/ 0 60000 65536"/>
                        <a:gd name="T74" fmla="*/ 0 60000 65536"/>
                        <a:gd name="T75" fmla="*/ 0 w 96"/>
                        <a:gd name="T76" fmla="*/ 0 h 97"/>
                        <a:gd name="T77" fmla="*/ 96 w 96"/>
                        <a:gd name="T78" fmla="*/ 97 h 97"/>
                      </a:gdLst>
                      <a:ahLst/>
                      <a:cxnLst>
                        <a:cxn ang="T50">
                          <a:pos x="T0" y="T1"/>
                        </a:cxn>
                        <a:cxn ang="T51">
                          <a:pos x="T2" y="T3"/>
                        </a:cxn>
                        <a:cxn ang="T52">
                          <a:pos x="T4" y="T5"/>
                        </a:cxn>
                        <a:cxn ang="T53">
                          <a:pos x="T6" y="T7"/>
                        </a:cxn>
                        <a:cxn ang="T54">
                          <a:pos x="T8" y="T9"/>
                        </a:cxn>
                        <a:cxn ang="T55">
                          <a:pos x="T10" y="T11"/>
                        </a:cxn>
                        <a:cxn ang="T56">
                          <a:pos x="T12" y="T13"/>
                        </a:cxn>
                        <a:cxn ang="T57">
                          <a:pos x="T14" y="T15"/>
                        </a:cxn>
                        <a:cxn ang="T58">
                          <a:pos x="T16" y="T17"/>
                        </a:cxn>
                        <a:cxn ang="T59">
                          <a:pos x="T18" y="T19"/>
                        </a:cxn>
                        <a:cxn ang="T60">
                          <a:pos x="T20" y="T21"/>
                        </a:cxn>
                        <a:cxn ang="T61">
                          <a:pos x="T22" y="T23"/>
                        </a:cxn>
                        <a:cxn ang="T62">
                          <a:pos x="T24" y="T25"/>
                        </a:cxn>
                        <a:cxn ang="T63">
                          <a:pos x="T26" y="T27"/>
                        </a:cxn>
                        <a:cxn ang="T64">
                          <a:pos x="T28" y="T29"/>
                        </a:cxn>
                        <a:cxn ang="T65">
                          <a:pos x="T30" y="T31"/>
                        </a:cxn>
                        <a:cxn ang="T66">
                          <a:pos x="T32" y="T33"/>
                        </a:cxn>
                        <a:cxn ang="T67">
                          <a:pos x="T34" y="T35"/>
                        </a:cxn>
                        <a:cxn ang="T68">
                          <a:pos x="T36" y="T37"/>
                        </a:cxn>
                        <a:cxn ang="T69">
                          <a:pos x="T38" y="T39"/>
                        </a:cxn>
                        <a:cxn ang="T70">
                          <a:pos x="T40" y="T41"/>
                        </a:cxn>
                        <a:cxn ang="T71">
                          <a:pos x="T42" y="T43"/>
                        </a:cxn>
                        <a:cxn ang="T72">
                          <a:pos x="T44" y="T45"/>
                        </a:cxn>
                        <a:cxn ang="T73">
                          <a:pos x="T46" y="T47"/>
                        </a:cxn>
                        <a:cxn ang="T74">
                          <a:pos x="T48" y="T49"/>
                        </a:cxn>
                      </a:cxnLst>
                      <a:rect l="T75" t="T76" r="T77" b="T78"/>
                      <a:pathLst>
                        <a:path w="96" h="97">
                          <a:moveTo>
                            <a:pt x="96" y="48"/>
                          </a:moveTo>
                          <a:lnTo>
                            <a:pt x="95" y="36"/>
                          </a:lnTo>
                          <a:lnTo>
                            <a:pt x="90" y="24"/>
                          </a:lnTo>
                          <a:lnTo>
                            <a:pt x="82" y="14"/>
                          </a:lnTo>
                          <a:lnTo>
                            <a:pt x="73" y="7"/>
                          </a:lnTo>
                          <a:lnTo>
                            <a:pt x="61" y="2"/>
                          </a:lnTo>
                          <a:lnTo>
                            <a:pt x="48" y="0"/>
                          </a:lnTo>
                          <a:lnTo>
                            <a:pt x="36" y="2"/>
                          </a:lnTo>
                          <a:lnTo>
                            <a:pt x="24" y="7"/>
                          </a:lnTo>
                          <a:lnTo>
                            <a:pt x="14" y="14"/>
                          </a:lnTo>
                          <a:lnTo>
                            <a:pt x="7" y="24"/>
                          </a:lnTo>
                          <a:lnTo>
                            <a:pt x="1" y="36"/>
                          </a:lnTo>
                          <a:lnTo>
                            <a:pt x="0" y="48"/>
                          </a:lnTo>
                          <a:lnTo>
                            <a:pt x="1" y="61"/>
                          </a:lnTo>
                          <a:lnTo>
                            <a:pt x="7" y="73"/>
                          </a:lnTo>
                          <a:lnTo>
                            <a:pt x="14" y="83"/>
                          </a:lnTo>
                          <a:lnTo>
                            <a:pt x="24" y="90"/>
                          </a:lnTo>
                          <a:lnTo>
                            <a:pt x="36" y="95"/>
                          </a:lnTo>
                          <a:lnTo>
                            <a:pt x="48" y="97"/>
                          </a:lnTo>
                          <a:lnTo>
                            <a:pt x="61" y="95"/>
                          </a:lnTo>
                          <a:lnTo>
                            <a:pt x="73" y="90"/>
                          </a:lnTo>
                          <a:lnTo>
                            <a:pt x="82" y="83"/>
                          </a:lnTo>
                          <a:lnTo>
                            <a:pt x="90" y="73"/>
                          </a:lnTo>
                          <a:lnTo>
                            <a:pt x="95" y="61"/>
                          </a:lnTo>
                          <a:lnTo>
                            <a:pt x="96" y="4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8" name="Freeform 95"/>
                    <p:cNvSpPr>
                      <a:spLocks/>
                    </p:cNvSpPr>
                    <p:nvPr/>
                  </p:nvSpPr>
                  <p:spPr bwMode="auto">
                    <a:xfrm>
                      <a:off x="4658" y="1076"/>
                      <a:ext cx="95" cy="95"/>
                    </a:xfrm>
                    <a:custGeom>
                      <a:avLst/>
                      <a:gdLst>
                        <a:gd name="T0" fmla="*/ 95 w 95"/>
                        <a:gd name="T1" fmla="*/ 48 h 95"/>
                        <a:gd name="T2" fmla="*/ 93 w 95"/>
                        <a:gd name="T3" fmla="*/ 35 h 95"/>
                        <a:gd name="T4" fmla="*/ 88 w 95"/>
                        <a:gd name="T5" fmla="*/ 24 h 95"/>
                        <a:gd name="T6" fmla="*/ 81 w 95"/>
                        <a:gd name="T7" fmla="*/ 14 h 95"/>
                        <a:gd name="T8" fmla="*/ 71 w 95"/>
                        <a:gd name="T9" fmla="*/ 6 h 95"/>
                        <a:gd name="T10" fmla="*/ 60 w 95"/>
                        <a:gd name="T11" fmla="*/ 2 h 95"/>
                        <a:gd name="T12" fmla="*/ 48 w 95"/>
                        <a:gd name="T13" fmla="*/ 0 h 95"/>
                        <a:gd name="T14" fmla="*/ 35 w 95"/>
                        <a:gd name="T15" fmla="*/ 2 h 95"/>
                        <a:gd name="T16" fmla="*/ 24 w 95"/>
                        <a:gd name="T17" fmla="*/ 6 h 95"/>
                        <a:gd name="T18" fmla="*/ 15 w 95"/>
                        <a:gd name="T19" fmla="*/ 14 h 95"/>
                        <a:gd name="T20" fmla="*/ 7 w 95"/>
                        <a:gd name="T21" fmla="*/ 24 h 95"/>
                        <a:gd name="T22" fmla="*/ 2 w 95"/>
                        <a:gd name="T23" fmla="*/ 35 h 95"/>
                        <a:gd name="T24" fmla="*/ 0 w 95"/>
                        <a:gd name="T25" fmla="*/ 48 h 95"/>
                        <a:gd name="T26" fmla="*/ 3 w 95"/>
                        <a:gd name="T27" fmla="*/ 63 h 95"/>
                        <a:gd name="T28" fmla="*/ 10 w 95"/>
                        <a:gd name="T29" fmla="*/ 75 h 95"/>
                        <a:gd name="T30" fmla="*/ 20 w 95"/>
                        <a:gd name="T31" fmla="*/ 86 h 95"/>
                        <a:gd name="T32" fmla="*/ 33 w 95"/>
                        <a:gd name="T33" fmla="*/ 93 h 95"/>
                        <a:gd name="T34" fmla="*/ 48 w 95"/>
                        <a:gd name="T35" fmla="*/ 95 h 95"/>
                        <a:gd name="T36" fmla="*/ 63 w 95"/>
                        <a:gd name="T37" fmla="*/ 93 h 95"/>
                        <a:gd name="T38" fmla="*/ 75 w 95"/>
                        <a:gd name="T39" fmla="*/ 86 h 95"/>
                        <a:gd name="T40" fmla="*/ 85 w 95"/>
                        <a:gd name="T41" fmla="*/ 75 h 95"/>
                        <a:gd name="T42" fmla="*/ 92 w 95"/>
                        <a:gd name="T43" fmla="*/ 63 h 95"/>
                        <a:gd name="T44" fmla="*/ 95 w 95"/>
                        <a:gd name="T45" fmla="*/ 48 h 95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w 95"/>
                        <a:gd name="T70" fmla="*/ 0 h 95"/>
                        <a:gd name="T71" fmla="*/ 95 w 95"/>
                        <a:gd name="T72" fmla="*/ 95 h 95"/>
                      </a:gdLst>
                      <a:ahLst/>
                      <a:cxnLst>
                        <a:cxn ang="T46">
                          <a:pos x="T0" y="T1"/>
                        </a:cxn>
                        <a:cxn ang="T47">
                          <a:pos x="T2" y="T3"/>
                        </a:cxn>
                        <a:cxn ang="T48">
                          <a:pos x="T4" y="T5"/>
                        </a:cxn>
                        <a:cxn ang="T49">
                          <a:pos x="T6" y="T7"/>
                        </a:cxn>
                        <a:cxn ang="T50">
                          <a:pos x="T8" y="T9"/>
                        </a:cxn>
                        <a:cxn ang="T51">
                          <a:pos x="T10" y="T11"/>
                        </a:cxn>
                        <a:cxn ang="T52">
                          <a:pos x="T12" y="T13"/>
                        </a:cxn>
                        <a:cxn ang="T53">
                          <a:pos x="T14" y="T15"/>
                        </a:cxn>
                        <a:cxn ang="T54">
                          <a:pos x="T16" y="T17"/>
                        </a:cxn>
                        <a:cxn ang="T55">
                          <a:pos x="T18" y="T19"/>
                        </a:cxn>
                        <a:cxn ang="T56">
                          <a:pos x="T20" y="T21"/>
                        </a:cxn>
                        <a:cxn ang="T57">
                          <a:pos x="T22" y="T23"/>
                        </a:cxn>
                        <a:cxn ang="T58">
                          <a:pos x="T24" y="T25"/>
                        </a:cxn>
                        <a:cxn ang="T59">
                          <a:pos x="T26" y="T27"/>
                        </a:cxn>
                        <a:cxn ang="T60">
                          <a:pos x="T28" y="T29"/>
                        </a:cxn>
                        <a:cxn ang="T61">
                          <a:pos x="T30" y="T31"/>
                        </a:cxn>
                        <a:cxn ang="T62">
                          <a:pos x="T32" y="T33"/>
                        </a:cxn>
                        <a:cxn ang="T63">
                          <a:pos x="T34" y="T35"/>
                        </a:cxn>
                        <a:cxn ang="T64">
                          <a:pos x="T36" y="T37"/>
                        </a:cxn>
                        <a:cxn ang="T65">
                          <a:pos x="T38" y="T39"/>
                        </a:cxn>
                        <a:cxn ang="T66">
                          <a:pos x="T40" y="T41"/>
                        </a:cxn>
                        <a:cxn ang="T67">
                          <a:pos x="T42" y="T43"/>
                        </a:cxn>
                        <a:cxn ang="T68">
                          <a:pos x="T44" y="T45"/>
                        </a:cxn>
                      </a:cxnLst>
                      <a:rect l="T69" t="T70" r="T71" b="T72"/>
                      <a:pathLst>
                        <a:path w="95" h="95">
                          <a:moveTo>
                            <a:pt x="95" y="48"/>
                          </a:moveTo>
                          <a:lnTo>
                            <a:pt x="93" y="35"/>
                          </a:lnTo>
                          <a:lnTo>
                            <a:pt x="88" y="24"/>
                          </a:lnTo>
                          <a:lnTo>
                            <a:pt x="81" y="14"/>
                          </a:lnTo>
                          <a:lnTo>
                            <a:pt x="71" y="6"/>
                          </a:lnTo>
                          <a:lnTo>
                            <a:pt x="60" y="2"/>
                          </a:lnTo>
                          <a:lnTo>
                            <a:pt x="48" y="0"/>
                          </a:lnTo>
                          <a:lnTo>
                            <a:pt x="35" y="2"/>
                          </a:lnTo>
                          <a:lnTo>
                            <a:pt x="24" y="6"/>
                          </a:lnTo>
                          <a:lnTo>
                            <a:pt x="15" y="14"/>
                          </a:lnTo>
                          <a:lnTo>
                            <a:pt x="7" y="24"/>
                          </a:lnTo>
                          <a:lnTo>
                            <a:pt x="2" y="35"/>
                          </a:lnTo>
                          <a:lnTo>
                            <a:pt x="0" y="48"/>
                          </a:lnTo>
                          <a:lnTo>
                            <a:pt x="3" y="63"/>
                          </a:lnTo>
                          <a:lnTo>
                            <a:pt x="10" y="75"/>
                          </a:lnTo>
                          <a:lnTo>
                            <a:pt x="20" y="86"/>
                          </a:lnTo>
                          <a:lnTo>
                            <a:pt x="33" y="93"/>
                          </a:lnTo>
                          <a:lnTo>
                            <a:pt x="48" y="95"/>
                          </a:lnTo>
                          <a:lnTo>
                            <a:pt x="63" y="93"/>
                          </a:lnTo>
                          <a:lnTo>
                            <a:pt x="75" y="86"/>
                          </a:lnTo>
                          <a:lnTo>
                            <a:pt x="85" y="75"/>
                          </a:lnTo>
                          <a:lnTo>
                            <a:pt x="92" y="63"/>
                          </a:lnTo>
                          <a:lnTo>
                            <a:pt x="95" y="4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39" name="Freeform 96"/>
                    <p:cNvSpPr>
                      <a:spLocks/>
                    </p:cNvSpPr>
                    <p:nvPr/>
                  </p:nvSpPr>
                  <p:spPr bwMode="auto">
                    <a:xfrm>
                      <a:off x="4658" y="1076"/>
                      <a:ext cx="95" cy="95"/>
                    </a:xfrm>
                    <a:custGeom>
                      <a:avLst/>
                      <a:gdLst>
                        <a:gd name="T0" fmla="*/ 95 w 95"/>
                        <a:gd name="T1" fmla="*/ 48 h 95"/>
                        <a:gd name="T2" fmla="*/ 93 w 95"/>
                        <a:gd name="T3" fmla="*/ 35 h 95"/>
                        <a:gd name="T4" fmla="*/ 88 w 95"/>
                        <a:gd name="T5" fmla="*/ 24 h 95"/>
                        <a:gd name="T6" fmla="*/ 81 w 95"/>
                        <a:gd name="T7" fmla="*/ 14 h 95"/>
                        <a:gd name="T8" fmla="*/ 71 w 95"/>
                        <a:gd name="T9" fmla="*/ 6 h 95"/>
                        <a:gd name="T10" fmla="*/ 60 w 95"/>
                        <a:gd name="T11" fmla="*/ 2 h 95"/>
                        <a:gd name="T12" fmla="*/ 48 w 95"/>
                        <a:gd name="T13" fmla="*/ 0 h 95"/>
                        <a:gd name="T14" fmla="*/ 35 w 95"/>
                        <a:gd name="T15" fmla="*/ 2 h 95"/>
                        <a:gd name="T16" fmla="*/ 24 w 95"/>
                        <a:gd name="T17" fmla="*/ 6 h 95"/>
                        <a:gd name="T18" fmla="*/ 15 w 95"/>
                        <a:gd name="T19" fmla="*/ 14 h 95"/>
                        <a:gd name="T20" fmla="*/ 7 w 95"/>
                        <a:gd name="T21" fmla="*/ 24 h 95"/>
                        <a:gd name="T22" fmla="*/ 2 w 95"/>
                        <a:gd name="T23" fmla="*/ 35 h 95"/>
                        <a:gd name="T24" fmla="*/ 0 w 95"/>
                        <a:gd name="T25" fmla="*/ 48 h 95"/>
                        <a:gd name="T26" fmla="*/ 3 w 95"/>
                        <a:gd name="T27" fmla="*/ 63 h 95"/>
                        <a:gd name="T28" fmla="*/ 10 w 95"/>
                        <a:gd name="T29" fmla="*/ 75 h 95"/>
                        <a:gd name="T30" fmla="*/ 20 w 95"/>
                        <a:gd name="T31" fmla="*/ 86 h 95"/>
                        <a:gd name="T32" fmla="*/ 33 w 95"/>
                        <a:gd name="T33" fmla="*/ 93 h 95"/>
                        <a:gd name="T34" fmla="*/ 48 w 95"/>
                        <a:gd name="T35" fmla="*/ 95 h 95"/>
                        <a:gd name="T36" fmla="*/ 63 w 95"/>
                        <a:gd name="T37" fmla="*/ 93 h 95"/>
                        <a:gd name="T38" fmla="*/ 75 w 95"/>
                        <a:gd name="T39" fmla="*/ 86 h 95"/>
                        <a:gd name="T40" fmla="*/ 85 w 95"/>
                        <a:gd name="T41" fmla="*/ 75 h 95"/>
                        <a:gd name="T42" fmla="*/ 92 w 95"/>
                        <a:gd name="T43" fmla="*/ 63 h 95"/>
                        <a:gd name="T44" fmla="*/ 95 w 95"/>
                        <a:gd name="T45" fmla="*/ 48 h 95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w 95"/>
                        <a:gd name="T70" fmla="*/ 0 h 95"/>
                        <a:gd name="T71" fmla="*/ 95 w 95"/>
                        <a:gd name="T72" fmla="*/ 95 h 95"/>
                      </a:gdLst>
                      <a:ahLst/>
                      <a:cxnLst>
                        <a:cxn ang="T46">
                          <a:pos x="T0" y="T1"/>
                        </a:cxn>
                        <a:cxn ang="T47">
                          <a:pos x="T2" y="T3"/>
                        </a:cxn>
                        <a:cxn ang="T48">
                          <a:pos x="T4" y="T5"/>
                        </a:cxn>
                        <a:cxn ang="T49">
                          <a:pos x="T6" y="T7"/>
                        </a:cxn>
                        <a:cxn ang="T50">
                          <a:pos x="T8" y="T9"/>
                        </a:cxn>
                        <a:cxn ang="T51">
                          <a:pos x="T10" y="T11"/>
                        </a:cxn>
                        <a:cxn ang="T52">
                          <a:pos x="T12" y="T13"/>
                        </a:cxn>
                        <a:cxn ang="T53">
                          <a:pos x="T14" y="T15"/>
                        </a:cxn>
                        <a:cxn ang="T54">
                          <a:pos x="T16" y="T17"/>
                        </a:cxn>
                        <a:cxn ang="T55">
                          <a:pos x="T18" y="T19"/>
                        </a:cxn>
                        <a:cxn ang="T56">
                          <a:pos x="T20" y="T21"/>
                        </a:cxn>
                        <a:cxn ang="T57">
                          <a:pos x="T22" y="T23"/>
                        </a:cxn>
                        <a:cxn ang="T58">
                          <a:pos x="T24" y="T25"/>
                        </a:cxn>
                        <a:cxn ang="T59">
                          <a:pos x="T26" y="T27"/>
                        </a:cxn>
                        <a:cxn ang="T60">
                          <a:pos x="T28" y="T29"/>
                        </a:cxn>
                        <a:cxn ang="T61">
                          <a:pos x="T30" y="T31"/>
                        </a:cxn>
                        <a:cxn ang="T62">
                          <a:pos x="T32" y="T33"/>
                        </a:cxn>
                        <a:cxn ang="T63">
                          <a:pos x="T34" y="T35"/>
                        </a:cxn>
                        <a:cxn ang="T64">
                          <a:pos x="T36" y="T37"/>
                        </a:cxn>
                        <a:cxn ang="T65">
                          <a:pos x="T38" y="T39"/>
                        </a:cxn>
                        <a:cxn ang="T66">
                          <a:pos x="T40" y="T41"/>
                        </a:cxn>
                        <a:cxn ang="T67">
                          <a:pos x="T42" y="T43"/>
                        </a:cxn>
                        <a:cxn ang="T68">
                          <a:pos x="T44" y="T45"/>
                        </a:cxn>
                      </a:cxnLst>
                      <a:rect l="T69" t="T70" r="T71" b="T72"/>
                      <a:pathLst>
                        <a:path w="95" h="95">
                          <a:moveTo>
                            <a:pt x="95" y="48"/>
                          </a:moveTo>
                          <a:lnTo>
                            <a:pt x="93" y="35"/>
                          </a:lnTo>
                          <a:lnTo>
                            <a:pt x="88" y="24"/>
                          </a:lnTo>
                          <a:lnTo>
                            <a:pt x="81" y="14"/>
                          </a:lnTo>
                          <a:lnTo>
                            <a:pt x="71" y="6"/>
                          </a:lnTo>
                          <a:lnTo>
                            <a:pt x="60" y="2"/>
                          </a:lnTo>
                          <a:lnTo>
                            <a:pt x="48" y="0"/>
                          </a:lnTo>
                          <a:lnTo>
                            <a:pt x="35" y="2"/>
                          </a:lnTo>
                          <a:lnTo>
                            <a:pt x="24" y="6"/>
                          </a:lnTo>
                          <a:lnTo>
                            <a:pt x="15" y="14"/>
                          </a:lnTo>
                          <a:lnTo>
                            <a:pt x="7" y="24"/>
                          </a:lnTo>
                          <a:lnTo>
                            <a:pt x="2" y="35"/>
                          </a:lnTo>
                          <a:lnTo>
                            <a:pt x="0" y="48"/>
                          </a:lnTo>
                          <a:lnTo>
                            <a:pt x="3" y="63"/>
                          </a:lnTo>
                          <a:lnTo>
                            <a:pt x="10" y="75"/>
                          </a:lnTo>
                          <a:lnTo>
                            <a:pt x="20" y="86"/>
                          </a:lnTo>
                          <a:lnTo>
                            <a:pt x="33" y="93"/>
                          </a:lnTo>
                          <a:lnTo>
                            <a:pt x="48" y="95"/>
                          </a:lnTo>
                          <a:lnTo>
                            <a:pt x="63" y="93"/>
                          </a:lnTo>
                          <a:lnTo>
                            <a:pt x="75" y="86"/>
                          </a:lnTo>
                          <a:lnTo>
                            <a:pt x="85" y="75"/>
                          </a:lnTo>
                          <a:lnTo>
                            <a:pt x="92" y="63"/>
                          </a:lnTo>
                          <a:lnTo>
                            <a:pt x="95" y="4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0" name="Freeform 97"/>
                    <p:cNvSpPr>
                      <a:spLocks/>
                    </p:cNvSpPr>
                    <p:nvPr/>
                  </p:nvSpPr>
                  <p:spPr bwMode="auto">
                    <a:xfrm>
                      <a:off x="4896" y="2763"/>
                      <a:ext cx="92" cy="92"/>
                    </a:xfrm>
                    <a:custGeom>
                      <a:avLst/>
                      <a:gdLst>
                        <a:gd name="T0" fmla="*/ 92 w 92"/>
                        <a:gd name="T1" fmla="*/ 46 h 92"/>
                        <a:gd name="T2" fmla="*/ 89 w 92"/>
                        <a:gd name="T3" fmla="*/ 31 h 92"/>
                        <a:gd name="T4" fmla="*/ 83 w 92"/>
                        <a:gd name="T5" fmla="*/ 19 h 92"/>
                        <a:gd name="T6" fmla="*/ 73 w 92"/>
                        <a:gd name="T7" fmla="*/ 9 h 92"/>
                        <a:gd name="T8" fmla="*/ 60 w 92"/>
                        <a:gd name="T9" fmla="*/ 2 h 92"/>
                        <a:gd name="T10" fmla="*/ 46 w 92"/>
                        <a:gd name="T11" fmla="*/ 0 h 92"/>
                        <a:gd name="T12" fmla="*/ 31 w 92"/>
                        <a:gd name="T13" fmla="*/ 2 h 92"/>
                        <a:gd name="T14" fmla="*/ 19 w 92"/>
                        <a:gd name="T15" fmla="*/ 9 h 92"/>
                        <a:gd name="T16" fmla="*/ 8 w 92"/>
                        <a:gd name="T17" fmla="*/ 19 h 92"/>
                        <a:gd name="T18" fmla="*/ 2 w 92"/>
                        <a:gd name="T19" fmla="*/ 31 h 92"/>
                        <a:gd name="T20" fmla="*/ 0 w 92"/>
                        <a:gd name="T21" fmla="*/ 46 h 92"/>
                        <a:gd name="T22" fmla="*/ 2 w 92"/>
                        <a:gd name="T23" fmla="*/ 60 h 92"/>
                        <a:gd name="T24" fmla="*/ 8 w 92"/>
                        <a:gd name="T25" fmla="*/ 73 h 92"/>
                        <a:gd name="T26" fmla="*/ 19 w 92"/>
                        <a:gd name="T27" fmla="*/ 83 h 92"/>
                        <a:gd name="T28" fmla="*/ 31 w 92"/>
                        <a:gd name="T29" fmla="*/ 89 h 92"/>
                        <a:gd name="T30" fmla="*/ 46 w 92"/>
                        <a:gd name="T31" fmla="*/ 92 h 92"/>
                        <a:gd name="T32" fmla="*/ 60 w 92"/>
                        <a:gd name="T33" fmla="*/ 89 h 92"/>
                        <a:gd name="T34" fmla="*/ 73 w 92"/>
                        <a:gd name="T35" fmla="*/ 83 h 92"/>
                        <a:gd name="T36" fmla="*/ 83 w 92"/>
                        <a:gd name="T37" fmla="*/ 73 h 92"/>
                        <a:gd name="T38" fmla="*/ 89 w 92"/>
                        <a:gd name="T39" fmla="*/ 60 h 92"/>
                        <a:gd name="T40" fmla="*/ 92 w 92"/>
                        <a:gd name="T41" fmla="*/ 46 h 92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92"/>
                        <a:gd name="T64" fmla="*/ 0 h 92"/>
                        <a:gd name="T65" fmla="*/ 92 w 92"/>
                        <a:gd name="T66" fmla="*/ 92 h 92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92" h="92">
                          <a:moveTo>
                            <a:pt x="92" y="46"/>
                          </a:moveTo>
                          <a:lnTo>
                            <a:pt x="89" y="31"/>
                          </a:lnTo>
                          <a:lnTo>
                            <a:pt x="83" y="19"/>
                          </a:lnTo>
                          <a:lnTo>
                            <a:pt x="73" y="9"/>
                          </a:lnTo>
                          <a:lnTo>
                            <a:pt x="60" y="2"/>
                          </a:lnTo>
                          <a:lnTo>
                            <a:pt x="46" y="0"/>
                          </a:lnTo>
                          <a:lnTo>
                            <a:pt x="31" y="2"/>
                          </a:lnTo>
                          <a:lnTo>
                            <a:pt x="19" y="9"/>
                          </a:lnTo>
                          <a:lnTo>
                            <a:pt x="8" y="19"/>
                          </a:lnTo>
                          <a:lnTo>
                            <a:pt x="2" y="31"/>
                          </a:lnTo>
                          <a:lnTo>
                            <a:pt x="0" y="46"/>
                          </a:lnTo>
                          <a:lnTo>
                            <a:pt x="2" y="60"/>
                          </a:lnTo>
                          <a:lnTo>
                            <a:pt x="8" y="73"/>
                          </a:lnTo>
                          <a:lnTo>
                            <a:pt x="19" y="83"/>
                          </a:lnTo>
                          <a:lnTo>
                            <a:pt x="31" y="89"/>
                          </a:lnTo>
                          <a:lnTo>
                            <a:pt x="46" y="92"/>
                          </a:lnTo>
                          <a:lnTo>
                            <a:pt x="60" y="89"/>
                          </a:lnTo>
                          <a:lnTo>
                            <a:pt x="73" y="83"/>
                          </a:lnTo>
                          <a:lnTo>
                            <a:pt x="83" y="73"/>
                          </a:lnTo>
                          <a:lnTo>
                            <a:pt x="89" y="60"/>
                          </a:lnTo>
                          <a:lnTo>
                            <a:pt x="92" y="4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1" name="Freeform 98"/>
                    <p:cNvSpPr>
                      <a:spLocks/>
                    </p:cNvSpPr>
                    <p:nvPr/>
                  </p:nvSpPr>
                  <p:spPr bwMode="auto">
                    <a:xfrm>
                      <a:off x="4896" y="2763"/>
                      <a:ext cx="92" cy="92"/>
                    </a:xfrm>
                    <a:custGeom>
                      <a:avLst/>
                      <a:gdLst>
                        <a:gd name="T0" fmla="*/ 92 w 92"/>
                        <a:gd name="T1" fmla="*/ 46 h 92"/>
                        <a:gd name="T2" fmla="*/ 89 w 92"/>
                        <a:gd name="T3" fmla="*/ 31 h 92"/>
                        <a:gd name="T4" fmla="*/ 83 w 92"/>
                        <a:gd name="T5" fmla="*/ 19 h 92"/>
                        <a:gd name="T6" fmla="*/ 73 w 92"/>
                        <a:gd name="T7" fmla="*/ 9 h 92"/>
                        <a:gd name="T8" fmla="*/ 60 w 92"/>
                        <a:gd name="T9" fmla="*/ 2 h 92"/>
                        <a:gd name="T10" fmla="*/ 46 w 92"/>
                        <a:gd name="T11" fmla="*/ 0 h 92"/>
                        <a:gd name="T12" fmla="*/ 31 w 92"/>
                        <a:gd name="T13" fmla="*/ 2 h 92"/>
                        <a:gd name="T14" fmla="*/ 19 w 92"/>
                        <a:gd name="T15" fmla="*/ 9 h 92"/>
                        <a:gd name="T16" fmla="*/ 8 w 92"/>
                        <a:gd name="T17" fmla="*/ 19 h 92"/>
                        <a:gd name="T18" fmla="*/ 2 w 92"/>
                        <a:gd name="T19" fmla="*/ 31 h 92"/>
                        <a:gd name="T20" fmla="*/ 0 w 92"/>
                        <a:gd name="T21" fmla="*/ 46 h 92"/>
                        <a:gd name="T22" fmla="*/ 2 w 92"/>
                        <a:gd name="T23" fmla="*/ 60 h 92"/>
                        <a:gd name="T24" fmla="*/ 8 w 92"/>
                        <a:gd name="T25" fmla="*/ 73 h 92"/>
                        <a:gd name="T26" fmla="*/ 19 w 92"/>
                        <a:gd name="T27" fmla="*/ 83 h 92"/>
                        <a:gd name="T28" fmla="*/ 31 w 92"/>
                        <a:gd name="T29" fmla="*/ 89 h 92"/>
                        <a:gd name="T30" fmla="*/ 46 w 92"/>
                        <a:gd name="T31" fmla="*/ 92 h 92"/>
                        <a:gd name="T32" fmla="*/ 60 w 92"/>
                        <a:gd name="T33" fmla="*/ 89 h 92"/>
                        <a:gd name="T34" fmla="*/ 73 w 92"/>
                        <a:gd name="T35" fmla="*/ 83 h 92"/>
                        <a:gd name="T36" fmla="*/ 83 w 92"/>
                        <a:gd name="T37" fmla="*/ 73 h 92"/>
                        <a:gd name="T38" fmla="*/ 89 w 92"/>
                        <a:gd name="T39" fmla="*/ 60 h 92"/>
                        <a:gd name="T40" fmla="*/ 92 w 92"/>
                        <a:gd name="T41" fmla="*/ 46 h 92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92"/>
                        <a:gd name="T64" fmla="*/ 0 h 92"/>
                        <a:gd name="T65" fmla="*/ 92 w 92"/>
                        <a:gd name="T66" fmla="*/ 92 h 92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92" h="92">
                          <a:moveTo>
                            <a:pt x="92" y="46"/>
                          </a:moveTo>
                          <a:lnTo>
                            <a:pt x="89" y="31"/>
                          </a:lnTo>
                          <a:lnTo>
                            <a:pt x="83" y="19"/>
                          </a:lnTo>
                          <a:lnTo>
                            <a:pt x="73" y="9"/>
                          </a:lnTo>
                          <a:lnTo>
                            <a:pt x="60" y="2"/>
                          </a:lnTo>
                          <a:lnTo>
                            <a:pt x="46" y="0"/>
                          </a:lnTo>
                          <a:lnTo>
                            <a:pt x="31" y="2"/>
                          </a:lnTo>
                          <a:lnTo>
                            <a:pt x="19" y="9"/>
                          </a:lnTo>
                          <a:lnTo>
                            <a:pt x="8" y="19"/>
                          </a:lnTo>
                          <a:lnTo>
                            <a:pt x="2" y="31"/>
                          </a:lnTo>
                          <a:lnTo>
                            <a:pt x="0" y="46"/>
                          </a:lnTo>
                          <a:lnTo>
                            <a:pt x="2" y="60"/>
                          </a:lnTo>
                          <a:lnTo>
                            <a:pt x="8" y="73"/>
                          </a:lnTo>
                          <a:lnTo>
                            <a:pt x="19" y="83"/>
                          </a:lnTo>
                          <a:lnTo>
                            <a:pt x="31" y="89"/>
                          </a:lnTo>
                          <a:lnTo>
                            <a:pt x="46" y="92"/>
                          </a:lnTo>
                          <a:lnTo>
                            <a:pt x="60" y="89"/>
                          </a:lnTo>
                          <a:lnTo>
                            <a:pt x="73" y="83"/>
                          </a:lnTo>
                          <a:lnTo>
                            <a:pt x="83" y="73"/>
                          </a:lnTo>
                          <a:lnTo>
                            <a:pt x="89" y="60"/>
                          </a:lnTo>
                          <a:lnTo>
                            <a:pt x="92" y="4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2" name="Freeform 99"/>
                    <p:cNvSpPr>
                      <a:spLocks/>
                    </p:cNvSpPr>
                    <p:nvPr/>
                  </p:nvSpPr>
                  <p:spPr bwMode="auto">
                    <a:xfrm>
                      <a:off x="4504" y="2988"/>
                      <a:ext cx="89" cy="89"/>
                    </a:xfrm>
                    <a:custGeom>
                      <a:avLst/>
                      <a:gdLst>
                        <a:gd name="T0" fmla="*/ 89 w 89"/>
                        <a:gd name="T1" fmla="*/ 44 h 89"/>
                        <a:gd name="T2" fmla="*/ 87 w 89"/>
                        <a:gd name="T3" fmla="*/ 30 h 89"/>
                        <a:gd name="T4" fmla="*/ 81 w 89"/>
                        <a:gd name="T5" fmla="*/ 18 h 89"/>
                        <a:gd name="T6" fmla="*/ 70 w 89"/>
                        <a:gd name="T7" fmla="*/ 8 h 89"/>
                        <a:gd name="T8" fmla="*/ 59 w 89"/>
                        <a:gd name="T9" fmla="*/ 2 h 89"/>
                        <a:gd name="T10" fmla="*/ 44 w 89"/>
                        <a:gd name="T11" fmla="*/ 0 h 89"/>
                        <a:gd name="T12" fmla="*/ 30 w 89"/>
                        <a:gd name="T13" fmla="*/ 2 h 89"/>
                        <a:gd name="T14" fmla="*/ 18 w 89"/>
                        <a:gd name="T15" fmla="*/ 8 h 89"/>
                        <a:gd name="T16" fmla="*/ 8 w 89"/>
                        <a:gd name="T17" fmla="*/ 18 h 89"/>
                        <a:gd name="T18" fmla="*/ 2 w 89"/>
                        <a:gd name="T19" fmla="*/ 30 h 89"/>
                        <a:gd name="T20" fmla="*/ 0 w 89"/>
                        <a:gd name="T21" fmla="*/ 44 h 89"/>
                        <a:gd name="T22" fmla="*/ 2 w 89"/>
                        <a:gd name="T23" fmla="*/ 59 h 89"/>
                        <a:gd name="T24" fmla="*/ 8 w 89"/>
                        <a:gd name="T25" fmla="*/ 71 h 89"/>
                        <a:gd name="T26" fmla="*/ 18 w 89"/>
                        <a:gd name="T27" fmla="*/ 81 h 89"/>
                        <a:gd name="T28" fmla="*/ 30 w 89"/>
                        <a:gd name="T29" fmla="*/ 87 h 89"/>
                        <a:gd name="T30" fmla="*/ 44 w 89"/>
                        <a:gd name="T31" fmla="*/ 89 h 89"/>
                        <a:gd name="T32" fmla="*/ 59 w 89"/>
                        <a:gd name="T33" fmla="*/ 87 h 89"/>
                        <a:gd name="T34" fmla="*/ 70 w 89"/>
                        <a:gd name="T35" fmla="*/ 81 h 89"/>
                        <a:gd name="T36" fmla="*/ 81 w 89"/>
                        <a:gd name="T37" fmla="*/ 71 h 89"/>
                        <a:gd name="T38" fmla="*/ 87 w 89"/>
                        <a:gd name="T39" fmla="*/ 59 h 89"/>
                        <a:gd name="T40" fmla="*/ 89 w 89"/>
                        <a:gd name="T41" fmla="*/ 44 h 89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9"/>
                        <a:gd name="T64" fmla="*/ 0 h 89"/>
                        <a:gd name="T65" fmla="*/ 89 w 89"/>
                        <a:gd name="T66" fmla="*/ 89 h 89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9" h="89">
                          <a:moveTo>
                            <a:pt x="89" y="44"/>
                          </a:moveTo>
                          <a:lnTo>
                            <a:pt x="87" y="30"/>
                          </a:lnTo>
                          <a:lnTo>
                            <a:pt x="81" y="18"/>
                          </a:lnTo>
                          <a:lnTo>
                            <a:pt x="70" y="8"/>
                          </a:lnTo>
                          <a:lnTo>
                            <a:pt x="59" y="2"/>
                          </a:lnTo>
                          <a:lnTo>
                            <a:pt x="44" y="0"/>
                          </a:lnTo>
                          <a:lnTo>
                            <a:pt x="30" y="2"/>
                          </a:lnTo>
                          <a:lnTo>
                            <a:pt x="18" y="8"/>
                          </a:lnTo>
                          <a:lnTo>
                            <a:pt x="8" y="18"/>
                          </a:lnTo>
                          <a:lnTo>
                            <a:pt x="2" y="30"/>
                          </a:lnTo>
                          <a:lnTo>
                            <a:pt x="0" y="44"/>
                          </a:lnTo>
                          <a:lnTo>
                            <a:pt x="2" y="59"/>
                          </a:lnTo>
                          <a:lnTo>
                            <a:pt x="8" y="71"/>
                          </a:lnTo>
                          <a:lnTo>
                            <a:pt x="18" y="81"/>
                          </a:lnTo>
                          <a:lnTo>
                            <a:pt x="30" y="87"/>
                          </a:lnTo>
                          <a:lnTo>
                            <a:pt x="44" y="89"/>
                          </a:lnTo>
                          <a:lnTo>
                            <a:pt x="59" y="87"/>
                          </a:lnTo>
                          <a:lnTo>
                            <a:pt x="70" y="81"/>
                          </a:lnTo>
                          <a:lnTo>
                            <a:pt x="81" y="71"/>
                          </a:lnTo>
                          <a:lnTo>
                            <a:pt x="87" y="59"/>
                          </a:lnTo>
                          <a:lnTo>
                            <a:pt x="89" y="4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3" name="Freeform 100"/>
                    <p:cNvSpPr>
                      <a:spLocks/>
                    </p:cNvSpPr>
                    <p:nvPr/>
                  </p:nvSpPr>
                  <p:spPr bwMode="auto">
                    <a:xfrm>
                      <a:off x="4504" y="2988"/>
                      <a:ext cx="89" cy="89"/>
                    </a:xfrm>
                    <a:custGeom>
                      <a:avLst/>
                      <a:gdLst>
                        <a:gd name="T0" fmla="*/ 89 w 89"/>
                        <a:gd name="T1" fmla="*/ 44 h 89"/>
                        <a:gd name="T2" fmla="*/ 87 w 89"/>
                        <a:gd name="T3" fmla="*/ 30 h 89"/>
                        <a:gd name="T4" fmla="*/ 81 w 89"/>
                        <a:gd name="T5" fmla="*/ 18 h 89"/>
                        <a:gd name="T6" fmla="*/ 70 w 89"/>
                        <a:gd name="T7" fmla="*/ 8 h 89"/>
                        <a:gd name="T8" fmla="*/ 59 w 89"/>
                        <a:gd name="T9" fmla="*/ 2 h 89"/>
                        <a:gd name="T10" fmla="*/ 44 w 89"/>
                        <a:gd name="T11" fmla="*/ 0 h 89"/>
                        <a:gd name="T12" fmla="*/ 30 w 89"/>
                        <a:gd name="T13" fmla="*/ 2 h 89"/>
                        <a:gd name="T14" fmla="*/ 18 w 89"/>
                        <a:gd name="T15" fmla="*/ 8 h 89"/>
                        <a:gd name="T16" fmla="*/ 8 w 89"/>
                        <a:gd name="T17" fmla="*/ 18 h 89"/>
                        <a:gd name="T18" fmla="*/ 2 w 89"/>
                        <a:gd name="T19" fmla="*/ 30 h 89"/>
                        <a:gd name="T20" fmla="*/ 0 w 89"/>
                        <a:gd name="T21" fmla="*/ 44 h 89"/>
                        <a:gd name="T22" fmla="*/ 2 w 89"/>
                        <a:gd name="T23" fmla="*/ 59 h 89"/>
                        <a:gd name="T24" fmla="*/ 8 w 89"/>
                        <a:gd name="T25" fmla="*/ 71 h 89"/>
                        <a:gd name="T26" fmla="*/ 18 w 89"/>
                        <a:gd name="T27" fmla="*/ 81 h 89"/>
                        <a:gd name="T28" fmla="*/ 30 w 89"/>
                        <a:gd name="T29" fmla="*/ 87 h 89"/>
                        <a:gd name="T30" fmla="*/ 44 w 89"/>
                        <a:gd name="T31" fmla="*/ 89 h 89"/>
                        <a:gd name="T32" fmla="*/ 59 w 89"/>
                        <a:gd name="T33" fmla="*/ 87 h 89"/>
                        <a:gd name="T34" fmla="*/ 70 w 89"/>
                        <a:gd name="T35" fmla="*/ 81 h 89"/>
                        <a:gd name="T36" fmla="*/ 81 w 89"/>
                        <a:gd name="T37" fmla="*/ 71 h 89"/>
                        <a:gd name="T38" fmla="*/ 87 w 89"/>
                        <a:gd name="T39" fmla="*/ 59 h 89"/>
                        <a:gd name="T40" fmla="*/ 89 w 89"/>
                        <a:gd name="T41" fmla="*/ 44 h 89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9"/>
                        <a:gd name="T64" fmla="*/ 0 h 89"/>
                        <a:gd name="T65" fmla="*/ 89 w 89"/>
                        <a:gd name="T66" fmla="*/ 89 h 89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9" h="89">
                          <a:moveTo>
                            <a:pt x="89" y="44"/>
                          </a:moveTo>
                          <a:lnTo>
                            <a:pt x="87" y="30"/>
                          </a:lnTo>
                          <a:lnTo>
                            <a:pt x="81" y="18"/>
                          </a:lnTo>
                          <a:lnTo>
                            <a:pt x="70" y="8"/>
                          </a:lnTo>
                          <a:lnTo>
                            <a:pt x="59" y="2"/>
                          </a:lnTo>
                          <a:lnTo>
                            <a:pt x="44" y="0"/>
                          </a:lnTo>
                          <a:lnTo>
                            <a:pt x="30" y="2"/>
                          </a:lnTo>
                          <a:lnTo>
                            <a:pt x="18" y="8"/>
                          </a:lnTo>
                          <a:lnTo>
                            <a:pt x="8" y="18"/>
                          </a:lnTo>
                          <a:lnTo>
                            <a:pt x="2" y="30"/>
                          </a:lnTo>
                          <a:lnTo>
                            <a:pt x="0" y="44"/>
                          </a:lnTo>
                          <a:lnTo>
                            <a:pt x="2" y="59"/>
                          </a:lnTo>
                          <a:lnTo>
                            <a:pt x="8" y="71"/>
                          </a:lnTo>
                          <a:lnTo>
                            <a:pt x="18" y="81"/>
                          </a:lnTo>
                          <a:lnTo>
                            <a:pt x="30" y="87"/>
                          </a:lnTo>
                          <a:lnTo>
                            <a:pt x="44" y="89"/>
                          </a:lnTo>
                          <a:lnTo>
                            <a:pt x="59" y="87"/>
                          </a:lnTo>
                          <a:lnTo>
                            <a:pt x="70" y="81"/>
                          </a:lnTo>
                          <a:lnTo>
                            <a:pt x="81" y="71"/>
                          </a:lnTo>
                          <a:lnTo>
                            <a:pt x="87" y="59"/>
                          </a:lnTo>
                          <a:lnTo>
                            <a:pt x="89" y="44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4" name="Freeform 101"/>
                    <p:cNvSpPr>
                      <a:spLocks/>
                    </p:cNvSpPr>
                    <p:nvPr/>
                  </p:nvSpPr>
                  <p:spPr bwMode="auto">
                    <a:xfrm>
                      <a:off x="4134" y="2871"/>
                      <a:ext cx="90" cy="88"/>
                    </a:xfrm>
                    <a:custGeom>
                      <a:avLst/>
                      <a:gdLst>
                        <a:gd name="T0" fmla="*/ 90 w 90"/>
                        <a:gd name="T1" fmla="*/ 44 h 88"/>
                        <a:gd name="T2" fmla="*/ 88 w 90"/>
                        <a:gd name="T3" fmla="*/ 29 h 88"/>
                        <a:gd name="T4" fmla="*/ 81 w 90"/>
                        <a:gd name="T5" fmla="*/ 18 h 88"/>
                        <a:gd name="T6" fmla="*/ 71 w 90"/>
                        <a:gd name="T7" fmla="*/ 8 h 88"/>
                        <a:gd name="T8" fmla="*/ 59 w 90"/>
                        <a:gd name="T9" fmla="*/ 2 h 88"/>
                        <a:gd name="T10" fmla="*/ 45 w 90"/>
                        <a:gd name="T11" fmla="*/ 0 h 88"/>
                        <a:gd name="T12" fmla="*/ 31 w 90"/>
                        <a:gd name="T13" fmla="*/ 2 h 88"/>
                        <a:gd name="T14" fmla="*/ 19 w 90"/>
                        <a:gd name="T15" fmla="*/ 8 h 88"/>
                        <a:gd name="T16" fmla="*/ 9 w 90"/>
                        <a:gd name="T17" fmla="*/ 18 h 88"/>
                        <a:gd name="T18" fmla="*/ 3 w 90"/>
                        <a:gd name="T19" fmla="*/ 29 h 88"/>
                        <a:gd name="T20" fmla="*/ 0 w 90"/>
                        <a:gd name="T21" fmla="*/ 44 h 88"/>
                        <a:gd name="T22" fmla="*/ 3 w 90"/>
                        <a:gd name="T23" fmla="*/ 58 h 88"/>
                        <a:gd name="T24" fmla="*/ 9 w 90"/>
                        <a:gd name="T25" fmla="*/ 70 h 88"/>
                        <a:gd name="T26" fmla="*/ 19 w 90"/>
                        <a:gd name="T27" fmla="*/ 80 h 88"/>
                        <a:gd name="T28" fmla="*/ 31 w 90"/>
                        <a:gd name="T29" fmla="*/ 86 h 88"/>
                        <a:gd name="T30" fmla="*/ 45 w 90"/>
                        <a:gd name="T31" fmla="*/ 88 h 88"/>
                        <a:gd name="T32" fmla="*/ 59 w 90"/>
                        <a:gd name="T33" fmla="*/ 86 h 88"/>
                        <a:gd name="T34" fmla="*/ 71 w 90"/>
                        <a:gd name="T35" fmla="*/ 80 h 88"/>
                        <a:gd name="T36" fmla="*/ 81 w 90"/>
                        <a:gd name="T37" fmla="*/ 70 h 88"/>
                        <a:gd name="T38" fmla="*/ 88 w 90"/>
                        <a:gd name="T39" fmla="*/ 58 h 88"/>
                        <a:gd name="T40" fmla="*/ 90 w 90"/>
                        <a:gd name="T41" fmla="*/ 44 h 88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90"/>
                        <a:gd name="T64" fmla="*/ 0 h 88"/>
                        <a:gd name="T65" fmla="*/ 90 w 90"/>
                        <a:gd name="T66" fmla="*/ 88 h 88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90" h="88">
                          <a:moveTo>
                            <a:pt x="90" y="44"/>
                          </a:moveTo>
                          <a:lnTo>
                            <a:pt x="88" y="29"/>
                          </a:lnTo>
                          <a:lnTo>
                            <a:pt x="81" y="18"/>
                          </a:lnTo>
                          <a:lnTo>
                            <a:pt x="71" y="8"/>
                          </a:lnTo>
                          <a:lnTo>
                            <a:pt x="59" y="2"/>
                          </a:lnTo>
                          <a:lnTo>
                            <a:pt x="45" y="0"/>
                          </a:lnTo>
                          <a:lnTo>
                            <a:pt x="31" y="2"/>
                          </a:lnTo>
                          <a:lnTo>
                            <a:pt x="19" y="8"/>
                          </a:lnTo>
                          <a:lnTo>
                            <a:pt x="9" y="18"/>
                          </a:lnTo>
                          <a:lnTo>
                            <a:pt x="3" y="29"/>
                          </a:lnTo>
                          <a:lnTo>
                            <a:pt x="0" y="44"/>
                          </a:lnTo>
                          <a:lnTo>
                            <a:pt x="3" y="58"/>
                          </a:lnTo>
                          <a:lnTo>
                            <a:pt x="9" y="70"/>
                          </a:lnTo>
                          <a:lnTo>
                            <a:pt x="19" y="80"/>
                          </a:lnTo>
                          <a:lnTo>
                            <a:pt x="31" y="86"/>
                          </a:lnTo>
                          <a:lnTo>
                            <a:pt x="45" y="88"/>
                          </a:lnTo>
                          <a:lnTo>
                            <a:pt x="59" y="86"/>
                          </a:lnTo>
                          <a:lnTo>
                            <a:pt x="71" y="80"/>
                          </a:lnTo>
                          <a:lnTo>
                            <a:pt x="81" y="70"/>
                          </a:lnTo>
                          <a:lnTo>
                            <a:pt x="88" y="58"/>
                          </a:lnTo>
                          <a:lnTo>
                            <a:pt x="90" y="4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5" name="Freeform 102"/>
                    <p:cNvSpPr>
                      <a:spLocks/>
                    </p:cNvSpPr>
                    <p:nvPr/>
                  </p:nvSpPr>
                  <p:spPr bwMode="auto">
                    <a:xfrm>
                      <a:off x="4134" y="2871"/>
                      <a:ext cx="90" cy="88"/>
                    </a:xfrm>
                    <a:custGeom>
                      <a:avLst/>
                      <a:gdLst>
                        <a:gd name="T0" fmla="*/ 90 w 90"/>
                        <a:gd name="T1" fmla="*/ 44 h 88"/>
                        <a:gd name="T2" fmla="*/ 88 w 90"/>
                        <a:gd name="T3" fmla="*/ 29 h 88"/>
                        <a:gd name="T4" fmla="*/ 81 w 90"/>
                        <a:gd name="T5" fmla="*/ 18 h 88"/>
                        <a:gd name="T6" fmla="*/ 71 w 90"/>
                        <a:gd name="T7" fmla="*/ 8 h 88"/>
                        <a:gd name="T8" fmla="*/ 59 w 90"/>
                        <a:gd name="T9" fmla="*/ 2 h 88"/>
                        <a:gd name="T10" fmla="*/ 45 w 90"/>
                        <a:gd name="T11" fmla="*/ 0 h 88"/>
                        <a:gd name="T12" fmla="*/ 31 w 90"/>
                        <a:gd name="T13" fmla="*/ 2 h 88"/>
                        <a:gd name="T14" fmla="*/ 19 w 90"/>
                        <a:gd name="T15" fmla="*/ 8 h 88"/>
                        <a:gd name="T16" fmla="*/ 9 w 90"/>
                        <a:gd name="T17" fmla="*/ 18 h 88"/>
                        <a:gd name="T18" fmla="*/ 3 w 90"/>
                        <a:gd name="T19" fmla="*/ 29 h 88"/>
                        <a:gd name="T20" fmla="*/ 0 w 90"/>
                        <a:gd name="T21" fmla="*/ 44 h 88"/>
                        <a:gd name="T22" fmla="*/ 3 w 90"/>
                        <a:gd name="T23" fmla="*/ 58 h 88"/>
                        <a:gd name="T24" fmla="*/ 9 w 90"/>
                        <a:gd name="T25" fmla="*/ 70 h 88"/>
                        <a:gd name="T26" fmla="*/ 19 w 90"/>
                        <a:gd name="T27" fmla="*/ 80 h 88"/>
                        <a:gd name="T28" fmla="*/ 31 w 90"/>
                        <a:gd name="T29" fmla="*/ 86 h 88"/>
                        <a:gd name="T30" fmla="*/ 45 w 90"/>
                        <a:gd name="T31" fmla="*/ 88 h 88"/>
                        <a:gd name="T32" fmla="*/ 59 w 90"/>
                        <a:gd name="T33" fmla="*/ 86 h 88"/>
                        <a:gd name="T34" fmla="*/ 71 w 90"/>
                        <a:gd name="T35" fmla="*/ 80 h 88"/>
                        <a:gd name="T36" fmla="*/ 81 w 90"/>
                        <a:gd name="T37" fmla="*/ 70 h 88"/>
                        <a:gd name="T38" fmla="*/ 88 w 90"/>
                        <a:gd name="T39" fmla="*/ 58 h 88"/>
                        <a:gd name="T40" fmla="*/ 90 w 90"/>
                        <a:gd name="T41" fmla="*/ 44 h 88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90"/>
                        <a:gd name="T64" fmla="*/ 0 h 88"/>
                        <a:gd name="T65" fmla="*/ 90 w 90"/>
                        <a:gd name="T66" fmla="*/ 88 h 88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90" h="88">
                          <a:moveTo>
                            <a:pt x="90" y="44"/>
                          </a:moveTo>
                          <a:lnTo>
                            <a:pt x="88" y="29"/>
                          </a:lnTo>
                          <a:lnTo>
                            <a:pt x="81" y="18"/>
                          </a:lnTo>
                          <a:lnTo>
                            <a:pt x="71" y="8"/>
                          </a:lnTo>
                          <a:lnTo>
                            <a:pt x="59" y="2"/>
                          </a:lnTo>
                          <a:lnTo>
                            <a:pt x="45" y="0"/>
                          </a:lnTo>
                          <a:lnTo>
                            <a:pt x="31" y="2"/>
                          </a:lnTo>
                          <a:lnTo>
                            <a:pt x="19" y="8"/>
                          </a:lnTo>
                          <a:lnTo>
                            <a:pt x="9" y="18"/>
                          </a:lnTo>
                          <a:lnTo>
                            <a:pt x="3" y="29"/>
                          </a:lnTo>
                          <a:lnTo>
                            <a:pt x="0" y="44"/>
                          </a:lnTo>
                          <a:lnTo>
                            <a:pt x="3" y="58"/>
                          </a:lnTo>
                          <a:lnTo>
                            <a:pt x="9" y="70"/>
                          </a:lnTo>
                          <a:lnTo>
                            <a:pt x="19" y="80"/>
                          </a:lnTo>
                          <a:lnTo>
                            <a:pt x="31" y="86"/>
                          </a:lnTo>
                          <a:lnTo>
                            <a:pt x="45" y="88"/>
                          </a:lnTo>
                          <a:lnTo>
                            <a:pt x="59" y="86"/>
                          </a:lnTo>
                          <a:lnTo>
                            <a:pt x="71" y="80"/>
                          </a:lnTo>
                          <a:lnTo>
                            <a:pt x="81" y="70"/>
                          </a:lnTo>
                          <a:lnTo>
                            <a:pt x="88" y="58"/>
                          </a:lnTo>
                          <a:lnTo>
                            <a:pt x="90" y="44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6" name="Freeform 103"/>
                    <p:cNvSpPr>
                      <a:spLocks/>
                    </p:cNvSpPr>
                    <p:nvPr/>
                  </p:nvSpPr>
                  <p:spPr bwMode="auto">
                    <a:xfrm>
                      <a:off x="4908" y="1400"/>
                      <a:ext cx="84" cy="85"/>
                    </a:xfrm>
                    <a:custGeom>
                      <a:avLst/>
                      <a:gdLst>
                        <a:gd name="T0" fmla="*/ 84 w 84"/>
                        <a:gd name="T1" fmla="*/ 43 h 85"/>
                        <a:gd name="T2" fmla="*/ 82 w 84"/>
                        <a:gd name="T3" fmla="*/ 30 h 85"/>
                        <a:gd name="T4" fmla="*/ 77 w 84"/>
                        <a:gd name="T5" fmla="*/ 18 h 85"/>
                        <a:gd name="T6" fmla="*/ 67 w 84"/>
                        <a:gd name="T7" fmla="*/ 8 h 85"/>
                        <a:gd name="T8" fmla="*/ 55 w 84"/>
                        <a:gd name="T9" fmla="*/ 3 h 85"/>
                        <a:gd name="T10" fmla="*/ 42 w 84"/>
                        <a:gd name="T11" fmla="*/ 0 h 85"/>
                        <a:gd name="T12" fmla="*/ 29 w 84"/>
                        <a:gd name="T13" fmla="*/ 3 h 85"/>
                        <a:gd name="T14" fmla="*/ 18 w 84"/>
                        <a:gd name="T15" fmla="*/ 8 h 85"/>
                        <a:gd name="T16" fmla="*/ 8 w 84"/>
                        <a:gd name="T17" fmla="*/ 18 h 85"/>
                        <a:gd name="T18" fmla="*/ 3 w 84"/>
                        <a:gd name="T19" fmla="*/ 30 h 85"/>
                        <a:gd name="T20" fmla="*/ 0 w 84"/>
                        <a:gd name="T21" fmla="*/ 43 h 85"/>
                        <a:gd name="T22" fmla="*/ 3 w 84"/>
                        <a:gd name="T23" fmla="*/ 56 h 85"/>
                        <a:gd name="T24" fmla="*/ 8 w 84"/>
                        <a:gd name="T25" fmla="*/ 68 h 85"/>
                        <a:gd name="T26" fmla="*/ 18 w 84"/>
                        <a:gd name="T27" fmla="*/ 77 h 85"/>
                        <a:gd name="T28" fmla="*/ 29 w 84"/>
                        <a:gd name="T29" fmla="*/ 83 h 85"/>
                        <a:gd name="T30" fmla="*/ 42 w 84"/>
                        <a:gd name="T31" fmla="*/ 85 h 85"/>
                        <a:gd name="T32" fmla="*/ 55 w 84"/>
                        <a:gd name="T33" fmla="*/ 83 h 85"/>
                        <a:gd name="T34" fmla="*/ 67 w 84"/>
                        <a:gd name="T35" fmla="*/ 77 h 85"/>
                        <a:gd name="T36" fmla="*/ 77 w 84"/>
                        <a:gd name="T37" fmla="*/ 68 h 85"/>
                        <a:gd name="T38" fmla="*/ 82 w 84"/>
                        <a:gd name="T39" fmla="*/ 56 h 85"/>
                        <a:gd name="T40" fmla="*/ 84 w 84"/>
                        <a:gd name="T41" fmla="*/ 43 h 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4"/>
                        <a:gd name="T64" fmla="*/ 0 h 85"/>
                        <a:gd name="T65" fmla="*/ 84 w 84"/>
                        <a:gd name="T66" fmla="*/ 85 h 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4" h="85">
                          <a:moveTo>
                            <a:pt x="84" y="43"/>
                          </a:moveTo>
                          <a:lnTo>
                            <a:pt x="82" y="30"/>
                          </a:lnTo>
                          <a:lnTo>
                            <a:pt x="77" y="18"/>
                          </a:lnTo>
                          <a:lnTo>
                            <a:pt x="67" y="8"/>
                          </a:lnTo>
                          <a:lnTo>
                            <a:pt x="55" y="3"/>
                          </a:lnTo>
                          <a:lnTo>
                            <a:pt x="42" y="0"/>
                          </a:lnTo>
                          <a:lnTo>
                            <a:pt x="29" y="3"/>
                          </a:lnTo>
                          <a:lnTo>
                            <a:pt x="18" y="8"/>
                          </a:lnTo>
                          <a:lnTo>
                            <a:pt x="8" y="18"/>
                          </a:lnTo>
                          <a:lnTo>
                            <a:pt x="3" y="30"/>
                          </a:lnTo>
                          <a:lnTo>
                            <a:pt x="0" y="43"/>
                          </a:lnTo>
                          <a:lnTo>
                            <a:pt x="3" y="56"/>
                          </a:lnTo>
                          <a:lnTo>
                            <a:pt x="8" y="68"/>
                          </a:lnTo>
                          <a:lnTo>
                            <a:pt x="18" y="77"/>
                          </a:lnTo>
                          <a:lnTo>
                            <a:pt x="29" y="83"/>
                          </a:lnTo>
                          <a:lnTo>
                            <a:pt x="42" y="85"/>
                          </a:lnTo>
                          <a:lnTo>
                            <a:pt x="55" y="83"/>
                          </a:lnTo>
                          <a:lnTo>
                            <a:pt x="67" y="77"/>
                          </a:lnTo>
                          <a:lnTo>
                            <a:pt x="77" y="68"/>
                          </a:lnTo>
                          <a:lnTo>
                            <a:pt x="82" y="56"/>
                          </a:lnTo>
                          <a:lnTo>
                            <a:pt x="84" y="4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7" name="Freeform 104"/>
                    <p:cNvSpPr>
                      <a:spLocks/>
                    </p:cNvSpPr>
                    <p:nvPr/>
                  </p:nvSpPr>
                  <p:spPr bwMode="auto">
                    <a:xfrm>
                      <a:off x="4908" y="1400"/>
                      <a:ext cx="84" cy="85"/>
                    </a:xfrm>
                    <a:custGeom>
                      <a:avLst/>
                      <a:gdLst>
                        <a:gd name="T0" fmla="*/ 84 w 84"/>
                        <a:gd name="T1" fmla="*/ 43 h 85"/>
                        <a:gd name="T2" fmla="*/ 82 w 84"/>
                        <a:gd name="T3" fmla="*/ 30 h 85"/>
                        <a:gd name="T4" fmla="*/ 77 w 84"/>
                        <a:gd name="T5" fmla="*/ 18 h 85"/>
                        <a:gd name="T6" fmla="*/ 67 w 84"/>
                        <a:gd name="T7" fmla="*/ 8 h 85"/>
                        <a:gd name="T8" fmla="*/ 55 w 84"/>
                        <a:gd name="T9" fmla="*/ 3 h 85"/>
                        <a:gd name="T10" fmla="*/ 42 w 84"/>
                        <a:gd name="T11" fmla="*/ 0 h 85"/>
                        <a:gd name="T12" fmla="*/ 29 w 84"/>
                        <a:gd name="T13" fmla="*/ 3 h 85"/>
                        <a:gd name="T14" fmla="*/ 18 w 84"/>
                        <a:gd name="T15" fmla="*/ 8 h 85"/>
                        <a:gd name="T16" fmla="*/ 8 w 84"/>
                        <a:gd name="T17" fmla="*/ 18 h 85"/>
                        <a:gd name="T18" fmla="*/ 3 w 84"/>
                        <a:gd name="T19" fmla="*/ 30 h 85"/>
                        <a:gd name="T20" fmla="*/ 0 w 84"/>
                        <a:gd name="T21" fmla="*/ 43 h 85"/>
                        <a:gd name="T22" fmla="*/ 3 w 84"/>
                        <a:gd name="T23" fmla="*/ 56 h 85"/>
                        <a:gd name="T24" fmla="*/ 8 w 84"/>
                        <a:gd name="T25" fmla="*/ 68 h 85"/>
                        <a:gd name="T26" fmla="*/ 18 w 84"/>
                        <a:gd name="T27" fmla="*/ 77 h 85"/>
                        <a:gd name="T28" fmla="*/ 29 w 84"/>
                        <a:gd name="T29" fmla="*/ 83 h 85"/>
                        <a:gd name="T30" fmla="*/ 42 w 84"/>
                        <a:gd name="T31" fmla="*/ 85 h 85"/>
                        <a:gd name="T32" fmla="*/ 55 w 84"/>
                        <a:gd name="T33" fmla="*/ 83 h 85"/>
                        <a:gd name="T34" fmla="*/ 67 w 84"/>
                        <a:gd name="T35" fmla="*/ 77 h 85"/>
                        <a:gd name="T36" fmla="*/ 77 w 84"/>
                        <a:gd name="T37" fmla="*/ 68 h 85"/>
                        <a:gd name="T38" fmla="*/ 82 w 84"/>
                        <a:gd name="T39" fmla="*/ 56 h 85"/>
                        <a:gd name="T40" fmla="*/ 84 w 84"/>
                        <a:gd name="T41" fmla="*/ 43 h 8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4"/>
                        <a:gd name="T64" fmla="*/ 0 h 85"/>
                        <a:gd name="T65" fmla="*/ 84 w 84"/>
                        <a:gd name="T66" fmla="*/ 85 h 8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4" h="85">
                          <a:moveTo>
                            <a:pt x="84" y="43"/>
                          </a:moveTo>
                          <a:lnTo>
                            <a:pt x="82" y="30"/>
                          </a:lnTo>
                          <a:lnTo>
                            <a:pt x="77" y="18"/>
                          </a:lnTo>
                          <a:lnTo>
                            <a:pt x="67" y="8"/>
                          </a:lnTo>
                          <a:lnTo>
                            <a:pt x="55" y="3"/>
                          </a:lnTo>
                          <a:lnTo>
                            <a:pt x="42" y="0"/>
                          </a:lnTo>
                          <a:lnTo>
                            <a:pt x="29" y="3"/>
                          </a:lnTo>
                          <a:lnTo>
                            <a:pt x="18" y="8"/>
                          </a:lnTo>
                          <a:lnTo>
                            <a:pt x="8" y="18"/>
                          </a:lnTo>
                          <a:lnTo>
                            <a:pt x="3" y="30"/>
                          </a:lnTo>
                          <a:lnTo>
                            <a:pt x="0" y="43"/>
                          </a:lnTo>
                          <a:lnTo>
                            <a:pt x="3" y="56"/>
                          </a:lnTo>
                          <a:lnTo>
                            <a:pt x="8" y="68"/>
                          </a:lnTo>
                          <a:lnTo>
                            <a:pt x="18" y="77"/>
                          </a:lnTo>
                          <a:lnTo>
                            <a:pt x="29" y="83"/>
                          </a:lnTo>
                          <a:lnTo>
                            <a:pt x="42" y="85"/>
                          </a:lnTo>
                          <a:lnTo>
                            <a:pt x="55" y="83"/>
                          </a:lnTo>
                          <a:lnTo>
                            <a:pt x="67" y="77"/>
                          </a:lnTo>
                          <a:lnTo>
                            <a:pt x="77" y="68"/>
                          </a:lnTo>
                          <a:lnTo>
                            <a:pt x="82" y="56"/>
                          </a:lnTo>
                          <a:lnTo>
                            <a:pt x="84" y="4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8" name="Freeform 105"/>
                    <p:cNvSpPr>
                      <a:spLocks/>
                    </p:cNvSpPr>
                    <p:nvPr/>
                  </p:nvSpPr>
                  <p:spPr bwMode="auto">
                    <a:xfrm>
                      <a:off x="4623" y="2965"/>
                      <a:ext cx="83" cy="83"/>
                    </a:xfrm>
                    <a:custGeom>
                      <a:avLst/>
                      <a:gdLst>
                        <a:gd name="T0" fmla="*/ 83 w 83"/>
                        <a:gd name="T1" fmla="*/ 41 h 83"/>
                        <a:gd name="T2" fmla="*/ 81 w 83"/>
                        <a:gd name="T3" fmla="*/ 28 h 83"/>
                        <a:gd name="T4" fmla="*/ 76 w 83"/>
                        <a:gd name="T5" fmla="*/ 17 h 83"/>
                        <a:gd name="T6" fmla="*/ 66 w 83"/>
                        <a:gd name="T7" fmla="*/ 8 h 83"/>
                        <a:gd name="T8" fmla="*/ 55 w 83"/>
                        <a:gd name="T9" fmla="*/ 2 h 83"/>
                        <a:gd name="T10" fmla="*/ 42 w 83"/>
                        <a:gd name="T11" fmla="*/ 0 h 83"/>
                        <a:gd name="T12" fmla="*/ 28 w 83"/>
                        <a:gd name="T13" fmla="*/ 2 h 83"/>
                        <a:gd name="T14" fmla="*/ 17 w 83"/>
                        <a:gd name="T15" fmla="*/ 8 h 83"/>
                        <a:gd name="T16" fmla="*/ 8 w 83"/>
                        <a:gd name="T17" fmla="*/ 17 h 83"/>
                        <a:gd name="T18" fmla="*/ 2 w 83"/>
                        <a:gd name="T19" fmla="*/ 28 h 83"/>
                        <a:gd name="T20" fmla="*/ 0 w 83"/>
                        <a:gd name="T21" fmla="*/ 41 h 83"/>
                        <a:gd name="T22" fmla="*/ 2 w 83"/>
                        <a:gd name="T23" fmla="*/ 55 h 83"/>
                        <a:gd name="T24" fmla="*/ 8 w 83"/>
                        <a:gd name="T25" fmla="*/ 67 h 83"/>
                        <a:gd name="T26" fmla="*/ 17 w 83"/>
                        <a:gd name="T27" fmla="*/ 75 h 83"/>
                        <a:gd name="T28" fmla="*/ 28 w 83"/>
                        <a:gd name="T29" fmla="*/ 81 h 83"/>
                        <a:gd name="T30" fmla="*/ 42 w 83"/>
                        <a:gd name="T31" fmla="*/ 83 h 83"/>
                        <a:gd name="T32" fmla="*/ 55 w 83"/>
                        <a:gd name="T33" fmla="*/ 81 h 83"/>
                        <a:gd name="T34" fmla="*/ 66 w 83"/>
                        <a:gd name="T35" fmla="*/ 75 h 83"/>
                        <a:gd name="T36" fmla="*/ 76 w 83"/>
                        <a:gd name="T37" fmla="*/ 67 h 83"/>
                        <a:gd name="T38" fmla="*/ 81 w 83"/>
                        <a:gd name="T39" fmla="*/ 55 h 83"/>
                        <a:gd name="T40" fmla="*/ 83 w 83"/>
                        <a:gd name="T41" fmla="*/ 41 h 83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3"/>
                        <a:gd name="T64" fmla="*/ 0 h 83"/>
                        <a:gd name="T65" fmla="*/ 83 w 83"/>
                        <a:gd name="T66" fmla="*/ 83 h 83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3" h="83">
                          <a:moveTo>
                            <a:pt x="83" y="41"/>
                          </a:moveTo>
                          <a:lnTo>
                            <a:pt x="81" y="28"/>
                          </a:lnTo>
                          <a:lnTo>
                            <a:pt x="76" y="17"/>
                          </a:lnTo>
                          <a:lnTo>
                            <a:pt x="66" y="8"/>
                          </a:lnTo>
                          <a:lnTo>
                            <a:pt x="55" y="2"/>
                          </a:lnTo>
                          <a:lnTo>
                            <a:pt x="42" y="0"/>
                          </a:lnTo>
                          <a:lnTo>
                            <a:pt x="28" y="2"/>
                          </a:lnTo>
                          <a:lnTo>
                            <a:pt x="17" y="8"/>
                          </a:lnTo>
                          <a:lnTo>
                            <a:pt x="8" y="17"/>
                          </a:lnTo>
                          <a:lnTo>
                            <a:pt x="2" y="28"/>
                          </a:lnTo>
                          <a:lnTo>
                            <a:pt x="0" y="41"/>
                          </a:lnTo>
                          <a:lnTo>
                            <a:pt x="2" y="55"/>
                          </a:lnTo>
                          <a:lnTo>
                            <a:pt x="8" y="67"/>
                          </a:lnTo>
                          <a:lnTo>
                            <a:pt x="17" y="75"/>
                          </a:lnTo>
                          <a:lnTo>
                            <a:pt x="28" y="81"/>
                          </a:lnTo>
                          <a:lnTo>
                            <a:pt x="42" y="83"/>
                          </a:lnTo>
                          <a:lnTo>
                            <a:pt x="55" y="81"/>
                          </a:lnTo>
                          <a:lnTo>
                            <a:pt x="66" y="75"/>
                          </a:lnTo>
                          <a:lnTo>
                            <a:pt x="76" y="67"/>
                          </a:lnTo>
                          <a:lnTo>
                            <a:pt x="81" y="55"/>
                          </a:lnTo>
                          <a:lnTo>
                            <a:pt x="83" y="41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49" name="Freeform 106"/>
                    <p:cNvSpPr>
                      <a:spLocks/>
                    </p:cNvSpPr>
                    <p:nvPr/>
                  </p:nvSpPr>
                  <p:spPr bwMode="auto">
                    <a:xfrm>
                      <a:off x="4623" y="2965"/>
                      <a:ext cx="83" cy="83"/>
                    </a:xfrm>
                    <a:custGeom>
                      <a:avLst/>
                      <a:gdLst>
                        <a:gd name="T0" fmla="*/ 83 w 83"/>
                        <a:gd name="T1" fmla="*/ 41 h 83"/>
                        <a:gd name="T2" fmla="*/ 81 w 83"/>
                        <a:gd name="T3" fmla="*/ 28 h 83"/>
                        <a:gd name="T4" fmla="*/ 76 w 83"/>
                        <a:gd name="T5" fmla="*/ 17 h 83"/>
                        <a:gd name="T6" fmla="*/ 66 w 83"/>
                        <a:gd name="T7" fmla="*/ 8 h 83"/>
                        <a:gd name="T8" fmla="*/ 55 w 83"/>
                        <a:gd name="T9" fmla="*/ 2 h 83"/>
                        <a:gd name="T10" fmla="*/ 42 w 83"/>
                        <a:gd name="T11" fmla="*/ 0 h 83"/>
                        <a:gd name="T12" fmla="*/ 28 w 83"/>
                        <a:gd name="T13" fmla="*/ 2 h 83"/>
                        <a:gd name="T14" fmla="*/ 17 w 83"/>
                        <a:gd name="T15" fmla="*/ 8 h 83"/>
                        <a:gd name="T16" fmla="*/ 8 w 83"/>
                        <a:gd name="T17" fmla="*/ 17 h 83"/>
                        <a:gd name="T18" fmla="*/ 2 w 83"/>
                        <a:gd name="T19" fmla="*/ 28 h 83"/>
                        <a:gd name="T20" fmla="*/ 0 w 83"/>
                        <a:gd name="T21" fmla="*/ 41 h 83"/>
                        <a:gd name="T22" fmla="*/ 2 w 83"/>
                        <a:gd name="T23" fmla="*/ 55 h 83"/>
                        <a:gd name="T24" fmla="*/ 8 w 83"/>
                        <a:gd name="T25" fmla="*/ 67 h 83"/>
                        <a:gd name="T26" fmla="*/ 17 w 83"/>
                        <a:gd name="T27" fmla="*/ 75 h 83"/>
                        <a:gd name="T28" fmla="*/ 28 w 83"/>
                        <a:gd name="T29" fmla="*/ 81 h 83"/>
                        <a:gd name="T30" fmla="*/ 42 w 83"/>
                        <a:gd name="T31" fmla="*/ 83 h 83"/>
                        <a:gd name="T32" fmla="*/ 55 w 83"/>
                        <a:gd name="T33" fmla="*/ 81 h 83"/>
                        <a:gd name="T34" fmla="*/ 66 w 83"/>
                        <a:gd name="T35" fmla="*/ 75 h 83"/>
                        <a:gd name="T36" fmla="*/ 76 w 83"/>
                        <a:gd name="T37" fmla="*/ 67 h 83"/>
                        <a:gd name="T38" fmla="*/ 81 w 83"/>
                        <a:gd name="T39" fmla="*/ 55 h 83"/>
                        <a:gd name="T40" fmla="*/ 83 w 83"/>
                        <a:gd name="T41" fmla="*/ 41 h 83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3"/>
                        <a:gd name="T64" fmla="*/ 0 h 83"/>
                        <a:gd name="T65" fmla="*/ 83 w 83"/>
                        <a:gd name="T66" fmla="*/ 83 h 83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3" h="83">
                          <a:moveTo>
                            <a:pt x="83" y="41"/>
                          </a:moveTo>
                          <a:lnTo>
                            <a:pt x="81" y="28"/>
                          </a:lnTo>
                          <a:lnTo>
                            <a:pt x="76" y="17"/>
                          </a:lnTo>
                          <a:lnTo>
                            <a:pt x="66" y="8"/>
                          </a:lnTo>
                          <a:lnTo>
                            <a:pt x="55" y="2"/>
                          </a:lnTo>
                          <a:lnTo>
                            <a:pt x="42" y="0"/>
                          </a:lnTo>
                          <a:lnTo>
                            <a:pt x="28" y="2"/>
                          </a:lnTo>
                          <a:lnTo>
                            <a:pt x="17" y="8"/>
                          </a:lnTo>
                          <a:lnTo>
                            <a:pt x="8" y="17"/>
                          </a:lnTo>
                          <a:lnTo>
                            <a:pt x="2" y="28"/>
                          </a:lnTo>
                          <a:lnTo>
                            <a:pt x="0" y="41"/>
                          </a:lnTo>
                          <a:lnTo>
                            <a:pt x="2" y="55"/>
                          </a:lnTo>
                          <a:lnTo>
                            <a:pt x="8" y="67"/>
                          </a:lnTo>
                          <a:lnTo>
                            <a:pt x="17" y="75"/>
                          </a:lnTo>
                          <a:lnTo>
                            <a:pt x="28" y="81"/>
                          </a:lnTo>
                          <a:lnTo>
                            <a:pt x="42" y="83"/>
                          </a:lnTo>
                          <a:lnTo>
                            <a:pt x="55" y="81"/>
                          </a:lnTo>
                          <a:lnTo>
                            <a:pt x="66" y="75"/>
                          </a:lnTo>
                          <a:lnTo>
                            <a:pt x="76" y="67"/>
                          </a:lnTo>
                          <a:lnTo>
                            <a:pt x="81" y="55"/>
                          </a:lnTo>
                          <a:lnTo>
                            <a:pt x="83" y="41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0" name="Freeform 107"/>
                    <p:cNvSpPr>
                      <a:spLocks/>
                    </p:cNvSpPr>
                    <p:nvPr/>
                  </p:nvSpPr>
                  <p:spPr bwMode="auto">
                    <a:xfrm>
                      <a:off x="4152" y="2955"/>
                      <a:ext cx="83" cy="84"/>
                    </a:xfrm>
                    <a:custGeom>
                      <a:avLst/>
                      <a:gdLst>
                        <a:gd name="T0" fmla="*/ 83 w 83"/>
                        <a:gd name="T1" fmla="*/ 43 h 84"/>
                        <a:gd name="T2" fmla="*/ 81 w 83"/>
                        <a:gd name="T3" fmla="*/ 29 h 84"/>
                        <a:gd name="T4" fmla="*/ 75 w 83"/>
                        <a:gd name="T5" fmla="*/ 18 h 84"/>
                        <a:gd name="T6" fmla="*/ 66 w 83"/>
                        <a:gd name="T7" fmla="*/ 8 h 84"/>
                        <a:gd name="T8" fmla="*/ 55 w 83"/>
                        <a:gd name="T9" fmla="*/ 3 h 84"/>
                        <a:gd name="T10" fmla="*/ 41 w 83"/>
                        <a:gd name="T11" fmla="*/ 0 h 84"/>
                        <a:gd name="T12" fmla="*/ 28 w 83"/>
                        <a:gd name="T13" fmla="*/ 3 h 84"/>
                        <a:gd name="T14" fmla="*/ 17 w 83"/>
                        <a:gd name="T15" fmla="*/ 8 h 84"/>
                        <a:gd name="T16" fmla="*/ 8 w 83"/>
                        <a:gd name="T17" fmla="*/ 18 h 84"/>
                        <a:gd name="T18" fmla="*/ 2 w 83"/>
                        <a:gd name="T19" fmla="*/ 29 h 84"/>
                        <a:gd name="T20" fmla="*/ 0 w 83"/>
                        <a:gd name="T21" fmla="*/ 43 h 84"/>
                        <a:gd name="T22" fmla="*/ 2 w 83"/>
                        <a:gd name="T23" fmla="*/ 56 h 84"/>
                        <a:gd name="T24" fmla="*/ 8 w 83"/>
                        <a:gd name="T25" fmla="*/ 67 h 84"/>
                        <a:gd name="T26" fmla="*/ 17 w 83"/>
                        <a:gd name="T27" fmla="*/ 77 h 84"/>
                        <a:gd name="T28" fmla="*/ 28 w 83"/>
                        <a:gd name="T29" fmla="*/ 82 h 84"/>
                        <a:gd name="T30" fmla="*/ 41 w 83"/>
                        <a:gd name="T31" fmla="*/ 84 h 84"/>
                        <a:gd name="T32" fmla="*/ 55 w 83"/>
                        <a:gd name="T33" fmla="*/ 82 h 84"/>
                        <a:gd name="T34" fmla="*/ 66 w 83"/>
                        <a:gd name="T35" fmla="*/ 77 h 84"/>
                        <a:gd name="T36" fmla="*/ 75 w 83"/>
                        <a:gd name="T37" fmla="*/ 67 h 84"/>
                        <a:gd name="T38" fmla="*/ 81 w 83"/>
                        <a:gd name="T39" fmla="*/ 56 h 84"/>
                        <a:gd name="T40" fmla="*/ 83 w 83"/>
                        <a:gd name="T41" fmla="*/ 43 h 84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3"/>
                        <a:gd name="T64" fmla="*/ 0 h 84"/>
                        <a:gd name="T65" fmla="*/ 83 w 83"/>
                        <a:gd name="T66" fmla="*/ 84 h 84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3" h="84">
                          <a:moveTo>
                            <a:pt x="83" y="43"/>
                          </a:moveTo>
                          <a:lnTo>
                            <a:pt x="81" y="29"/>
                          </a:lnTo>
                          <a:lnTo>
                            <a:pt x="75" y="18"/>
                          </a:lnTo>
                          <a:lnTo>
                            <a:pt x="66" y="8"/>
                          </a:lnTo>
                          <a:lnTo>
                            <a:pt x="55" y="3"/>
                          </a:lnTo>
                          <a:lnTo>
                            <a:pt x="41" y="0"/>
                          </a:lnTo>
                          <a:lnTo>
                            <a:pt x="28" y="3"/>
                          </a:lnTo>
                          <a:lnTo>
                            <a:pt x="17" y="8"/>
                          </a:lnTo>
                          <a:lnTo>
                            <a:pt x="8" y="18"/>
                          </a:lnTo>
                          <a:lnTo>
                            <a:pt x="2" y="29"/>
                          </a:lnTo>
                          <a:lnTo>
                            <a:pt x="0" y="43"/>
                          </a:lnTo>
                          <a:lnTo>
                            <a:pt x="2" y="56"/>
                          </a:lnTo>
                          <a:lnTo>
                            <a:pt x="8" y="67"/>
                          </a:lnTo>
                          <a:lnTo>
                            <a:pt x="17" y="77"/>
                          </a:lnTo>
                          <a:lnTo>
                            <a:pt x="28" y="82"/>
                          </a:lnTo>
                          <a:lnTo>
                            <a:pt x="41" y="84"/>
                          </a:lnTo>
                          <a:lnTo>
                            <a:pt x="55" y="82"/>
                          </a:lnTo>
                          <a:lnTo>
                            <a:pt x="66" y="77"/>
                          </a:lnTo>
                          <a:lnTo>
                            <a:pt x="75" y="67"/>
                          </a:lnTo>
                          <a:lnTo>
                            <a:pt x="81" y="56"/>
                          </a:lnTo>
                          <a:lnTo>
                            <a:pt x="83" y="4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1" name="Freeform 108"/>
                    <p:cNvSpPr>
                      <a:spLocks/>
                    </p:cNvSpPr>
                    <p:nvPr/>
                  </p:nvSpPr>
                  <p:spPr bwMode="auto">
                    <a:xfrm>
                      <a:off x="4152" y="2955"/>
                      <a:ext cx="83" cy="84"/>
                    </a:xfrm>
                    <a:custGeom>
                      <a:avLst/>
                      <a:gdLst>
                        <a:gd name="T0" fmla="*/ 83 w 83"/>
                        <a:gd name="T1" fmla="*/ 43 h 84"/>
                        <a:gd name="T2" fmla="*/ 81 w 83"/>
                        <a:gd name="T3" fmla="*/ 29 h 84"/>
                        <a:gd name="T4" fmla="*/ 75 w 83"/>
                        <a:gd name="T5" fmla="*/ 18 h 84"/>
                        <a:gd name="T6" fmla="*/ 66 w 83"/>
                        <a:gd name="T7" fmla="*/ 8 h 84"/>
                        <a:gd name="T8" fmla="*/ 55 w 83"/>
                        <a:gd name="T9" fmla="*/ 3 h 84"/>
                        <a:gd name="T10" fmla="*/ 41 w 83"/>
                        <a:gd name="T11" fmla="*/ 0 h 84"/>
                        <a:gd name="T12" fmla="*/ 28 w 83"/>
                        <a:gd name="T13" fmla="*/ 3 h 84"/>
                        <a:gd name="T14" fmla="*/ 17 w 83"/>
                        <a:gd name="T15" fmla="*/ 8 h 84"/>
                        <a:gd name="T16" fmla="*/ 8 w 83"/>
                        <a:gd name="T17" fmla="*/ 18 h 84"/>
                        <a:gd name="T18" fmla="*/ 2 w 83"/>
                        <a:gd name="T19" fmla="*/ 29 h 84"/>
                        <a:gd name="T20" fmla="*/ 0 w 83"/>
                        <a:gd name="T21" fmla="*/ 43 h 84"/>
                        <a:gd name="T22" fmla="*/ 2 w 83"/>
                        <a:gd name="T23" fmla="*/ 56 h 84"/>
                        <a:gd name="T24" fmla="*/ 8 w 83"/>
                        <a:gd name="T25" fmla="*/ 67 h 84"/>
                        <a:gd name="T26" fmla="*/ 17 w 83"/>
                        <a:gd name="T27" fmla="*/ 77 h 84"/>
                        <a:gd name="T28" fmla="*/ 28 w 83"/>
                        <a:gd name="T29" fmla="*/ 82 h 84"/>
                        <a:gd name="T30" fmla="*/ 41 w 83"/>
                        <a:gd name="T31" fmla="*/ 84 h 84"/>
                        <a:gd name="T32" fmla="*/ 55 w 83"/>
                        <a:gd name="T33" fmla="*/ 82 h 84"/>
                        <a:gd name="T34" fmla="*/ 66 w 83"/>
                        <a:gd name="T35" fmla="*/ 77 h 84"/>
                        <a:gd name="T36" fmla="*/ 75 w 83"/>
                        <a:gd name="T37" fmla="*/ 67 h 84"/>
                        <a:gd name="T38" fmla="*/ 81 w 83"/>
                        <a:gd name="T39" fmla="*/ 56 h 84"/>
                        <a:gd name="T40" fmla="*/ 83 w 83"/>
                        <a:gd name="T41" fmla="*/ 43 h 84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3"/>
                        <a:gd name="T64" fmla="*/ 0 h 84"/>
                        <a:gd name="T65" fmla="*/ 83 w 83"/>
                        <a:gd name="T66" fmla="*/ 84 h 84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3" h="84">
                          <a:moveTo>
                            <a:pt x="83" y="43"/>
                          </a:moveTo>
                          <a:lnTo>
                            <a:pt x="81" y="29"/>
                          </a:lnTo>
                          <a:lnTo>
                            <a:pt x="75" y="18"/>
                          </a:lnTo>
                          <a:lnTo>
                            <a:pt x="66" y="8"/>
                          </a:lnTo>
                          <a:lnTo>
                            <a:pt x="55" y="3"/>
                          </a:lnTo>
                          <a:lnTo>
                            <a:pt x="41" y="0"/>
                          </a:lnTo>
                          <a:lnTo>
                            <a:pt x="28" y="3"/>
                          </a:lnTo>
                          <a:lnTo>
                            <a:pt x="17" y="8"/>
                          </a:lnTo>
                          <a:lnTo>
                            <a:pt x="8" y="18"/>
                          </a:lnTo>
                          <a:lnTo>
                            <a:pt x="2" y="29"/>
                          </a:lnTo>
                          <a:lnTo>
                            <a:pt x="0" y="43"/>
                          </a:lnTo>
                          <a:lnTo>
                            <a:pt x="2" y="56"/>
                          </a:lnTo>
                          <a:lnTo>
                            <a:pt x="8" y="67"/>
                          </a:lnTo>
                          <a:lnTo>
                            <a:pt x="17" y="77"/>
                          </a:lnTo>
                          <a:lnTo>
                            <a:pt x="28" y="82"/>
                          </a:lnTo>
                          <a:lnTo>
                            <a:pt x="41" y="84"/>
                          </a:lnTo>
                          <a:lnTo>
                            <a:pt x="55" y="82"/>
                          </a:lnTo>
                          <a:lnTo>
                            <a:pt x="66" y="77"/>
                          </a:lnTo>
                          <a:lnTo>
                            <a:pt x="75" y="67"/>
                          </a:lnTo>
                          <a:lnTo>
                            <a:pt x="81" y="56"/>
                          </a:lnTo>
                          <a:lnTo>
                            <a:pt x="83" y="4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2" name="Freeform 109"/>
                    <p:cNvSpPr>
                      <a:spLocks/>
                    </p:cNvSpPr>
                    <p:nvPr/>
                  </p:nvSpPr>
                  <p:spPr bwMode="auto">
                    <a:xfrm>
                      <a:off x="3800" y="2707"/>
                      <a:ext cx="80" cy="80"/>
                    </a:xfrm>
                    <a:custGeom>
                      <a:avLst/>
                      <a:gdLst>
                        <a:gd name="T0" fmla="*/ 80 w 80"/>
                        <a:gd name="T1" fmla="*/ 40 h 80"/>
                        <a:gd name="T2" fmla="*/ 77 w 80"/>
                        <a:gd name="T3" fmla="*/ 28 h 80"/>
                        <a:gd name="T4" fmla="*/ 72 w 80"/>
                        <a:gd name="T5" fmla="*/ 17 h 80"/>
                        <a:gd name="T6" fmla="*/ 63 w 80"/>
                        <a:gd name="T7" fmla="*/ 8 h 80"/>
                        <a:gd name="T8" fmla="*/ 52 w 80"/>
                        <a:gd name="T9" fmla="*/ 2 h 80"/>
                        <a:gd name="T10" fmla="*/ 40 w 80"/>
                        <a:gd name="T11" fmla="*/ 0 h 80"/>
                        <a:gd name="T12" fmla="*/ 27 w 80"/>
                        <a:gd name="T13" fmla="*/ 2 h 80"/>
                        <a:gd name="T14" fmla="*/ 16 w 80"/>
                        <a:gd name="T15" fmla="*/ 8 h 80"/>
                        <a:gd name="T16" fmla="*/ 8 w 80"/>
                        <a:gd name="T17" fmla="*/ 17 h 80"/>
                        <a:gd name="T18" fmla="*/ 2 w 80"/>
                        <a:gd name="T19" fmla="*/ 28 h 80"/>
                        <a:gd name="T20" fmla="*/ 0 w 80"/>
                        <a:gd name="T21" fmla="*/ 40 h 80"/>
                        <a:gd name="T22" fmla="*/ 2 w 80"/>
                        <a:gd name="T23" fmla="*/ 53 h 80"/>
                        <a:gd name="T24" fmla="*/ 8 w 80"/>
                        <a:gd name="T25" fmla="*/ 64 h 80"/>
                        <a:gd name="T26" fmla="*/ 16 w 80"/>
                        <a:gd name="T27" fmla="*/ 72 h 80"/>
                        <a:gd name="T28" fmla="*/ 27 w 80"/>
                        <a:gd name="T29" fmla="*/ 78 h 80"/>
                        <a:gd name="T30" fmla="*/ 40 w 80"/>
                        <a:gd name="T31" fmla="*/ 80 h 80"/>
                        <a:gd name="T32" fmla="*/ 52 w 80"/>
                        <a:gd name="T33" fmla="*/ 78 h 80"/>
                        <a:gd name="T34" fmla="*/ 63 w 80"/>
                        <a:gd name="T35" fmla="*/ 72 h 80"/>
                        <a:gd name="T36" fmla="*/ 72 w 80"/>
                        <a:gd name="T37" fmla="*/ 64 h 80"/>
                        <a:gd name="T38" fmla="*/ 77 w 80"/>
                        <a:gd name="T39" fmla="*/ 53 h 80"/>
                        <a:gd name="T40" fmla="*/ 80 w 80"/>
                        <a:gd name="T41" fmla="*/ 40 h 80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0"/>
                        <a:gd name="T64" fmla="*/ 0 h 80"/>
                        <a:gd name="T65" fmla="*/ 80 w 80"/>
                        <a:gd name="T66" fmla="*/ 80 h 80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0" h="80">
                          <a:moveTo>
                            <a:pt x="80" y="40"/>
                          </a:moveTo>
                          <a:lnTo>
                            <a:pt x="77" y="28"/>
                          </a:lnTo>
                          <a:lnTo>
                            <a:pt x="72" y="17"/>
                          </a:lnTo>
                          <a:lnTo>
                            <a:pt x="63" y="8"/>
                          </a:lnTo>
                          <a:lnTo>
                            <a:pt x="52" y="2"/>
                          </a:lnTo>
                          <a:lnTo>
                            <a:pt x="40" y="0"/>
                          </a:lnTo>
                          <a:lnTo>
                            <a:pt x="27" y="2"/>
                          </a:lnTo>
                          <a:lnTo>
                            <a:pt x="16" y="8"/>
                          </a:lnTo>
                          <a:lnTo>
                            <a:pt x="8" y="17"/>
                          </a:lnTo>
                          <a:lnTo>
                            <a:pt x="2" y="28"/>
                          </a:lnTo>
                          <a:lnTo>
                            <a:pt x="0" y="40"/>
                          </a:lnTo>
                          <a:lnTo>
                            <a:pt x="2" y="53"/>
                          </a:lnTo>
                          <a:lnTo>
                            <a:pt x="8" y="64"/>
                          </a:lnTo>
                          <a:lnTo>
                            <a:pt x="16" y="72"/>
                          </a:lnTo>
                          <a:lnTo>
                            <a:pt x="27" y="78"/>
                          </a:lnTo>
                          <a:lnTo>
                            <a:pt x="40" y="80"/>
                          </a:lnTo>
                          <a:lnTo>
                            <a:pt x="52" y="78"/>
                          </a:lnTo>
                          <a:lnTo>
                            <a:pt x="63" y="72"/>
                          </a:lnTo>
                          <a:lnTo>
                            <a:pt x="72" y="64"/>
                          </a:lnTo>
                          <a:lnTo>
                            <a:pt x="77" y="53"/>
                          </a:lnTo>
                          <a:lnTo>
                            <a:pt x="80" y="4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3" name="Freeform 110"/>
                    <p:cNvSpPr>
                      <a:spLocks/>
                    </p:cNvSpPr>
                    <p:nvPr/>
                  </p:nvSpPr>
                  <p:spPr bwMode="auto">
                    <a:xfrm>
                      <a:off x="3800" y="2707"/>
                      <a:ext cx="80" cy="80"/>
                    </a:xfrm>
                    <a:custGeom>
                      <a:avLst/>
                      <a:gdLst>
                        <a:gd name="T0" fmla="*/ 80 w 80"/>
                        <a:gd name="T1" fmla="*/ 40 h 80"/>
                        <a:gd name="T2" fmla="*/ 77 w 80"/>
                        <a:gd name="T3" fmla="*/ 28 h 80"/>
                        <a:gd name="T4" fmla="*/ 72 w 80"/>
                        <a:gd name="T5" fmla="*/ 17 h 80"/>
                        <a:gd name="T6" fmla="*/ 63 w 80"/>
                        <a:gd name="T7" fmla="*/ 8 h 80"/>
                        <a:gd name="T8" fmla="*/ 52 w 80"/>
                        <a:gd name="T9" fmla="*/ 2 h 80"/>
                        <a:gd name="T10" fmla="*/ 40 w 80"/>
                        <a:gd name="T11" fmla="*/ 0 h 80"/>
                        <a:gd name="T12" fmla="*/ 27 w 80"/>
                        <a:gd name="T13" fmla="*/ 2 h 80"/>
                        <a:gd name="T14" fmla="*/ 16 w 80"/>
                        <a:gd name="T15" fmla="*/ 8 h 80"/>
                        <a:gd name="T16" fmla="*/ 8 w 80"/>
                        <a:gd name="T17" fmla="*/ 17 h 80"/>
                        <a:gd name="T18" fmla="*/ 2 w 80"/>
                        <a:gd name="T19" fmla="*/ 28 h 80"/>
                        <a:gd name="T20" fmla="*/ 0 w 80"/>
                        <a:gd name="T21" fmla="*/ 40 h 80"/>
                        <a:gd name="T22" fmla="*/ 2 w 80"/>
                        <a:gd name="T23" fmla="*/ 53 h 80"/>
                        <a:gd name="T24" fmla="*/ 8 w 80"/>
                        <a:gd name="T25" fmla="*/ 64 h 80"/>
                        <a:gd name="T26" fmla="*/ 16 w 80"/>
                        <a:gd name="T27" fmla="*/ 72 h 80"/>
                        <a:gd name="T28" fmla="*/ 27 w 80"/>
                        <a:gd name="T29" fmla="*/ 78 h 80"/>
                        <a:gd name="T30" fmla="*/ 40 w 80"/>
                        <a:gd name="T31" fmla="*/ 80 h 80"/>
                        <a:gd name="T32" fmla="*/ 52 w 80"/>
                        <a:gd name="T33" fmla="*/ 78 h 80"/>
                        <a:gd name="T34" fmla="*/ 63 w 80"/>
                        <a:gd name="T35" fmla="*/ 72 h 80"/>
                        <a:gd name="T36" fmla="*/ 72 w 80"/>
                        <a:gd name="T37" fmla="*/ 64 h 80"/>
                        <a:gd name="T38" fmla="*/ 77 w 80"/>
                        <a:gd name="T39" fmla="*/ 53 h 80"/>
                        <a:gd name="T40" fmla="*/ 80 w 80"/>
                        <a:gd name="T41" fmla="*/ 40 h 80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80"/>
                        <a:gd name="T64" fmla="*/ 0 h 80"/>
                        <a:gd name="T65" fmla="*/ 80 w 80"/>
                        <a:gd name="T66" fmla="*/ 80 h 80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80" h="80">
                          <a:moveTo>
                            <a:pt x="80" y="40"/>
                          </a:moveTo>
                          <a:lnTo>
                            <a:pt x="77" y="28"/>
                          </a:lnTo>
                          <a:lnTo>
                            <a:pt x="72" y="17"/>
                          </a:lnTo>
                          <a:lnTo>
                            <a:pt x="63" y="8"/>
                          </a:lnTo>
                          <a:lnTo>
                            <a:pt x="52" y="2"/>
                          </a:lnTo>
                          <a:lnTo>
                            <a:pt x="40" y="0"/>
                          </a:lnTo>
                          <a:lnTo>
                            <a:pt x="27" y="2"/>
                          </a:lnTo>
                          <a:lnTo>
                            <a:pt x="16" y="8"/>
                          </a:lnTo>
                          <a:lnTo>
                            <a:pt x="8" y="17"/>
                          </a:lnTo>
                          <a:lnTo>
                            <a:pt x="2" y="28"/>
                          </a:lnTo>
                          <a:lnTo>
                            <a:pt x="0" y="40"/>
                          </a:lnTo>
                          <a:lnTo>
                            <a:pt x="2" y="53"/>
                          </a:lnTo>
                          <a:lnTo>
                            <a:pt x="8" y="64"/>
                          </a:lnTo>
                          <a:lnTo>
                            <a:pt x="16" y="72"/>
                          </a:lnTo>
                          <a:lnTo>
                            <a:pt x="27" y="78"/>
                          </a:lnTo>
                          <a:lnTo>
                            <a:pt x="40" y="80"/>
                          </a:lnTo>
                          <a:lnTo>
                            <a:pt x="52" y="78"/>
                          </a:lnTo>
                          <a:lnTo>
                            <a:pt x="63" y="72"/>
                          </a:lnTo>
                          <a:lnTo>
                            <a:pt x="72" y="64"/>
                          </a:lnTo>
                          <a:lnTo>
                            <a:pt x="77" y="53"/>
                          </a:lnTo>
                          <a:lnTo>
                            <a:pt x="80" y="4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4" name="Freeform 111"/>
                    <p:cNvSpPr>
                      <a:spLocks/>
                    </p:cNvSpPr>
                    <p:nvPr/>
                  </p:nvSpPr>
                  <p:spPr bwMode="auto">
                    <a:xfrm>
                      <a:off x="4368" y="2922"/>
                      <a:ext cx="78" cy="78"/>
                    </a:xfrm>
                    <a:custGeom>
                      <a:avLst/>
                      <a:gdLst>
                        <a:gd name="T0" fmla="*/ 78 w 78"/>
                        <a:gd name="T1" fmla="*/ 39 h 78"/>
                        <a:gd name="T2" fmla="*/ 75 w 78"/>
                        <a:gd name="T3" fmla="*/ 26 h 78"/>
                        <a:gd name="T4" fmla="*/ 70 w 78"/>
                        <a:gd name="T5" fmla="*/ 16 h 78"/>
                        <a:gd name="T6" fmla="*/ 62 w 78"/>
                        <a:gd name="T7" fmla="*/ 7 h 78"/>
                        <a:gd name="T8" fmla="*/ 51 w 78"/>
                        <a:gd name="T9" fmla="*/ 2 h 78"/>
                        <a:gd name="T10" fmla="*/ 38 w 78"/>
                        <a:gd name="T11" fmla="*/ 0 h 78"/>
                        <a:gd name="T12" fmla="*/ 26 w 78"/>
                        <a:gd name="T13" fmla="*/ 2 h 78"/>
                        <a:gd name="T14" fmla="*/ 15 w 78"/>
                        <a:gd name="T15" fmla="*/ 7 h 78"/>
                        <a:gd name="T16" fmla="*/ 7 w 78"/>
                        <a:gd name="T17" fmla="*/ 16 h 78"/>
                        <a:gd name="T18" fmla="*/ 2 w 78"/>
                        <a:gd name="T19" fmla="*/ 26 h 78"/>
                        <a:gd name="T20" fmla="*/ 0 w 78"/>
                        <a:gd name="T21" fmla="*/ 39 h 78"/>
                        <a:gd name="T22" fmla="*/ 2 w 78"/>
                        <a:gd name="T23" fmla="*/ 51 h 78"/>
                        <a:gd name="T24" fmla="*/ 7 w 78"/>
                        <a:gd name="T25" fmla="*/ 62 h 78"/>
                        <a:gd name="T26" fmla="*/ 15 w 78"/>
                        <a:gd name="T27" fmla="*/ 70 h 78"/>
                        <a:gd name="T28" fmla="*/ 26 w 78"/>
                        <a:gd name="T29" fmla="*/ 76 h 78"/>
                        <a:gd name="T30" fmla="*/ 38 w 78"/>
                        <a:gd name="T31" fmla="*/ 78 h 78"/>
                        <a:gd name="T32" fmla="*/ 51 w 78"/>
                        <a:gd name="T33" fmla="*/ 76 h 78"/>
                        <a:gd name="T34" fmla="*/ 62 w 78"/>
                        <a:gd name="T35" fmla="*/ 70 h 78"/>
                        <a:gd name="T36" fmla="*/ 70 w 78"/>
                        <a:gd name="T37" fmla="*/ 62 h 78"/>
                        <a:gd name="T38" fmla="*/ 75 w 78"/>
                        <a:gd name="T39" fmla="*/ 51 h 78"/>
                        <a:gd name="T40" fmla="*/ 78 w 78"/>
                        <a:gd name="T41" fmla="*/ 39 h 78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8"/>
                        <a:gd name="T64" fmla="*/ 0 h 78"/>
                        <a:gd name="T65" fmla="*/ 78 w 78"/>
                        <a:gd name="T66" fmla="*/ 78 h 78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8" h="78">
                          <a:moveTo>
                            <a:pt x="78" y="39"/>
                          </a:moveTo>
                          <a:lnTo>
                            <a:pt x="75" y="26"/>
                          </a:lnTo>
                          <a:lnTo>
                            <a:pt x="70" y="16"/>
                          </a:lnTo>
                          <a:lnTo>
                            <a:pt x="62" y="7"/>
                          </a:lnTo>
                          <a:lnTo>
                            <a:pt x="51" y="2"/>
                          </a:lnTo>
                          <a:lnTo>
                            <a:pt x="38" y="0"/>
                          </a:lnTo>
                          <a:lnTo>
                            <a:pt x="26" y="2"/>
                          </a:lnTo>
                          <a:lnTo>
                            <a:pt x="15" y="7"/>
                          </a:lnTo>
                          <a:lnTo>
                            <a:pt x="7" y="16"/>
                          </a:lnTo>
                          <a:lnTo>
                            <a:pt x="2" y="26"/>
                          </a:lnTo>
                          <a:lnTo>
                            <a:pt x="0" y="39"/>
                          </a:lnTo>
                          <a:lnTo>
                            <a:pt x="2" y="51"/>
                          </a:lnTo>
                          <a:lnTo>
                            <a:pt x="7" y="62"/>
                          </a:lnTo>
                          <a:lnTo>
                            <a:pt x="15" y="70"/>
                          </a:lnTo>
                          <a:lnTo>
                            <a:pt x="26" y="76"/>
                          </a:lnTo>
                          <a:lnTo>
                            <a:pt x="38" y="78"/>
                          </a:lnTo>
                          <a:lnTo>
                            <a:pt x="51" y="76"/>
                          </a:lnTo>
                          <a:lnTo>
                            <a:pt x="62" y="70"/>
                          </a:lnTo>
                          <a:lnTo>
                            <a:pt x="70" y="62"/>
                          </a:lnTo>
                          <a:lnTo>
                            <a:pt x="75" y="51"/>
                          </a:lnTo>
                          <a:lnTo>
                            <a:pt x="78" y="39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5" name="Freeform 112"/>
                    <p:cNvSpPr>
                      <a:spLocks/>
                    </p:cNvSpPr>
                    <p:nvPr/>
                  </p:nvSpPr>
                  <p:spPr bwMode="auto">
                    <a:xfrm>
                      <a:off x="4368" y="2922"/>
                      <a:ext cx="78" cy="78"/>
                    </a:xfrm>
                    <a:custGeom>
                      <a:avLst/>
                      <a:gdLst>
                        <a:gd name="T0" fmla="*/ 78 w 78"/>
                        <a:gd name="T1" fmla="*/ 39 h 78"/>
                        <a:gd name="T2" fmla="*/ 75 w 78"/>
                        <a:gd name="T3" fmla="*/ 26 h 78"/>
                        <a:gd name="T4" fmla="*/ 70 w 78"/>
                        <a:gd name="T5" fmla="*/ 16 h 78"/>
                        <a:gd name="T6" fmla="*/ 62 w 78"/>
                        <a:gd name="T7" fmla="*/ 7 h 78"/>
                        <a:gd name="T8" fmla="*/ 51 w 78"/>
                        <a:gd name="T9" fmla="*/ 2 h 78"/>
                        <a:gd name="T10" fmla="*/ 38 w 78"/>
                        <a:gd name="T11" fmla="*/ 0 h 78"/>
                        <a:gd name="T12" fmla="*/ 26 w 78"/>
                        <a:gd name="T13" fmla="*/ 2 h 78"/>
                        <a:gd name="T14" fmla="*/ 15 w 78"/>
                        <a:gd name="T15" fmla="*/ 7 h 78"/>
                        <a:gd name="T16" fmla="*/ 7 w 78"/>
                        <a:gd name="T17" fmla="*/ 16 h 78"/>
                        <a:gd name="T18" fmla="*/ 2 w 78"/>
                        <a:gd name="T19" fmla="*/ 26 h 78"/>
                        <a:gd name="T20" fmla="*/ 0 w 78"/>
                        <a:gd name="T21" fmla="*/ 39 h 78"/>
                        <a:gd name="T22" fmla="*/ 2 w 78"/>
                        <a:gd name="T23" fmla="*/ 51 h 78"/>
                        <a:gd name="T24" fmla="*/ 7 w 78"/>
                        <a:gd name="T25" fmla="*/ 62 h 78"/>
                        <a:gd name="T26" fmla="*/ 15 w 78"/>
                        <a:gd name="T27" fmla="*/ 70 h 78"/>
                        <a:gd name="T28" fmla="*/ 26 w 78"/>
                        <a:gd name="T29" fmla="*/ 76 h 78"/>
                        <a:gd name="T30" fmla="*/ 38 w 78"/>
                        <a:gd name="T31" fmla="*/ 78 h 78"/>
                        <a:gd name="T32" fmla="*/ 51 w 78"/>
                        <a:gd name="T33" fmla="*/ 76 h 78"/>
                        <a:gd name="T34" fmla="*/ 62 w 78"/>
                        <a:gd name="T35" fmla="*/ 70 h 78"/>
                        <a:gd name="T36" fmla="*/ 70 w 78"/>
                        <a:gd name="T37" fmla="*/ 62 h 78"/>
                        <a:gd name="T38" fmla="*/ 75 w 78"/>
                        <a:gd name="T39" fmla="*/ 51 h 78"/>
                        <a:gd name="T40" fmla="*/ 78 w 78"/>
                        <a:gd name="T41" fmla="*/ 39 h 78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8"/>
                        <a:gd name="T64" fmla="*/ 0 h 78"/>
                        <a:gd name="T65" fmla="*/ 78 w 78"/>
                        <a:gd name="T66" fmla="*/ 78 h 78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8" h="78">
                          <a:moveTo>
                            <a:pt x="78" y="39"/>
                          </a:moveTo>
                          <a:lnTo>
                            <a:pt x="75" y="26"/>
                          </a:lnTo>
                          <a:lnTo>
                            <a:pt x="70" y="16"/>
                          </a:lnTo>
                          <a:lnTo>
                            <a:pt x="62" y="7"/>
                          </a:lnTo>
                          <a:lnTo>
                            <a:pt x="51" y="2"/>
                          </a:lnTo>
                          <a:lnTo>
                            <a:pt x="38" y="0"/>
                          </a:lnTo>
                          <a:lnTo>
                            <a:pt x="26" y="2"/>
                          </a:lnTo>
                          <a:lnTo>
                            <a:pt x="15" y="7"/>
                          </a:lnTo>
                          <a:lnTo>
                            <a:pt x="7" y="16"/>
                          </a:lnTo>
                          <a:lnTo>
                            <a:pt x="2" y="26"/>
                          </a:lnTo>
                          <a:lnTo>
                            <a:pt x="0" y="39"/>
                          </a:lnTo>
                          <a:lnTo>
                            <a:pt x="2" y="51"/>
                          </a:lnTo>
                          <a:lnTo>
                            <a:pt x="7" y="62"/>
                          </a:lnTo>
                          <a:lnTo>
                            <a:pt x="15" y="70"/>
                          </a:lnTo>
                          <a:lnTo>
                            <a:pt x="26" y="76"/>
                          </a:lnTo>
                          <a:lnTo>
                            <a:pt x="38" y="78"/>
                          </a:lnTo>
                          <a:lnTo>
                            <a:pt x="51" y="76"/>
                          </a:lnTo>
                          <a:lnTo>
                            <a:pt x="62" y="70"/>
                          </a:lnTo>
                          <a:lnTo>
                            <a:pt x="70" y="62"/>
                          </a:lnTo>
                          <a:lnTo>
                            <a:pt x="75" y="51"/>
                          </a:lnTo>
                          <a:lnTo>
                            <a:pt x="78" y="39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6" name="Freeform 113"/>
                    <p:cNvSpPr>
                      <a:spLocks/>
                    </p:cNvSpPr>
                    <p:nvPr/>
                  </p:nvSpPr>
                  <p:spPr bwMode="auto">
                    <a:xfrm>
                      <a:off x="3747" y="2765"/>
                      <a:ext cx="78" cy="77"/>
                    </a:xfrm>
                    <a:custGeom>
                      <a:avLst/>
                      <a:gdLst>
                        <a:gd name="T0" fmla="*/ 78 w 78"/>
                        <a:gd name="T1" fmla="*/ 39 h 77"/>
                        <a:gd name="T2" fmla="*/ 75 w 78"/>
                        <a:gd name="T3" fmla="*/ 27 h 77"/>
                        <a:gd name="T4" fmla="*/ 71 w 78"/>
                        <a:gd name="T5" fmla="*/ 16 h 77"/>
                        <a:gd name="T6" fmla="*/ 62 w 78"/>
                        <a:gd name="T7" fmla="*/ 7 h 77"/>
                        <a:gd name="T8" fmla="*/ 51 w 78"/>
                        <a:gd name="T9" fmla="*/ 3 h 77"/>
                        <a:gd name="T10" fmla="*/ 39 w 78"/>
                        <a:gd name="T11" fmla="*/ 0 h 77"/>
                        <a:gd name="T12" fmla="*/ 27 w 78"/>
                        <a:gd name="T13" fmla="*/ 3 h 77"/>
                        <a:gd name="T14" fmla="*/ 16 w 78"/>
                        <a:gd name="T15" fmla="*/ 7 h 77"/>
                        <a:gd name="T16" fmla="*/ 8 w 78"/>
                        <a:gd name="T17" fmla="*/ 16 h 77"/>
                        <a:gd name="T18" fmla="*/ 2 w 78"/>
                        <a:gd name="T19" fmla="*/ 27 h 77"/>
                        <a:gd name="T20" fmla="*/ 0 w 78"/>
                        <a:gd name="T21" fmla="*/ 39 h 77"/>
                        <a:gd name="T22" fmla="*/ 2 w 78"/>
                        <a:gd name="T23" fmla="*/ 51 h 77"/>
                        <a:gd name="T24" fmla="*/ 8 w 78"/>
                        <a:gd name="T25" fmla="*/ 62 h 77"/>
                        <a:gd name="T26" fmla="*/ 16 w 78"/>
                        <a:gd name="T27" fmla="*/ 70 h 77"/>
                        <a:gd name="T28" fmla="*/ 27 w 78"/>
                        <a:gd name="T29" fmla="*/ 75 h 77"/>
                        <a:gd name="T30" fmla="*/ 39 w 78"/>
                        <a:gd name="T31" fmla="*/ 77 h 77"/>
                        <a:gd name="T32" fmla="*/ 51 w 78"/>
                        <a:gd name="T33" fmla="*/ 75 h 77"/>
                        <a:gd name="T34" fmla="*/ 62 w 78"/>
                        <a:gd name="T35" fmla="*/ 70 h 77"/>
                        <a:gd name="T36" fmla="*/ 71 w 78"/>
                        <a:gd name="T37" fmla="*/ 62 h 77"/>
                        <a:gd name="T38" fmla="*/ 75 w 78"/>
                        <a:gd name="T39" fmla="*/ 51 h 77"/>
                        <a:gd name="T40" fmla="*/ 78 w 78"/>
                        <a:gd name="T41" fmla="*/ 39 h 77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8"/>
                        <a:gd name="T64" fmla="*/ 0 h 77"/>
                        <a:gd name="T65" fmla="*/ 78 w 78"/>
                        <a:gd name="T66" fmla="*/ 77 h 77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8" h="77">
                          <a:moveTo>
                            <a:pt x="78" y="39"/>
                          </a:moveTo>
                          <a:lnTo>
                            <a:pt x="75" y="27"/>
                          </a:lnTo>
                          <a:lnTo>
                            <a:pt x="71" y="16"/>
                          </a:lnTo>
                          <a:lnTo>
                            <a:pt x="62" y="7"/>
                          </a:lnTo>
                          <a:lnTo>
                            <a:pt x="51" y="3"/>
                          </a:lnTo>
                          <a:lnTo>
                            <a:pt x="39" y="0"/>
                          </a:lnTo>
                          <a:lnTo>
                            <a:pt x="27" y="3"/>
                          </a:lnTo>
                          <a:lnTo>
                            <a:pt x="16" y="7"/>
                          </a:lnTo>
                          <a:lnTo>
                            <a:pt x="8" y="16"/>
                          </a:lnTo>
                          <a:lnTo>
                            <a:pt x="2" y="27"/>
                          </a:lnTo>
                          <a:lnTo>
                            <a:pt x="0" y="39"/>
                          </a:lnTo>
                          <a:lnTo>
                            <a:pt x="2" y="51"/>
                          </a:lnTo>
                          <a:lnTo>
                            <a:pt x="8" y="62"/>
                          </a:lnTo>
                          <a:lnTo>
                            <a:pt x="16" y="70"/>
                          </a:lnTo>
                          <a:lnTo>
                            <a:pt x="27" y="75"/>
                          </a:lnTo>
                          <a:lnTo>
                            <a:pt x="39" y="77"/>
                          </a:lnTo>
                          <a:lnTo>
                            <a:pt x="51" y="75"/>
                          </a:lnTo>
                          <a:lnTo>
                            <a:pt x="62" y="70"/>
                          </a:lnTo>
                          <a:lnTo>
                            <a:pt x="71" y="62"/>
                          </a:lnTo>
                          <a:lnTo>
                            <a:pt x="75" y="51"/>
                          </a:lnTo>
                          <a:lnTo>
                            <a:pt x="78" y="39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7" name="Freeform 114"/>
                    <p:cNvSpPr>
                      <a:spLocks/>
                    </p:cNvSpPr>
                    <p:nvPr/>
                  </p:nvSpPr>
                  <p:spPr bwMode="auto">
                    <a:xfrm>
                      <a:off x="3747" y="2765"/>
                      <a:ext cx="78" cy="77"/>
                    </a:xfrm>
                    <a:custGeom>
                      <a:avLst/>
                      <a:gdLst>
                        <a:gd name="T0" fmla="*/ 78 w 78"/>
                        <a:gd name="T1" fmla="*/ 39 h 77"/>
                        <a:gd name="T2" fmla="*/ 75 w 78"/>
                        <a:gd name="T3" fmla="*/ 27 h 77"/>
                        <a:gd name="T4" fmla="*/ 71 w 78"/>
                        <a:gd name="T5" fmla="*/ 16 h 77"/>
                        <a:gd name="T6" fmla="*/ 62 w 78"/>
                        <a:gd name="T7" fmla="*/ 7 h 77"/>
                        <a:gd name="T8" fmla="*/ 51 w 78"/>
                        <a:gd name="T9" fmla="*/ 3 h 77"/>
                        <a:gd name="T10" fmla="*/ 39 w 78"/>
                        <a:gd name="T11" fmla="*/ 0 h 77"/>
                        <a:gd name="T12" fmla="*/ 27 w 78"/>
                        <a:gd name="T13" fmla="*/ 3 h 77"/>
                        <a:gd name="T14" fmla="*/ 16 w 78"/>
                        <a:gd name="T15" fmla="*/ 7 h 77"/>
                        <a:gd name="T16" fmla="*/ 8 w 78"/>
                        <a:gd name="T17" fmla="*/ 16 h 77"/>
                        <a:gd name="T18" fmla="*/ 2 w 78"/>
                        <a:gd name="T19" fmla="*/ 27 h 77"/>
                        <a:gd name="T20" fmla="*/ 0 w 78"/>
                        <a:gd name="T21" fmla="*/ 39 h 77"/>
                        <a:gd name="T22" fmla="*/ 2 w 78"/>
                        <a:gd name="T23" fmla="*/ 51 h 77"/>
                        <a:gd name="T24" fmla="*/ 8 w 78"/>
                        <a:gd name="T25" fmla="*/ 62 h 77"/>
                        <a:gd name="T26" fmla="*/ 16 w 78"/>
                        <a:gd name="T27" fmla="*/ 70 h 77"/>
                        <a:gd name="T28" fmla="*/ 27 w 78"/>
                        <a:gd name="T29" fmla="*/ 75 h 77"/>
                        <a:gd name="T30" fmla="*/ 39 w 78"/>
                        <a:gd name="T31" fmla="*/ 77 h 77"/>
                        <a:gd name="T32" fmla="*/ 51 w 78"/>
                        <a:gd name="T33" fmla="*/ 75 h 77"/>
                        <a:gd name="T34" fmla="*/ 62 w 78"/>
                        <a:gd name="T35" fmla="*/ 70 h 77"/>
                        <a:gd name="T36" fmla="*/ 71 w 78"/>
                        <a:gd name="T37" fmla="*/ 62 h 77"/>
                        <a:gd name="T38" fmla="*/ 75 w 78"/>
                        <a:gd name="T39" fmla="*/ 51 h 77"/>
                        <a:gd name="T40" fmla="*/ 78 w 78"/>
                        <a:gd name="T41" fmla="*/ 39 h 77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8"/>
                        <a:gd name="T64" fmla="*/ 0 h 77"/>
                        <a:gd name="T65" fmla="*/ 78 w 78"/>
                        <a:gd name="T66" fmla="*/ 77 h 77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8" h="77">
                          <a:moveTo>
                            <a:pt x="78" y="39"/>
                          </a:moveTo>
                          <a:lnTo>
                            <a:pt x="75" y="27"/>
                          </a:lnTo>
                          <a:lnTo>
                            <a:pt x="71" y="16"/>
                          </a:lnTo>
                          <a:lnTo>
                            <a:pt x="62" y="7"/>
                          </a:lnTo>
                          <a:lnTo>
                            <a:pt x="51" y="3"/>
                          </a:lnTo>
                          <a:lnTo>
                            <a:pt x="39" y="0"/>
                          </a:lnTo>
                          <a:lnTo>
                            <a:pt x="27" y="3"/>
                          </a:lnTo>
                          <a:lnTo>
                            <a:pt x="16" y="7"/>
                          </a:lnTo>
                          <a:lnTo>
                            <a:pt x="8" y="16"/>
                          </a:lnTo>
                          <a:lnTo>
                            <a:pt x="2" y="27"/>
                          </a:lnTo>
                          <a:lnTo>
                            <a:pt x="0" y="39"/>
                          </a:lnTo>
                          <a:lnTo>
                            <a:pt x="2" y="51"/>
                          </a:lnTo>
                          <a:lnTo>
                            <a:pt x="8" y="62"/>
                          </a:lnTo>
                          <a:lnTo>
                            <a:pt x="16" y="70"/>
                          </a:lnTo>
                          <a:lnTo>
                            <a:pt x="27" y="75"/>
                          </a:lnTo>
                          <a:lnTo>
                            <a:pt x="39" y="77"/>
                          </a:lnTo>
                          <a:lnTo>
                            <a:pt x="51" y="75"/>
                          </a:lnTo>
                          <a:lnTo>
                            <a:pt x="62" y="70"/>
                          </a:lnTo>
                          <a:lnTo>
                            <a:pt x="71" y="62"/>
                          </a:lnTo>
                          <a:lnTo>
                            <a:pt x="75" y="51"/>
                          </a:lnTo>
                          <a:lnTo>
                            <a:pt x="78" y="39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8" name="Freeform 115"/>
                    <p:cNvSpPr>
                      <a:spLocks/>
                    </p:cNvSpPr>
                    <p:nvPr/>
                  </p:nvSpPr>
                  <p:spPr bwMode="auto">
                    <a:xfrm>
                      <a:off x="4010" y="2871"/>
                      <a:ext cx="76" cy="77"/>
                    </a:xfrm>
                    <a:custGeom>
                      <a:avLst/>
                      <a:gdLst>
                        <a:gd name="T0" fmla="*/ 76 w 76"/>
                        <a:gd name="T1" fmla="*/ 38 h 77"/>
                        <a:gd name="T2" fmla="*/ 74 w 76"/>
                        <a:gd name="T3" fmla="*/ 26 h 77"/>
                        <a:gd name="T4" fmla="*/ 69 w 76"/>
                        <a:gd name="T5" fmla="*/ 15 h 77"/>
                        <a:gd name="T6" fmla="*/ 61 w 76"/>
                        <a:gd name="T7" fmla="*/ 7 h 77"/>
                        <a:gd name="T8" fmla="*/ 50 w 76"/>
                        <a:gd name="T9" fmla="*/ 2 h 77"/>
                        <a:gd name="T10" fmla="*/ 38 w 76"/>
                        <a:gd name="T11" fmla="*/ 0 h 77"/>
                        <a:gd name="T12" fmla="*/ 26 w 76"/>
                        <a:gd name="T13" fmla="*/ 2 h 77"/>
                        <a:gd name="T14" fmla="*/ 15 w 76"/>
                        <a:gd name="T15" fmla="*/ 7 h 77"/>
                        <a:gd name="T16" fmla="*/ 7 w 76"/>
                        <a:gd name="T17" fmla="*/ 15 h 77"/>
                        <a:gd name="T18" fmla="*/ 2 w 76"/>
                        <a:gd name="T19" fmla="*/ 26 h 77"/>
                        <a:gd name="T20" fmla="*/ 0 w 76"/>
                        <a:gd name="T21" fmla="*/ 38 h 77"/>
                        <a:gd name="T22" fmla="*/ 2 w 76"/>
                        <a:gd name="T23" fmla="*/ 50 h 77"/>
                        <a:gd name="T24" fmla="*/ 7 w 76"/>
                        <a:gd name="T25" fmla="*/ 61 h 77"/>
                        <a:gd name="T26" fmla="*/ 15 w 76"/>
                        <a:gd name="T27" fmla="*/ 69 h 77"/>
                        <a:gd name="T28" fmla="*/ 26 w 76"/>
                        <a:gd name="T29" fmla="*/ 74 h 77"/>
                        <a:gd name="T30" fmla="*/ 38 w 76"/>
                        <a:gd name="T31" fmla="*/ 77 h 77"/>
                        <a:gd name="T32" fmla="*/ 50 w 76"/>
                        <a:gd name="T33" fmla="*/ 74 h 77"/>
                        <a:gd name="T34" fmla="*/ 61 w 76"/>
                        <a:gd name="T35" fmla="*/ 69 h 77"/>
                        <a:gd name="T36" fmla="*/ 69 w 76"/>
                        <a:gd name="T37" fmla="*/ 61 h 77"/>
                        <a:gd name="T38" fmla="*/ 74 w 76"/>
                        <a:gd name="T39" fmla="*/ 50 h 77"/>
                        <a:gd name="T40" fmla="*/ 76 w 76"/>
                        <a:gd name="T41" fmla="*/ 38 h 77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6"/>
                        <a:gd name="T64" fmla="*/ 0 h 77"/>
                        <a:gd name="T65" fmla="*/ 76 w 76"/>
                        <a:gd name="T66" fmla="*/ 77 h 77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6" h="77">
                          <a:moveTo>
                            <a:pt x="76" y="38"/>
                          </a:moveTo>
                          <a:lnTo>
                            <a:pt x="74" y="26"/>
                          </a:lnTo>
                          <a:lnTo>
                            <a:pt x="69" y="15"/>
                          </a:lnTo>
                          <a:lnTo>
                            <a:pt x="61" y="7"/>
                          </a:lnTo>
                          <a:lnTo>
                            <a:pt x="50" y="2"/>
                          </a:lnTo>
                          <a:lnTo>
                            <a:pt x="38" y="0"/>
                          </a:lnTo>
                          <a:lnTo>
                            <a:pt x="26" y="2"/>
                          </a:lnTo>
                          <a:lnTo>
                            <a:pt x="15" y="7"/>
                          </a:lnTo>
                          <a:lnTo>
                            <a:pt x="7" y="15"/>
                          </a:lnTo>
                          <a:lnTo>
                            <a:pt x="2" y="26"/>
                          </a:lnTo>
                          <a:lnTo>
                            <a:pt x="0" y="38"/>
                          </a:lnTo>
                          <a:lnTo>
                            <a:pt x="2" y="50"/>
                          </a:lnTo>
                          <a:lnTo>
                            <a:pt x="7" y="61"/>
                          </a:lnTo>
                          <a:lnTo>
                            <a:pt x="15" y="69"/>
                          </a:lnTo>
                          <a:lnTo>
                            <a:pt x="26" y="74"/>
                          </a:lnTo>
                          <a:lnTo>
                            <a:pt x="38" y="77"/>
                          </a:lnTo>
                          <a:lnTo>
                            <a:pt x="50" y="74"/>
                          </a:lnTo>
                          <a:lnTo>
                            <a:pt x="61" y="69"/>
                          </a:lnTo>
                          <a:lnTo>
                            <a:pt x="69" y="61"/>
                          </a:lnTo>
                          <a:lnTo>
                            <a:pt x="74" y="50"/>
                          </a:lnTo>
                          <a:lnTo>
                            <a:pt x="76" y="3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59" name="Freeform 116"/>
                    <p:cNvSpPr>
                      <a:spLocks/>
                    </p:cNvSpPr>
                    <p:nvPr/>
                  </p:nvSpPr>
                  <p:spPr bwMode="auto">
                    <a:xfrm>
                      <a:off x="4010" y="2871"/>
                      <a:ext cx="76" cy="77"/>
                    </a:xfrm>
                    <a:custGeom>
                      <a:avLst/>
                      <a:gdLst>
                        <a:gd name="T0" fmla="*/ 76 w 76"/>
                        <a:gd name="T1" fmla="*/ 38 h 77"/>
                        <a:gd name="T2" fmla="*/ 74 w 76"/>
                        <a:gd name="T3" fmla="*/ 26 h 77"/>
                        <a:gd name="T4" fmla="*/ 69 w 76"/>
                        <a:gd name="T5" fmla="*/ 15 h 77"/>
                        <a:gd name="T6" fmla="*/ 61 w 76"/>
                        <a:gd name="T7" fmla="*/ 7 h 77"/>
                        <a:gd name="T8" fmla="*/ 50 w 76"/>
                        <a:gd name="T9" fmla="*/ 2 h 77"/>
                        <a:gd name="T10" fmla="*/ 38 w 76"/>
                        <a:gd name="T11" fmla="*/ 0 h 77"/>
                        <a:gd name="T12" fmla="*/ 26 w 76"/>
                        <a:gd name="T13" fmla="*/ 2 h 77"/>
                        <a:gd name="T14" fmla="*/ 15 w 76"/>
                        <a:gd name="T15" fmla="*/ 7 h 77"/>
                        <a:gd name="T16" fmla="*/ 7 w 76"/>
                        <a:gd name="T17" fmla="*/ 15 h 77"/>
                        <a:gd name="T18" fmla="*/ 2 w 76"/>
                        <a:gd name="T19" fmla="*/ 26 h 77"/>
                        <a:gd name="T20" fmla="*/ 0 w 76"/>
                        <a:gd name="T21" fmla="*/ 38 h 77"/>
                        <a:gd name="T22" fmla="*/ 2 w 76"/>
                        <a:gd name="T23" fmla="*/ 50 h 77"/>
                        <a:gd name="T24" fmla="*/ 7 w 76"/>
                        <a:gd name="T25" fmla="*/ 61 h 77"/>
                        <a:gd name="T26" fmla="*/ 15 w 76"/>
                        <a:gd name="T27" fmla="*/ 69 h 77"/>
                        <a:gd name="T28" fmla="*/ 26 w 76"/>
                        <a:gd name="T29" fmla="*/ 74 h 77"/>
                        <a:gd name="T30" fmla="*/ 38 w 76"/>
                        <a:gd name="T31" fmla="*/ 77 h 77"/>
                        <a:gd name="T32" fmla="*/ 50 w 76"/>
                        <a:gd name="T33" fmla="*/ 74 h 77"/>
                        <a:gd name="T34" fmla="*/ 61 w 76"/>
                        <a:gd name="T35" fmla="*/ 69 h 77"/>
                        <a:gd name="T36" fmla="*/ 69 w 76"/>
                        <a:gd name="T37" fmla="*/ 61 h 77"/>
                        <a:gd name="T38" fmla="*/ 74 w 76"/>
                        <a:gd name="T39" fmla="*/ 50 h 77"/>
                        <a:gd name="T40" fmla="*/ 76 w 76"/>
                        <a:gd name="T41" fmla="*/ 38 h 77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6"/>
                        <a:gd name="T64" fmla="*/ 0 h 77"/>
                        <a:gd name="T65" fmla="*/ 76 w 76"/>
                        <a:gd name="T66" fmla="*/ 77 h 77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6" h="77">
                          <a:moveTo>
                            <a:pt x="76" y="38"/>
                          </a:moveTo>
                          <a:lnTo>
                            <a:pt x="74" y="26"/>
                          </a:lnTo>
                          <a:lnTo>
                            <a:pt x="69" y="15"/>
                          </a:lnTo>
                          <a:lnTo>
                            <a:pt x="61" y="7"/>
                          </a:lnTo>
                          <a:lnTo>
                            <a:pt x="50" y="2"/>
                          </a:lnTo>
                          <a:lnTo>
                            <a:pt x="38" y="0"/>
                          </a:lnTo>
                          <a:lnTo>
                            <a:pt x="26" y="2"/>
                          </a:lnTo>
                          <a:lnTo>
                            <a:pt x="15" y="7"/>
                          </a:lnTo>
                          <a:lnTo>
                            <a:pt x="7" y="15"/>
                          </a:lnTo>
                          <a:lnTo>
                            <a:pt x="2" y="26"/>
                          </a:lnTo>
                          <a:lnTo>
                            <a:pt x="0" y="38"/>
                          </a:lnTo>
                          <a:lnTo>
                            <a:pt x="2" y="50"/>
                          </a:lnTo>
                          <a:lnTo>
                            <a:pt x="7" y="61"/>
                          </a:lnTo>
                          <a:lnTo>
                            <a:pt x="15" y="69"/>
                          </a:lnTo>
                          <a:lnTo>
                            <a:pt x="26" y="74"/>
                          </a:lnTo>
                          <a:lnTo>
                            <a:pt x="38" y="77"/>
                          </a:lnTo>
                          <a:lnTo>
                            <a:pt x="50" y="74"/>
                          </a:lnTo>
                          <a:lnTo>
                            <a:pt x="61" y="69"/>
                          </a:lnTo>
                          <a:lnTo>
                            <a:pt x="69" y="61"/>
                          </a:lnTo>
                          <a:lnTo>
                            <a:pt x="74" y="50"/>
                          </a:lnTo>
                          <a:lnTo>
                            <a:pt x="76" y="3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0" name="Freeform 117"/>
                    <p:cNvSpPr>
                      <a:spLocks/>
                    </p:cNvSpPr>
                    <p:nvPr/>
                  </p:nvSpPr>
                  <p:spPr bwMode="auto">
                    <a:xfrm>
                      <a:off x="4602" y="1058"/>
                      <a:ext cx="75" cy="75"/>
                    </a:xfrm>
                    <a:custGeom>
                      <a:avLst/>
                      <a:gdLst>
                        <a:gd name="T0" fmla="*/ 75 w 75"/>
                        <a:gd name="T1" fmla="*/ 38 h 75"/>
                        <a:gd name="T2" fmla="*/ 74 w 75"/>
                        <a:gd name="T3" fmla="*/ 26 h 75"/>
                        <a:gd name="T4" fmla="*/ 68 w 75"/>
                        <a:gd name="T5" fmla="*/ 16 h 75"/>
                        <a:gd name="T6" fmla="*/ 60 w 75"/>
                        <a:gd name="T7" fmla="*/ 7 h 75"/>
                        <a:gd name="T8" fmla="*/ 49 w 75"/>
                        <a:gd name="T9" fmla="*/ 1 h 75"/>
                        <a:gd name="T10" fmla="*/ 38 w 75"/>
                        <a:gd name="T11" fmla="*/ 0 h 75"/>
                        <a:gd name="T12" fmla="*/ 26 w 75"/>
                        <a:gd name="T13" fmla="*/ 1 h 75"/>
                        <a:gd name="T14" fmla="*/ 16 w 75"/>
                        <a:gd name="T15" fmla="*/ 7 h 75"/>
                        <a:gd name="T16" fmla="*/ 7 w 75"/>
                        <a:gd name="T17" fmla="*/ 16 h 75"/>
                        <a:gd name="T18" fmla="*/ 1 w 75"/>
                        <a:gd name="T19" fmla="*/ 26 h 75"/>
                        <a:gd name="T20" fmla="*/ 0 w 75"/>
                        <a:gd name="T21" fmla="*/ 38 h 75"/>
                        <a:gd name="T22" fmla="*/ 1 w 75"/>
                        <a:gd name="T23" fmla="*/ 49 h 75"/>
                        <a:gd name="T24" fmla="*/ 7 w 75"/>
                        <a:gd name="T25" fmla="*/ 60 h 75"/>
                        <a:gd name="T26" fmla="*/ 16 w 75"/>
                        <a:gd name="T27" fmla="*/ 68 h 75"/>
                        <a:gd name="T28" fmla="*/ 26 w 75"/>
                        <a:gd name="T29" fmla="*/ 74 h 75"/>
                        <a:gd name="T30" fmla="*/ 38 w 75"/>
                        <a:gd name="T31" fmla="*/ 75 h 75"/>
                        <a:gd name="T32" fmla="*/ 49 w 75"/>
                        <a:gd name="T33" fmla="*/ 74 h 75"/>
                        <a:gd name="T34" fmla="*/ 60 w 75"/>
                        <a:gd name="T35" fmla="*/ 68 h 75"/>
                        <a:gd name="T36" fmla="*/ 68 w 75"/>
                        <a:gd name="T37" fmla="*/ 60 h 75"/>
                        <a:gd name="T38" fmla="*/ 74 w 75"/>
                        <a:gd name="T39" fmla="*/ 49 h 75"/>
                        <a:gd name="T40" fmla="*/ 75 w 75"/>
                        <a:gd name="T41" fmla="*/ 38 h 7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5"/>
                        <a:gd name="T64" fmla="*/ 0 h 75"/>
                        <a:gd name="T65" fmla="*/ 75 w 75"/>
                        <a:gd name="T66" fmla="*/ 75 h 7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5" h="75">
                          <a:moveTo>
                            <a:pt x="75" y="38"/>
                          </a:moveTo>
                          <a:lnTo>
                            <a:pt x="74" y="26"/>
                          </a:lnTo>
                          <a:lnTo>
                            <a:pt x="68" y="16"/>
                          </a:lnTo>
                          <a:lnTo>
                            <a:pt x="60" y="7"/>
                          </a:lnTo>
                          <a:lnTo>
                            <a:pt x="49" y="1"/>
                          </a:lnTo>
                          <a:lnTo>
                            <a:pt x="38" y="0"/>
                          </a:lnTo>
                          <a:lnTo>
                            <a:pt x="26" y="1"/>
                          </a:lnTo>
                          <a:lnTo>
                            <a:pt x="16" y="7"/>
                          </a:lnTo>
                          <a:lnTo>
                            <a:pt x="7" y="16"/>
                          </a:lnTo>
                          <a:lnTo>
                            <a:pt x="1" y="26"/>
                          </a:lnTo>
                          <a:lnTo>
                            <a:pt x="0" y="38"/>
                          </a:lnTo>
                          <a:lnTo>
                            <a:pt x="1" y="49"/>
                          </a:lnTo>
                          <a:lnTo>
                            <a:pt x="7" y="60"/>
                          </a:lnTo>
                          <a:lnTo>
                            <a:pt x="16" y="68"/>
                          </a:lnTo>
                          <a:lnTo>
                            <a:pt x="26" y="74"/>
                          </a:lnTo>
                          <a:lnTo>
                            <a:pt x="38" y="75"/>
                          </a:lnTo>
                          <a:lnTo>
                            <a:pt x="49" y="74"/>
                          </a:lnTo>
                          <a:lnTo>
                            <a:pt x="60" y="68"/>
                          </a:lnTo>
                          <a:lnTo>
                            <a:pt x="68" y="60"/>
                          </a:lnTo>
                          <a:lnTo>
                            <a:pt x="74" y="49"/>
                          </a:lnTo>
                          <a:lnTo>
                            <a:pt x="75" y="3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1" name="Freeform 118"/>
                    <p:cNvSpPr>
                      <a:spLocks/>
                    </p:cNvSpPr>
                    <p:nvPr/>
                  </p:nvSpPr>
                  <p:spPr bwMode="auto">
                    <a:xfrm>
                      <a:off x="4602" y="1058"/>
                      <a:ext cx="75" cy="75"/>
                    </a:xfrm>
                    <a:custGeom>
                      <a:avLst/>
                      <a:gdLst>
                        <a:gd name="T0" fmla="*/ 75 w 75"/>
                        <a:gd name="T1" fmla="*/ 38 h 75"/>
                        <a:gd name="T2" fmla="*/ 74 w 75"/>
                        <a:gd name="T3" fmla="*/ 26 h 75"/>
                        <a:gd name="T4" fmla="*/ 68 w 75"/>
                        <a:gd name="T5" fmla="*/ 16 h 75"/>
                        <a:gd name="T6" fmla="*/ 60 w 75"/>
                        <a:gd name="T7" fmla="*/ 7 h 75"/>
                        <a:gd name="T8" fmla="*/ 49 w 75"/>
                        <a:gd name="T9" fmla="*/ 1 h 75"/>
                        <a:gd name="T10" fmla="*/ 38 w 75"/>
                        <a:gd name="T11" fmla="*/ 0 h 75"/>
                        <a:gd name="T12" fmla="*/ 26 w 75"/>
                        <a:gd name="T13" fmla="*/ 1 h 75"/>
                        <a:gd name="T14" fmla="*/ 16 w 75"/>
                        <a:gd name="T15" fmla="*/ 7 h 75"/>
                        <a:gd name="T16" fmla="*/ 7 w 75"/>
                        <a:gd name="T17" fmla="*/ 16 h 75"/>
                        <a:gd name="T18" fmla="*/ 1 w 75"/>
                        <a:gd name="T19" fmla="*/ 26 h 75"/>
                        <a:gd name="T20" fmla="*/ 0 w 75"/>
                        <a:gd name="T21" fmla="*/ 38 h 75"/>
                        <a:gd name="T22" fmla="*/ 1 w 75"/>
                        <a:gd name="T23" fmla="*/ 49 h 75"/>
                        <a:gd name="T24" fmla="*/ 7 w 75"/>
                        <a:gd name="T25" fmla="*/ 60 h 75"/>
                        <a:gd name="T26" fmla="*/ 16 w 75"/>
                        <a:gd name="T27" fmla="*/ 68 h 75"/>
                        <a:gd name="T28" fmla="*/ 26 w 75"/>
                        <a:gd name="T29" fmla="*/ 74 h 75"/>
                        <a:gd name="T30" fmla="*/ 38 w 75"/>
                        <a:gd name="T31" fmla="*/ 75 h 75"/>
                        <a:gd name="T32" fmla="*/ 49 w 75"/>
                        <a:gd name="T33" fmla="*/ 74 h 75"/>
                        <a:gd name="T34" fmla="*/ 60 w 75"/>
                        <a:gd name="T35" fmla="*/ 68 h 75"/>
                        <a:gd name="T36" fmla="*/ 68 w 75"/>
                        <a:gd name="T37" fmla="*/ 60 h 75"/>
                        <a:gd name="T38" fmla="*/ 74 w 75"/>
                        <a:gd name="T39" fmla="*/ 49 h 75"/>
                        <a:gd name="T40" fmla="*/ 75 w 75"/>
                        <a:gd name="T41" fmla="*/ 38 h 75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5"/>
                        <a:gd name="T64" fmla="*/ 0 h 75"/>
                        <a:gd name="T65" fmla="*/ 75 w 75"/>
                        <a:gd name="T66" fmla="*/ 75 h 75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5" h="75">
                          <a:moveTo>
                            <a:pt x="75" y="38"/>
                          </a:moveTo>
                          <a:lnTo>
                            <a:pt x="74" y="26"/>
                          </a:lnTo>
                          <a:lnTo>
                            <a:pt x="68" y="16"/>
                          </a:lnTo>
                          <a:lnTo>
                            <a:pt x="60" y="7"/>
                          </a:lnTo>
                          <a:lnTo>
                            <a:pt x="49" y="1"/>
                          </a:lnTo>
                          <a:lnTo>
                            <a:pt x="38" y="0"/>
                          </a:lnTo>
                          <a:lnTo>
                            <a:pt x="26" y="1"/>
                          </a:lnTo>
                          <a:lnTo>
                            <a:pt x="16" y="7"/>
                          </a:lnTo>
                          <a:lnTo>
                            <a:pt x="7" y="16"/>
                          </a:lnTo>
                          <a:lnTo>
                            <a:pt x="1" y="26"/>
                          </a:lnTo>
                          <a:lnTo>
                            <a:pt x="0" y="38"/>
                          </a:lnTo>
                          <a:lnTo>
                            <a:pt x="1" y="49"/>
                          </a:lnTo>
                          <a:lnTo>
                            <a:pt x="7" y="60"/>
                          </a:lnTo>
                          <a:lnTo>
                            <a:pt x="16" y="68"/>
                          </a:lnTo>
                          <a:lnTo>
                            <a:pt x="26" y="74"/>
                          </a:lnTo>
                          <a:lnTo>
                            <a:pt x="38" y="75"/>
                          </a:lnTo>
                          <a:lnTo>
                            <a:pt x="49" y="74"/>
                          </a:lnTo>
                          <a:lnTo>
                            <a:pt x="60" y="68"/>
                          </a:lnTo>
                          <a:lnTo>
                            <a:pt x="68" y="60"/>
                          </a:lnTo>
                          <a:lnTo>
                            <a:pt x="74" y="49"/>
                          </a:lnTo>
                          <a:lnTo>
                            <a:pt x="75" y="3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2" name="Freeform 119"/>
                    <p:cNvSpPr>
                      <a:spLocks/>
                    </p:cNvSpPr>
                    <p:nvPr/>
                  </p:nvSpPr>
                  <p:spPr bwMode="auto">
                    <a:xfrm>
                      <a:off x="4732" y="2867"/>
                      <a:ext cx="73" cy="72"/>
                    </a:xfrm>
                    <a:custGeom>
                      <a:avLst/>
                      <a:gdLst>
                        <a:gd name="T0" fmla="*/ 73 w 73"/>
                        <a:gd name="T1" fmla="*/ 36 h 72"/>
                        <a:gd name="T2" fmla="*/ 71 w 73"/>
                        <a:gd name="T3" fmla="*/ 24 h 72"/>
                        <a:gd name="T4" fmla="*/ 66 w 73"/>
                        <a:gd name="T5" fmla="*/ 15 h 72"/>
                        <a:gd name="T6" fmla="*/ 58 w 73"/>
                        <a:gd name="T7" fmla="*/ 7 h 72"/>
                        <a:gd name="T8" fmla="*/ 47 w 73"/>
                        <a:gd name="T9" fmla="*/ 1 h 72"/>
                        <a:gd name="T10" fmla="*/ 36 w 73"/>
                        <a:gd name="T11" fmla="*/ 0 h 72"/>
                        <a:gd name="T12" fmla="*/ 25 w 73"/>
                        <a:gd name="T13" fmla="*/ 1 h 72"/>
                        <a:gd name="T14" fmla="*/ 14 w 73"/>
                        <a:gd name="T15" fmla="*/ 7 h 72"/>
                        <a:gd name="T16" fmla="*/ 7 w 73"/>
                        <a:gd name="T17" fmla="*/ 15 h 72"/>
                        <a:gd name="T18" fmla="*/ 1 w 73"/>
                        <a:gd name="T19" fmla="*/ 24 h 72"/>
                        <a:gd name="T20" fmla="*/ 0 w 73"/>
                        <a:gd name="T21" fmla="*/ 36 h 72"/>
                        <a:gd name="T22" fmla="*/ 1 w 73"/>
                        <a:gd name="T23" fmla="*/ 48 h 72"/>
                        <a:gd name="T24" fmla="*/ 7 w 73"/>
                        <a:gd name="T25" fmla="*/ 57 h 72"/>
                        <a:gd name="T26" fmla="*/ 14 w 73"/>
                        <a:gd name="T27" fmla="*/ 65 h 72"/>
                        <a:gd name="T28" fmla="*/ 25 w 73"/>
                        <a:gd name="T29" fmla="*/ 70 h 72"/>
                        <a:gd name="T30" fmla="*/ 36 w 73"/>
                        <a:gd name="T31" fmla="*/ 72 h 72"/>
                        <a:gd name="T32" fmla="*/ 47 w 73"/>
                        <a:gd name="T33" fmla="*/ 70 h 72"/>
                        <a:gd name="T34" fmla="*/ 58 w 73"/>
                        <a:gd name="T35" fmla="*/ 65 h 72"/>
                        <a:gd name="T36" fmla="*/ 66 w 73"/>
                        <a:gd name="T37" fmla="*/ 57 h 72"/>
                        <a:gd name="T38" fmla="*/ 71 w 73"/>
                        <a:gd name="T39" fmla="*/ 48 h 72"/>
                        <a:gd name="T40" fmla="*/ 73 w 73"/>
                        <a:gd name="T41" fmla="*/ 36 h 72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3"/>
                        <a:gd name="T64" fmla="*/ 0 h 72"/>
                        <a:gd name="T65" fmla="*/ 73 w 73"/>
                        <a:gd name="T66" fmla="*/ 72 h 72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3" h="72">
                          <a:moveTo>
                            <a:pt x="73" y="36"/>
                          </a:moveTo>
                          <a:lnTo>
                            <a:pt x="71" y="24"/>
                          </a:lnTo>
                          <a:lnTo>
                            <a:pt x="66" y="15"/>
                          </a:lnTo>
                          <a:lnTo>
                            <a:pt x="58" y="7"/>
                          </a:lnTo>
                          <a:lnTo>
                            <a:pt x="47" y="1"/>
                          </a:lnTo>
                          <a:lnTo>
                            <a:pt x="36" y="0"/>
                          </a:lnTo>
                          <a:lnTo>
                            <a:pt x="25" y="1"/>
                          </a:lnTo>
                          <a:lnTo>
                            <a:pt x="14" y="7"/>
                          </a:lnTo>
                          <a:lnTo>
                            <a:pt x="7" y="15"/>
                          </a:lnTo>
                          <a:lnTo>
                            <a:pt x="1" y="24"/>
                          </a:lnTo>
                          <a:lnTo>
                            <a:pt x="0" y="36"/>
                          </a:lnTo>
                          <a:lnTo>
                            <a:pt x="1" y="48"/>
                          </a:lnTo>
                          <a:lnTo>
                            <a:pt x="7" y="57"/>
                          </a:lnTo>
                          <a:lnTo>
                            <a:pt x="14" y="65"/>
                          </a:lnTo>
                          <a:lnTo>
                            <a:pt x="25" y="70"/>
                          </a:lnTo>
                          <a:lnTo>
                            <a:pt x="36" y="72"/>
                          </a:lnTo>
                          <a:lnTo>
                            <a:pt x="47" y="70"/>
                          </a:lnTo>
                          <a:lnTo>
                            <a:pt x="58" y="65"/>
                          </a:lnTo>
                          <a:lnTo>
                            <a:pt x="66" y="57"/>
                          </a:lnTo>
                          <a:lnTo>
                            <a:pt x="71" y="48"/>
                          </a:lnTo>
                          <a:lnTo>
                            <a:pt x="73" y="3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3" name="Freeform 120"/>
                    <p:cNvSpPr>
                      <a:spLocks/>
                    </p:cNvSpPr>
                    <p:nvPr/>
                  </p:nvSpPr>
                  <p:spPr bwMode="auto">
                    <a:xfrm>
                      <a:off x="4732" y="2867"/>
                      <a:ext cx="73" cy="72"/>
                    </a:xfrm>
                    <a:custGeom>
                      <a:avLst/>
                      <a:gdLst>
                        <a:gd name="T0" fmla="*/ 73 w 73"/>
                        <a:gd name="T1" fmla="*/ 36 h 72"/>
                        <a:gd name="T2" fmla="*/ 71 w 73"/>
                        <a:gd name="T3" fmla="*/ 24 h 72"/>
                        <a:gd name="T4" fmla="*/ 66 w 73"/>
                        <a:gd name="T5" fmla="*/ 15 h 72"/>
                        <a:gd name="T6" fmla="*/ 58 w 73"/>
                        <a:gd name="T7" fmla="*/ 7 h 72"/>
                        <a:gd name="T8" fmla="*/ 47 w 73"/>
                        <a:gd name="T9" fmla="*/ 1 h 72"/>
                        <a:gd name="T10" fmla="*/ 36 w 73"/>
                        <a:gd name="T11" fmla="*/ 0 h 72"/>
                        <a:gd name="T12" fmla="*/ 25 w 73"/>
                        <a:gd name="T13" fmla="*/ 1 h 72"/>
                        <a:gd name="T14" fmla="*/ 14 w 73"/>
                        <a:gd name="T15" fmla="*/ 7 h 72"/>
                        <a:gd name="T16" fmla="*/ 7 w 73"/>
                        <a:gd name="T17" fmla="*/ 15 h 72"/>
                        <a:gd name="T18" fmla="*/ 1 w 73"/>
                        <a:gd name="T19" fmla="*/ 24 h 72"/>
                        <a:gd name="T20" fmla="*/ 0 w 73"/>
                        <a:gd name="T21" fmla="*/ 36 h 72"/>
                        <a:gd name="T22" fmla="*/ 1 w 73"/>
                        <a:gd name="T23" fmla="*/ 48 h 72"/>
                        <a:gd name="T24" fmla="*/ 7 w 73"/>
                        <a:gd name="T25" fmla="*/ 57 h 72"/>
                        <a:gd name="T26" fmla="*/ 14 w 73"/>
                        <a:gd name="T27" fmla="*/ 65 h 72"/>
                        <a:gd name="T28" fmla="*/ 25 w 73"/>
                        <a:gd name="T29" fmla="*/ 70 h 72"/>
                        <a:gd name="T30" fmla="*/ 36 w 73"/>
                        <a:gd name="T31" fmla="*/ 72 h 72"/>
                        <a:gd name="T32" fmla="*/ 47 w 73"/>
                        <a:gd name="T33" fmla="*/ 70 h 72"/>
                        <a:gd name="T34" fmla="*/ 58 w 73"/>
                        <a:gd name="T35" fmla="*/ 65 h 72"/>
                        <a:gd name="T36" fmla="*/ 66 w 73"/>
                        <a:gd name="T37" fmla="*/ 57 h 72"/>
                        <a:gd name="T38" fmla="*/ 71 w 73"/>
                        <a:gd name="T39" fmla="*/ 48 h 72"/>
                        <a:gd name="T40" fmla="*/ 73 w 73"/>
                        <a:gd name="T41" fmla="*/ 36 h 72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3"/>
                        <a:gd name="T64" fmla="*/ 0 h 72"/>
                        <a:gd name="T65" fmla="*/ 73 w 73"/>
                        <a:gd name="T66" fmla="*/ 72 h 72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3" h="72">
                          <a:moveTo>
                            <a:pt x="73" y="36"/>
                          </a:moveTo>
                          <a:lnTo>
                            <a:pt x="71" y="24"/>
                          </a:lnTo>
                          <a:lnTo>
                            <a:pt x="66" y="15"/>
                          </a:lnTo>
                          <a:lnTo>
                            <a:pt x="58" y="7"/>
                          </a:lnTo>
                          <a:lnTo>
                            <a:pt x="47" y="1"/>
                          </a:lnTo>
                          <a:lnTo>
                            <a:pt x="36" y="0"/>
                          </a:lnTo>
                          <a:lnTo>
                            <a:pt x="25" y="1"/>
                          </a:lnTo>
                          <a:lnTo>
                            <a:pt x="14" y="7"/>
                          </a:lnTo>
                          <a:lnTo>
                            <a:pt x="7" y="15"/>
                          </a:lnTo>
                          <a:lnTo>
                            <a:pt x="1" y="24"/>
                          </a:lnTo>
                          <a:lnTo>
                            <a:pt x="0" y="36"/>
                          </a:lnTo>
                          <a:lnTo>
                            <a:pt x="1" y="48"/>
                          </a:lnTo>
                          <a:lnTo>
                            <a:pt x="7" y="57"/>
                          </a:lnTo>
                          <a:lnTo>
                            <a:pt x="14" y="65"/>
                          </a:lnTo>
                          <a:lnTo>
                            <a:pt x="25" y="70"/>
                          </a:lnTo>
                          <a:lnTo>
                            <a:pt x="36" y="72"/>
                          </a:lnTo>
                          <a:lnTo>
                            <a:pt x="47" y="70"/>
                          </a:lnTo>
                          <a:lnTo>
                            <a:pt x="58" y="65"/>
                          </a:lnTo>
                          <a:lnTo>
                            <a:pt x="66" y="57"/>
                          </a:lnTo>
                          <a:lnTo>
                            <a:pt x="71" y="48"/>
                          </a:lnTo>
                          <a:lnTo>
                            <a:pt x="73" y="3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4" name="Freeform 121"/>
                    <p:cNvSpPr>
                      <a:spLocks/>
                    </p:cNvSpPr>
                    <p:nvPr/>
                  </p:nvSpPr>
                  <p:spPr bwMode="auto">
                    <a:xfrm>
                      <a:off x="4760" y="2808"/>
                      <a:ext cx="73" cy="73"/>
                    </a:xfrm>
                    <a:custGeom>
                      <a:avLst/>
                      <a:gdLst>
                        <a:gd name="T0" fmla="*/ 73 w 73"/>
                        <a:gd name="T1" fmla="*/ 37 h 73"/>
                        <a:gd name="T2" fmla="*/ 71 w 73"/>
                        <a:gd name="T3" fmla="*/ 25 h 73"/>
                        <a:gd name="T4" fmla="*/ 66 w 73"/>
                        <a:gd name="T5" fmla="*/ 15 h 73"/>
                        <a:gd name="T6" fmla="*/ 58 w 73"/>
                        <a:gd name="T7" fmla="*/ 7 h 73"/>
                        <a:gd name="T8" fmla="*/ 48 w 73"/>
                        <a:gd name="T9" fmla="*/ 1 h 73"/>
                        <a:gd name="T10" fmla="*/ 37 w 73"/>
                        <a:gd name="T11" fmla="*/ 0 h 73"/>
                        <a:gd name="T12" fmla="*/ 25 w 73"/>
                        <a:gd name="T13" fmla="*/ 1 h 73"/>
                        <a:gd name="T14" fmla="*/ 15 w 73"/>
                        <a:gd name="T15" fmla="*/ 7 h 73"/>
                        <a:gd name="T16" fmla="*/ 7 w 73"/>
                        <a:gd name="T17" fmla="*/ 15 h 73"/>
                        <a:gd name="T18" fmla="*/ 1 w 73"/>
                        <a:gd name="T19" fmla="*/ 25 h 73"/>
                        <a:gd name="T20" fmla="*/ 0 w 73"/>
                        <a:gd name="T21" fmla="*/ 37 h 73"/>
                        <a:gd name="T22" fmla="*/ 1 w 73"/>
                        <a:gd name="T23" fmla="*/ 48 h 73"/>
                        <a:gd name="T24" fmla="*/ 7 w 73"/>
                        <a:gd name="T25" fmla="*/ 58 h 73"/>
                        <a:gd name="T26" fmla="*/ 15 w 73"/>
                        <a:gd name="T27" fmla="*/ 66 h 73"/>
                        <a:gd name="T28" fmla="*/ 25 w 73"/>
                        <a:gd name="T29" fmla="*/ 71 h 73"/>
                        <a:gd name="T30" fmla="*/ 37 w 73"/>
                        <a:gd name="T31" fmla="*/ 73 h 73"/>
                        <a:gd name="T32" fmla="*/ 48 w 73"/>
                        <a:gd name="T33" fmla="*/ 71 h 73"/>
                        <a:gd name="T34" fmla="*/ 58 w 73"/>
                        <a:gd name="T35" fmla="*/ 66 h 73"/>
                        <a:gd name="T36" fmla="*/ 66 w 73"/>
                        <a:gd name="T37" fmla="*/ 58 h 73"/>
                        <a:gd name="T38" fmla="*/ 71 w 73"/>
                        <a:gd name="T39" fmla="*/ 48 h 73"/>
                        <a:gd name="T40" fmla="*/ 73 w 73"/>
                        <a:gd name="T41" fmla="*/ 37 h 73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3"/>
                        <a:gd name="T64" fmla="*/ 0 h 73"/>
                        <a:gd name="T65" fmla="*/ 73 w 73"/>
                        <a:gd name="T66" fmla="*/ 73 h 73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3" h="73">
                          <a:moveTo>
                            <a:pt x="73" y="37"/>
                          </a:moveTo>
                          <a:lnTo>
                            <a:pt x="71" y="25"/>
                          </a:lnTo>
                          <a:lnTo>
                            <a:pt x="66" y="15"/>
                          </a:lnTo>
                          <a:lnTo>
                            <a:pt x="58" y="7"/>
                          </a:lnTo>
                          <a:lnTo>
                            <a:pt x="48" y="1"/>
                          </a:lnTo>
                          <a:lnTo>
                            <a:pt x="37" y="0"/>
                          </a:lnTo>
                          <a:lnTo>
                            <a:pt x="25" y="1"/>
                          </a:lnTo>
                          <a:lnTo>
                            <a:pt x="15" y="7"/>
                          </a:lnTo>
                          <a:lnTo>
                            <a:pt x="7" y="15"/>
                          </a:lnTo>
                          <a:lnTo>
                            <a:pt x="1" y="25"/>
                          </a:lnTo>
                          <a:lnTo>
                            <a:pt x="0" y="37"/>
                          </a:lnTo>
                          <a:lnTo>
                            <a:pt x="1" y="48"/>
                          </a:lnTo>
                          <a:lnTo>
                            <a:pt x="7" y="58"/>
                          </a:lnTo>
                          <a:lnTo>
                            <a:pt x="15" y="66"/>
                          </a:lnTo>
                          <a:lnTo>
                            <a:pt x="25" y="71"/>
                          </a:lnTo>
                          <a:lnTo>
                            <a:pt x="37" y="73"/>
                          </a:lnTo>
                          <a:lnTo>
                            <a:pt x="48" y="71"/>
                          </a:lnTo>
                          <a:lnTo>
                            <a:pt x="58" y="66"/>
                          </a:lnTo>
                          <a:lnTo>
                            <a:pt x="66" y="58"/>
                          </a:lnTo>
                          <a:lnTo>
                            <a:pt x="71" y="48"/>
                          </a:lnTo>
                          <a:lnTo>
                            <a:pt x="73" y="3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5" name="Freeform 122"/>
                    <p:cNvSpPr>
                      <a:spLocks/>
                    </p:cNvSpPr>
                    <p:nvPr/>
                  </p:nvSpPr>
                  <p:spPr bwMode="auto">
                    <a:xfrm>
                      <a:off x="4760" y="2808"/>
                      <a:ext cx="73" cy="73"/>
                    </a:xfrm>
                    <a:custGeom>
                      <a:avLst/>
                      <a:gdLst>
                        <a:gd name="T0" fmla="*/ 73 w 73"/>
                        <a:gd name="T1" fmla="*/ 37 h 73"/>
                        <a:gd name="T2" fmla="*/ 71 w 73"/>
                        <a:gd name="T3" fmla="*/ 25 h 73"/>
                        <a:gd name="T4" fmla="*/ 66 w 73"/>
                        <a:gd name="T5" fmla="*/ 15 h 73"/>
                        <a:gd name="T6" fmla="*/ 58 w 73"/>
                        <a:gd name="T7" fmla="*/ 7 h 73"/>
                        <a:gd name="T8" fmla="*/ 48 w 73"/>
                        <a:gd name="T9" fmla="*/ 1 h 73"/>
                        <a:gd name="T10" fmla="*/ 37 w 73"/>
                        <a:gd name="T11" fmla="*/ 0 h 73"/>
                        <a:gd name="T12" fmla="*/ 25 w 73"/>
                        <a:gd name="T13" fmla="*/ 1 h 73"/>
                        <a:gd name="T14" fmla="*/ 15 w 73"/>
                        <a:gd name="T15" fmla="*/ 7 h 73"/>
                        <a:gd name="T16" fmla="*/ 7 w 73"/>
                        <a:gd name="T17" fmla="*/ 15 h 73"/>
                        <a:gd name="T18" fmla="*/ 1 w 73"/>
                        <a:gd name="T19" fmla="*/ 25 h 73"/>
                        <a:gd name="T20" fmla="*/ 0 w 73"/>
                        <a:gd name="T21" fmla="*/ 37 h 73"/>
                        <a:gd name="T22" fmla="*/ 1 w 73"/>
                        <a:gd name="T23" fmla="*/ 48 h 73"/>
                        <a:gd name="T24" fmla="*/ 7 w 73"/>
                        <a:gd name="T25" fmla="*/ 58 h 73"/>
                        <a:gd name="T26" fmla="*/ 15 w 73"/>
                        <a:gd name="T27" fmla="*/ 66 h 73"/>
                        <a:gd name="T28" fmla="*/ 25 w 73"/>
                        <a:gd name="T29" fmla="*/ 71 h 73"/>
                        <a:gd name="T30" fmla="*/ 37 w 73"/>
                        <a:gd name="T31" fmla="*/ 73 h 73"/>
                        <a:gd name="T32" fmla="*/ 48 w 73"/>
                        <a:gd name="T33" fmla="*/ 71 h 73"/>
                        <a:gd name="T34" fmla="*/ 58 w 73"/>
                        <a:gd name="T35" fmla="*/ 66 h 73"/>
                        <a:gd name="T36" fmla="*/ 66 w 73"/>
                        <a:gd name="T37" fmla="*/ 58 h 73"/>
                        <a:gd name="T38" fmla="*/ 71 w 73"/>
                        <a:gd name="T39" fmla="*/ 48 h 73"/>
                        <a:gd name="T40" fmla="*/ 73 w 73"/>
                        <a:gd name="T41" fmla="*/ 37 h 73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3"/>
                        <a:gd name="T64" fmla="*/ 0 h 73"/>
                        <a:gd name="T65" fmla="*/ 73 w 73"/>
                        <a:gd name="T66" fmla="*/ 73 h 73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3" h="73">
                          <a:moveTo>
                            <a:pt x="73" y="37"/>
                          </a:moveTo>
                          <a:lnTo>
                            <a:pt x="71" y="25"/>
                          </a:lnTo>
                          <a:lnTo>
                            <a:pt x="66" y="15"/>
                          </a:lnTo>
                          <a:lnTo>
                            <a:pt x="58" y="7"/>
                          </a:lnTo>
                          <a:lnTo>
                            <a:pt x="48" y="1"/>
                          </a:lnTo>
                          <a:lnTo>
                            <a:pt x="37" y="0"/>
                          </a:lnTo>
                          <a:lnTo>
                            <a:pt x="25" y="1"/>
                          </a:lnTo>
                          <a:lnTo>
                            <a:pt x="15" y="7"/>
                          </a:lnTo>
                          <a:lnTo>
                            <a:pt x="7" y="15"/>
                          </a:lnTo>
                          <a:lnTo>
                            <a:pt x="1" y="25"/>
                          </a:lnTo>
                          <a:lnTo>
                            <a:pt x="0" y="37"/>
                          </a:lnTo>
                          <a:lnTo>
                            <a:pt x="1" y="48"/>
                          </a:lnTo>
                          <a:lnTo>
                            <a:pt x="7" y="58"/>
                          </a:lnTo>
                          <a:lnTo>
                            <a:pt x="15" y="66"/>
                          </a:lnTo>
                          <a:lnTo>
                            <a:pt x="25" y="71"/>
                          </a:lnTo>
                          <a:lnTo>
                            <a:pt x="37" y="73"/>
                          </a:lnTo>
                          <a:lnTo>
                            <a:pt x="48" y="71"/>
                          </a:lnTo>
                          <a:lnTo>
                            <a:pt x="58" y="66"/>
                          </a:lnTo>
                          <a:lnTo>
                            <a:pt x="66" y="58"/>
                          </a:lnTo>
                          <a:lnTo>
                            <a:pt x="71" y="48"/>
                          </a:lnTo>
                          <a:lnTo>
                            <a:pt x="73" y="3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6" name="Freeform 123"/>
                    <p:cNvSpPr>
                      <a:spLocks/>
                    </p:cNvSpPr>
                    <p:nvPr/>
                  </p:nvSpPr>
                  <p:spPr bwMode="auto">
                    <a:xfrm>
                      <a:off x="4202" y="2889"/>
                      <a:ext cx="71" cy="72"/>
                    </a:xfrm>
                    <a:custGeom>
                      <a:avLst/>
                      <a:gdLst>
                        <a:gd name="T0" fmla="*/ 71 w 71"/>
                        <a:gd name="T1" fmla="*/ 36 h 72"/>
                        <a:gd name="T2" fmla="*/ 70 w 71"/>
                        <a:gd name="T3" fmla="*/ 25 h 72"/>
                        <a:gd name="T4" fmla="*/ 64 w 71"/>
                        <a:gd name="T5" fmla="*/ 15 h 72"/>
                        <a:gd name="T6" fmla="*/ 57 w 71"/>
                        <a:gd name="T7" fmla="*/ 7 h 72"/>
                        <a:gd name="T8" fmla="*/ 47 w 71"/>
                        <a:gd name="T9" fmla="*/ 2 h 72"/>
                        <a:gd name="T10" fmla="*/ 36 w 71"/>
                        <a:gd name="T11" fmla="*/ 0 h 72"/>
                        <a:gd name="T12" fmla="*/ 25 w 71"/>
                        <a:gd name="T13" fmla="*/ 2 h 72"/>
                        <a:gd name="T14" fmla="*/ 15 w 71"/>
                        <a:gd name="T15" fmla="*/ 7 h 72"/>
                        <a:gd name="T16" fmla="*/ 7 w 71"/>
                        <a:gd name="T17" fmla="*/ 15 h 72"/>
                        <a:gd name="T18" fmla="*/ 2 w 71"/>
                        <a:gd name="T19" fmla="*/ 25 h 72"/>
                        <a:gd name="T20" fmla="*/ 0 w 71"/>
                        <a:gd name="T21" fmla="*/ 36 h 72"/>
                        <a:gd name="T22" fmla="*/ 2 w 71"/>
                        <a:gd name="T23" fmla="*/ 48 h 72"/>
                        <a:gd name="T24" fmla="*/ 7 w 71"/>
                        <a:gd name="T25" fmla="*/ 57 h 72"/>
                        <a:gd name="T26" fmla="*/ 15 w 71"/>
                        <a:gd name="T27" fmla="*/ 65 h 72"/>
                        <a:gd name="T28" fmla="*/ 25 w 71"/>
                        <a:gd name="T29" fmla="*/ 70 h 72"/>
                        <a:gd name="T30" fmla="*/ 36 w 71"/>
                        <a:gd name="T31" fmla="*/ 72 h 72"/>
                        <a:gd name="T32" fmla="*/ 47 w 71"/>
                        <a:gd name="T33" fmla="*/ 70 h 72"/>
                        <a:gd name="T34" fmla="*/ 57 w 71"/>
                        <a:gd name="T35" fmla="*/ 65 h 72"/>
                        <a:gd name="T36" fmla="*/ 64 w 71"/>
                        <a:gd name="T37" fmla="*/ 57 h 72"/>
                        <a:gd name="T38" fmla="*/ 70 w 71"/>
                        <a:gd name="T39" fmla="*/ 48 h 72"/>
                        <a:gd name="T40" fmla="*/ 71 w 71"/>
                        <a:gd name="T41" fmla="*/ 36 h 72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1"/>
                        <a:gd name="T64" fmla="*/ 0 h 72"/>
                        <a:gd name="T65" fmla="*/ 71 w 71"/>
                        <a:gd name="T66" fmla="*/ 72 h 72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1" h="72">
                          <a:moveTo>
                            <a:pt x="71" y="36"/>
                          </a:moveTo>
                          <a:lnTo>
                            <a:pt x="70" y="25"/>
                          </a:lnTo>
                          <a:lnTo>
                            <a:pt x="64" y="15"/>
                          </a:lnTo>
                          <a:lnTo>
                            <a:pt x="57" y="7"/>
                          </a:lnTo>
                          <a:lnTo>
                            <a:pt x="47" y="2"/>
                          </a:lnTo>
                          <a:lnTo>
                            <a:pt x="36" y="0"/>
                          </a:lnTo>
                          <a:lnTo>
                            <a:pt x="25" y="2"/>
                          </a:lnTo>
                          <a:lnTo>
                            <a:pt x="15" y="7"/>
                          </a:lnTo>
                          <a:lnTo>
                            <a:pt x="7" y="15"/>
                          </a:lnTo>
                          <a:lnTo>
                            <a:pt x="2" y="25"/>
                          </a:lnTo>
                          <a:lnTo>
                            <a:pt x="0" y="36"/>
                          </a:lnTo>
                          <a:lnTo>
                            <a:pt x="2" y="48"/>
                          </a:lnTo>
                          <a:lnTo>
                            <a:pt x="7" y="57"/>
                          </a:lnTo>
                          <a:lnTo>
                            <a:pt x="15" y="65"/>
                          </a:lnTo>
                          <a:lnTo>
                            <a:pt x="25" y="70"/>
                          </a:lnTo>
                          <a:lnTo>
                            <a:pt x="36" y="72"/>
                          </a:lnTo>
                          <a:lnTo>
                            <a:pt x="47" y="70"/>
                          </a:lnTo>
                          <a:lnTo>
                            <a:pt x="57" y="65"/>
                          </a:lnTo>
                          <a:lnTo>
                            <a:pt x="64" y="57"/>
                          </a:lnTo>
                          <a:lnTo>
                            <a:pt x="70" y="48"/>
                          </a:lnTo>
                          <a:lnTo>
                            <a:pt x="71" y="3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7" name="Freeform 124"/>
                    <p:cNvSpPr>
                      <a:spLocks/>
                    </p:cNvSpPr>
                    <p:nvPr/>
                  </p:nvSpPr>
                  <p:spPr bwMode="auto">
                    <a:xfrm>
                      <a:off x="4202" y="2889"/>
                      <a:ext cx="71" cy="72"/>
                    </a:xfrm>
                    <a:custGeom>
                      <a:avLst/>
                      <a:gdLst>
                        <a:gd name="T0" fmla="*/ 71 w 71"/>
                        <a:gd name="T1" fmla="*/ 36 h 72"/>
                        <a:gd name="T2" fmla="*/ 70 w 71"/>
                        <a:gd name="T3" fmla="*/ 25 h 72"/>
                        <a:gd name="T4" fmla="*/ 64 w 71"/>
                        <a:gd name="T5" fmla="*/ 15 h 72"/>
                        <a:gd name="T6" fmla="*/ 57 w 71"/>
                        <a:gd name="T7" fmla="*/ 7 h 72"/>
                        <a:gd name="T8" fmla="*/ 47 w 71"/>
                        <a:gd name="T9" fmla="*/ 2 h 72"/>
                        <a:gd name="T10" fmla="*/ 36 w 71"/>
                        <a:gd name="T11" fmla="*/ 0 h 72"/>
                        <a:gd name="T12" fmla="*/ 25 w 71"/>
                        <a:gd name="T13" fmla="*/ 2 h 72"/>
                        <a:gd name="T14" fmla="*/ 15 w 71"/>
                        <a:gd name="T15" fmla="*/ 7 h 72"/>
                        <a:gd name="T16" fmla="*/ 7 w 71"/>
                        <a:gd name="T17" fmla="*/ 15 h 72"/>
                        <a:gd name="T18" fmla="*/ 2 w 71"/>
                        <a:gd name="T19" fmla="*/ 25 h 72"/>
                        <a:gd name="T20" fmla="*/ 0 w 71"/>
                        <a:gd name="T21" fmla="*/ 36 h 72"/>
                        <a:gd name="T22" fmla="*/ 2 w 71"/>
                        <a:gd name="T23" fmla="*/ 48 h 72"/>
                        <a:gd name="T24" fmla="*/ 7 w 71"/>
                        <a:gd name="T25" fmla="*/ 57 h 72"/>
                        <a:gd name="T26" fmla="*/ 15 w 71"/>
                        <a:gd name="T27" fmla="*/ 65 h 72"/>
                        <a:gd name="T28" fmla="*/ 25 w 71"/>
                        <a:gd name="T29" fmla="*/ 70 h 72"/>
                        <a:gd name="T30" fmla="*/ 36 w 71"/>
                        <a:gd name="T31" fmla="*/ 72 h 72"/>
                        <a:gd name="T32" fmla="*/ 47 w 71"/>
                        <a:gd name="T33" fmla="*/ 70 h 72"/>
                        <a:gd name="T34" fmla="*/ 57 w 71"/>
                        <a:gd name="T35" fmla="*/ 65 h 72"/>
                        <a:gd name="T36" fmla="*/ 64 w 71"/>
                        <a:gd name="T37" fmla="*/ 57 h 72"/>
                        <a:gd name="T38" fmla="*/ 70 w 71"/>
                        <a:gd name="T39" fmla="*/ 48 h 72"/>
                        <a:gd name="T40" fmla="*/ 71 w 71"/>
                        <a:gd name="T41" fmla="*/ 36 h 72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1"/>
                        <a:gd name="T64" fmla="*/ 0 h 72"/>
                        <a:gd name="T65" fmla="*/ 71 w 71"/>
                        <a:gd name="T66" fmla="*/ 72 h 72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1" h="72">
                          <a:moveTo>
                            <a:pt x="71" y="36"/>
                          </a:moveTo>
                          <a:lnTo>
                            <a:pt x="70" y="25"/>
                          </a:lnTo>
                          <a:lnTo>
                            <a:pt x="64" y="15"/>
                          </a:lnTo>
                          <a:lnTo>
                            <a:pt x="57" y="7"/>
                          </a:lnTo>
                          <a:lnTo>
                            <a:pt x="47" y="2"/>
                          </a:lnTo>
                          <a:lnTo>
                            <a:pt x="36" y="0"/>
                          </a:lnTo>
                          <a:lnTo>
                            <a:pt x="25" y="2"/>
                          </a:lnTo>
                          <a:lnTo>
                            <a:pt x="15" y="7"/>
                          </a:lnTo>
                          <a:lnTo>
                            <a:pt x="7" y="15"/>
                          </a:lnTo>
                          <a:lnTo>
                            <a:pt x="2" y="25"/>
                          </a:lnTo>
                          <a:lnTo>
                            <a:pt x="0" y="36"/>
                          </a:lnTo>
                          <a:lnTo>
                            <a:pt x="2" y="48"/>
                          </a:lnTo>
                          <a:lnTo>
                            <a:pt x="7" y="57"/>
                          </a:lnTo>
                          <a:lnTo>
                            <a:pt x="15" y="65"/>
                          </a:lnTo>
                          <a:lnTo>
                            <a:pt x="25" y="70"/>
                          </a:lnTo>
                          <a:lnTo>
                            <a:pt x="36" y="72"/>
                          </a:lnTo>
                          <a:lnTo>
                            <a:pt x="47" y="70"/>
                          </a:lnTo>
                          <a:lnTo>
                            <a:pt x="57" y="65"/>
                          </a:lnTo>
                          <a:lnTo>
                            <a:pt x="64" y="57"/>
                          </a:lnTo>
                          <a:lnTo>
                            <a:pt x="70" y="48"/>
                          </a:lnTo>
                          <a:lnTo>
                            <a:pt x="71" y="3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8" name="Freeform 125"/>
                    <p:cNvSpPr>
                      <a:spLocks/>
                    </p:cNvSpPr>
                    <p:nvPr/>
                  </p:nvSpPr>
                  <p:spPr bwMode="auto">
                    <a:xfrm>
                      <a:off x="4730" y="1114"/>
                      <a:ext cx="71" cy="71"/>
                    </a:xfrm>
                    <a:custGeom>
                      <a:avLst/>
                      <a:gdLst>
                        <a:gd name="T0" fmla="*/ 71 w 71"/>
                        <a:gd name="T1" fmla="*/ 35 h 71"/>
                        <a:gd name="T2" fmla="*/ 70 w 71"/>
                        <a:gd name="T3" fmla="*/ 24 h 71"/>
                        <a:gd name="T4" fmla="*/ 64 w 71"/>
                        <a:gd name="T5" fmla="*/ 14 h 71"/>
                        <a:gd name="T6" fmla="*/ 57 w 71"/>
                        <a:gd name="T7" fmla="*/ 7 h 71"/>
                        <a:gd name="T8" fmla="*/ 47 w 71"/>
                        <a:gd name="T9" fmla="*/ 1 h 71"/>
                        <a:gd name="T10" fmla="*/ 36 w 71"/>
                        <a:gd name="T11" fmla="*/ 0 h 71"/>
                        <a:gd name="T12" fmla="*/ 24 w 71"/>
                        <a:gd name="T13" fmla="*/ 1 h 71"/>
                        <a:gd name="T14" fmla="*/ 15 w 71"/>
                        <a:gd name="T15" fmla="*/ 7 h 71"/>
                        <a:gd name="T16" fmla="*/ 7 w 71"/>
                        <a:gd name="T17" fmla="*/ 14 h 71"/>
                        <a:gd name="T18" fmla="*/ 2 w 71"/>
                        <a:gd name="T19" fmla="*/ 24 h 71"/>
                        <a:gd name="T20" fmla="*/ 0 w 71"/>
                        <a:gd name="T21" fmla="*/ 35 h 71"/>
                        <a:gd name="T22" fmla="*/ 2 w 71"/>
                        <a:gd name="T23" fmla="*/ 46 h 71"/>
                        <a:gd name="T24" fmla="*/ 7 w 71"/>
                        <a:gd name="T25" fmla="*/ 56 h 71"/>
                        <a:gd name="T26" fmla="*/ 15 w 71"/>
                        <a:gd name="T27" fmla="*/ 64 h 71"/>
                        <a:gd name="T28" fmla="*/ 24 w 71"/>
                        <a:gd name="T29" fmla="*/ 70 h 71"/>
                        <a:gd name="T30" fmla="*/ 36 w 71"/>
                        <a:gd name="T31" fmla="*/ 71 h 71"/>
                        <a:gd name="T32" fmla="*/ 47 w 71"/>
                        <a:gd name="T33" fmla="*/ 70 h 71"/>
                        <a:gd name="T34" fmla="*/ 57 w 71"/>
                        <a:gd name="T35" fmla="*/ 64 h 71"/>
                        <a:gd name="T36" fmla="*/ 64 w 71"/>
                        <a:gd name="T37" fmla="*/ 56 h 71"/>
                        <a:gd name="T38" fmla="*/ 70 w 71"/>
                        <a:gd name="T39" fmla="*/ 46 h 71"/>
                        <a:gd name="T40" fmla="*/ 71 w 71"/>
                        <a:gd name="T41" fmla="*/ 35 h 71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1"/>
                        <a:gd name="T64" fmla="*/ 0 h 71"/>
                        <a:gd name="T65" fmla="*/ 71 w 71"/>
                        <a:gd name="T66" fmla="*/ 71 h 71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1" h="71">
                          <a:moveTo>
                            <a:pt x="71" y="35"/>
                          </a:moveTo>
                          <a:lnTo>
                            <a:pt x="70" y="24"/>
                          </a:lnTo>
                          <a:lnTo>
                            <a:pt x="64" y="14"/>
                          </a:lnTo>
                          <a:lnTo>
                            <a:pt x="57" y="7"/>
                          </a:lnTo>
                          <a:lnTo>
                            <a:pt x="47" y="1"/>
                          </a:lnTo>
                          <a:lnTo>
                            <a:pt x="36" y="0"/>
                          </a:lnTo>
                          <a:lnTo>
                            <a:pt x="24" y="1"/>
                          </a:lnTo>
                          <a:lnTo>
                            <a:pt x="15" y="7"/>
                          </a:lnTo>
                          <a:lnTo>
                            <a:pt x="7" y="14"/>
                          </a:lnTo>
                          <a:lnTo>
                            <a:pt x="2" y="24"/>
                          </a:lnTo>
                          <a:lnTo>
                            <a:pt x="0" y="35"/>
                          </a:lnTo>
                          <a:lnTo>
                            <a:pt x="2" y="46"/>
                          </a:lnTo>
                          <a:lnTo>
                            <a:pt x="7" y="56"/>
                          </a:lnTo>
                          <a:lnTo>
                            <a:pt x="15" y="64"/>
                          </a:lnTo>
                          <a:lnTo>
                            <a:pt x="24" y="70"/>
                          </a:lnTo>
                          <a:lnTo>
                            <a:pt x="36" y="71"/>
                          </a:lnTo>
                          <a:lnTo>
                            <a:pt x="47" y="70"/>
                          </a:lnTo>
                          <a:lnTo>
                            <a:pt x="57" y="64"/>
                          </a:lnTo>
                          <a:lnTo>
                            <a:pt x="64" y="56"/>
                          </a:lnTo>
                          <a:lnTo>
                            <a:pt x="70" y="46"/>
                          </a:lnTo>
                          <a:lnTo>
                            <a:pt x="71" y="3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69" name="Freeform 126"/>
                    <p:cNvSpPr>
                      <a:spLocks/>
                    </p:cNvSpPr>
                    <p:nvPr/>
                  </p:nvSpPr>
                  <p:spPr bwMode="auto">
                    <a:xfrm>
                      <a:off x="4730" y="1114"/>
                      <a:ext cx="71" cy="71"/>
                    </a:xfrm>
                    <a:custGeom>
                      <a:avLst/>
                      <a:gdLst>
                        <a:gd name="T0" fmla="*/ 71 w 71"/>
                        <a:gd name="T1" fmla="*/ 35 h 71"/>
                        <a:gd name="T2" fmla="*/ 70 w 71"/>
                        <a:gd name="T3" fmla="*/ 24 h 71"/>
                        <a:gd name="T4" fmla="*/ 64 w 71"/>
                        <a:gd name="T5" fmla="*/ 14 h 71"/>
                        <a:gd name="T6" fmla="*/ 57 w 71"/>
                        <a:gd name="T7" fmla="*/ 7 h 71"/>
                        <a:gd name="T8" fmla="*/ 47 w 71"/>
                        <a:gd name="T9" fmla="*/ 1 h 71"/>
                        <a:gd name="T10" fmla="*/ 36 w 71"/>
                        <a:gd name="T11" fmla="*/ 0 h 71"/>
                        <a:gd name="T12" fmla="*/ 24 w 71"/>
                        <a:gd name="T13" fmla="*/ 1 h 71"/>
                        <a:gd name="T14" fmla="*/ 15 w 71"/>
                        <a:gd name="T15" fmla="*/ 7 h 71"/>
                        <a:gd name="T16" fmla="*/ 7 w 71"/>
                        <a:gd name="T17" fmla="*/ 14 h 71"/>
                        <a:gd name="T18" fmla="*/ 2 w 71"/>
                        <a:gd name="T19" fmla="*/ 24 h 71"/>
                        <a:gd name="T20" fmla="*/ 0 w 71"/>
                        <a:gd name="T21" fmla="*/ 35 h 71"/>
                        <a:gd name="T22" fmla="*/ 2 w 71"/>
                        <a:gd name="T23" fmla="*/ 46 h 71"/>
                        <a:gd name="T24" fmla="*/ 7 w 71"/>
                        <a:gd name="T25" fmla="*/ 56 h 71"/>
                        <a:gd name="T26" fmla="*/ 15 w 71"/>
                        <a:gd name="T27" fmla="*/ 64 h 71"/>
                        <a:gd name="T28" fmla="*/ 24 w 71"/>
                        <a:gd name="T29" fmla="*/ 70 h 71"/>
                        <a:gd name="T30" fmla="*/ 36 w 71"/>
                        <a:gd name="T31" fmla="*/ 71 h 71"/>
                        <a:gd name="T32" fmla="*/ 47 w 71"/>
                        <a:gd name="T33" fmla="*/ 70 h 71"/>
                        <a:gd name="T34" fmla="*/ 57 w 71"/>
                        <a:gd name="T35" fmla="*/ 64 h 71"/>
                        <a:gd name="T36" fmla="*/ 64 w 71"/>
                        <a:gd name="T37" fmla="*/ 56 h 71"/>
                        <a:gd name="T38" fmla="*/ 70 w 71"/>
                        <a:gd name="T39" fmla="*/ 46 h 71"/>
                        <a:gd name="T40" fmla="*/ 71 w 71"/>
                        <a:gd name="T41" fmla="*/ 35 h 71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1"/>
                        <a:gd name="T64" fmla="*/ 0 h 71"/>
                        <a:gd name="T65" fmla="*/ 71 w 71"/>
                        <a:gd name="T66" fmla="*/ 71 h 71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1" h="71">
                          <a:moveTo>
                            <a:pt x="71" y="35"/>
                          </a:moveTo>
                          <a:lnTo>
                            <a:pt x="70" y="24"/>
                          </a:lnTo>
                          <a:lnTo>
                            <a:pt x="64" y="14"/>
                          </a:lnTo>
                          <a:lnTo>
                            <a:pt x="57" y="7"/>
                          </a:lnTo>
                          <a:lnTo>
                            <a:pt x="47" y="1"/>
                          </a:lnTo>
                          <a:lnTo>
                            <a:pt x="36" y="0"/>
                          </a:lnTo>
                          <a:lnTo>
                            <a:pt x="24" y="1"/>
                          </a:lnTo>
                          <a:lnTo>
                            <a:pt x="15" y="7"/>
                          </a:lnTo>
                          <a:lnTo>
                            <a:pt x="7" y="14"/>
                          </a:lnTo>
                          <a:lnTo>
                            <a:pt x="2" y="24"/>
                          </a:lnTo>
                          <a:lnTo>
                            <a:pt x="0" y="35"/>
                          </a:lnTo>
                          <a:lnTo>
                            <a:pt x="2" y="46"/>
                          </a:lnTo>
                          <a:lnTo>
                            <a:pt x="7" y="56"/>
                          </a:lnTo>
                          <a:lnTo>
                            <a:pt x="15" y="64"/>
                          </a:lnTo>
                          <a:lnTo>
                            <a:pt x="24" y="70"/>
                          </a:lnTo>
                          <a:lnTo>
                            <a:pt x="36" y="71"/>
                          </a:lnTo>
                          <a:lnTo>
                            <a:pt x="47" y="70"/>
                          </a:lnTo>
                          <a:lnTo>
                            <a:pt x="57" y="64"/>
                          </a:lnTo>
                          <a:lnTo>
                            <a:pt x="64" y="56"/>
                          </a:lnTo>
                          <a:lnTo>
                            <a:pt x="70" y="46"/>
                          </a:lnTo>
                          <a:lnTo>
                            <a:pt x="71" y="3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0" name="Freeform 127"/>
                    <p:cNvSpPr>
                      <a:spLocks/>
                    </p:cNvSpPr>
                    <p:nvPr/>
                  </p:nvSpPr>
                  <p:spPr bwMode="auto">
                    <a:xfrm>
                      <a:off x="4875" y="1199"/>
                      <a:ext cx="71" cy="7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69 w 71"/>
                        <a:gd name="T3" fmla="*/ 25 h 71"/>
                        <a:gd name="T4" fmla="*/ 64 w 71"/>
                        <a:gd name="T5" fmla="*/ 14 h 71"/>
                        <a:gd name="T6" fmla="*/ 57 w 71"/>
                        <a:gd name="T7" fmla="*/ 7 h 71"/>
                        <a:gd name="T8" fmla="*/ 47 w 71"/>
                        <a:gd name="T9" fmla="*/ 1 h 71"/>
                        <a:gd name="T10" fmla="*/ 36 w 71"/>
                        <a:gd name="T11" fmla="*/ 0 h 71"/>
                        <a:gd name="T12" fmla="*/ 25 w 71"/>
                        <a:gd name="T13" fmla="*/ 1 h 71"/>
                        <a:gd name="T14" fmla="*/ 14 w 71"/>
                        <a:gd name="T15" fmla="*/ 7 h 71"/>
                        <a:gd name="T16" fmla="*/ 7 w 71"/>
                        <a:gd name="T17" fmla="*/ 14 h 71"/>
                        <a:gd name="T18" fmla="*/ 1 w 71"/>
                        <a:gd name="T19" fmla="*/ 25 h 71"/>
                        <a:gd name="T20" fmla="*/ 0 w 71"/>
                        <a:gd name="T21" fmla="*/ 36 h 71"/>
                        <a:gd name="T22" fmla="*/ 1 w 71"/>
                        <a:gd name="T23" fmla="*/ 47 h 71"/>
                        <a:gd name="T24" fmla="*/ 7 w 71"/>
                        <a:gd name="T25" fmla="*/ 57 h 71"/>
                        <a:gd name="T26" fmla="*/ 14 w 71"/>
                        <a:gd name="T27" fmla="*/ 64 h 71"/>
                        <a:gd name="T28" fmla="*/ 25 w 71"/>
                        <a:gd name="T29" fmla="*/ 69 h 71"/>
                        <a:gd name="T30" fmla="*/ 36 w 71"/>
                        <a:gd name="T31" fmla="*/ 71 h 71"/>
                        <a:gd name="T32" fmla="*/ 47 w 71"/>
                        <a:gd name="T33" fmla="*/ 69 h 71"/>
                        <a:gd name="T34" fmla="*/ 57 w 71"/>
                        <a:gd name="T35" fmla="*/ 64 h 71"/>
                        <a:gd name="T36" fmla="*/ 64 w 71"/>
                        <a:gd name="T37" fmla="*/ 57 h 71"/>
                        <a:gd name="T38" fmla="*/ 69 w 71"/>
                        <a:gd name="T39" fmla="*/ 47 h 71"/>
                        <a:gd name="T40" fmla="*/ 71 w 71"/>
                        <a:gd name="T41" fmla="*/ 36 h 71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1"/>
                        <a:gd name="T64" fmla="*/ 0 h 71"/>
                        <a:gd name="T65" fmla="*/ 71 w 71"/>
                        <a:gd name="T66" fmla="*/ 71 h 71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1" h="71">
                          <a:moveTo>
                            <a:pt x="71" y="36"/>
                          </a:moveTo>
                          <a:lnTo>
                            <a:pt x="69" y="25"/>
                          </a:lnTo>
                          <a:lnTo>
                            <a:pt x="64" y="14"/>
                          </a:lnTo>
                          <a:lnTo>
                            <a:pt x="57" y="7"/>
                          </a:lnTo>
                          <a:lnTo>
                            <a:pt x="47" y="1"/>
                          </a:lnTo>
                          <a:lnTo>
                            <a:pt x="36" y="0"/>
                          </a:lnTo>
                          <a:lnTo>
                            <a:pt x="25" y="1"/>
                          </a:lnTo>
                          <a:lnTo>
                            <a:pt x="14" y="7"/>
                          </a:lnTo>
                          <a:lnTo>
                            <a:pt x="7" y="14"/>
                          </a:lnTo>
                          <a:lnTo>
                            <a:pt x="1" y="25"/>
                          </a:lnTo>
                          <a:lnTo>
                            <a:pt x="0" y="36"/>
                          </a:lnTo>
                          <a:lnTo>
                            <a:pt x="1" y="47"/>
                          </a:lnTo>
                          <a:lnTo>
                            <a:pt x="7" y="57"/>
                          </a:lnTo>
                          <a:lnTo>
                            <a:pt x="14" y="64"/>
                          </a:lnTo>
                          <a:lnTo>
                            <a:pt x="25" y="69"/>
                          </a:lnTo>
                          <a:lnTo>
                            <a:pt x="36" y="71"/>
                          </a:lnTo>
                          <a:lnTo>
                            <a:pt x="47" y="69"/>
                          </a:lnTo>
                          <a:lnTo>
                            <a:pt x="57" y="64"/>
                          </a:lnTo>
                          <a:lnTo>
                            <a:pt x="64" y="57"/>
                          </a:lnTo>
                          <a:lnTo>
                            <a:pt x="69" y="47"/>
                          </a:lnTo>
                          <a:lnTo>
                            <a:pt x="71" y="3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1" name="Freeform 128"/>
                    <p:cNvSpPr>
                      <a:spLocks/>
                    </p:cNvSpPr>
                    <p:nvPr/>
                  </p:nvSpPr>
                  <p:spPr bwMode="auto">
                    <a:xfrm>
                      <a:off x="4875" y="1199"/>
                      <a:ext cx="71" cy="71"/>
                    </a:xfrm>
                    <a:custGeom>
                      <a:avLst/>
                      <a:gdLst>
                        <a:gd name="T0" fmla="*/ 71 w 71"/>
                        <a:gd name="T1" fmla="*/ 36 h 71"/>
                        <a:gd name="T2" fmla="*/ 69 w 71"/>
                        <a:gd name="T3" fmla="*/ 25 h 71"/>
                        <a:gd name="T4" fmla="*/ 64 w 71"/>
                        <a:gd name="T5" fmla="*/ 14 h 71"/>
                        <a:gd name="T6" fmla="*/ 57 w 71"/>
                        <a:gd name="T7" fmla="*/ 7 h 71"/>
                        <a:gd name="T8" fmla="*/ 47 w 71"/>
                        <a:gd name="T9" fmla="*/ 1 h 71"/>
                        <a:gd name="T10" fmla="*/ 36 w 71"/>
                        <a:gd name="T11" fmla="*/ 0 h 71"/>
                        <a:gd name="T12" fmla="*/ 25 w 71"/>
                        <a:gd name="T13" fmla="*/ 1 h 71"/>
                        <a:gd name="T14" fmla="*/ 14 w 71"/>
                        <a:gd name="T15" fmla="*/ 7 h 71"/>
                        <a:gd name="T16" fmla="*/ 7 w 71"/>
                        <a:gd name="T17" fmla="*/ 14 h 71"/>
                        <a:gd name="T18" fmla="*/ 1 w 71"/>
                        <a:gd name="T19" fmla="*/ 25 h 71"/>
                        <a:gd name="T20" fmla="*/ 0 w 71"/>
                        <a:gd name="T21" fmla="*/ 36 h 71"/>
                        <a:gd name="T22" fmla="*/ 1 w 71"/>
                        <a:gd name="T23" fmla="*/ 47 h 71"/>
                        <a:gd name="T24" fmla="*/ 7 w 71"/>
                        <a:gd name="T25" fmla="*/ 57 h 71"/>
                        <a:gd name="T26" fmla="*/ 14 w 71"/>
                        <a:gd name="T27" fmla="*/ 64 h 71"/>
                        <a:gd name="T28" fmla="*/ 25 w 71"/>
                        <a:gd name="T29" fmla="*/ 69 h 71"/>
                        <a:gd name="T30" fmla="*/ 36 w 71"/>
                        <a:gd name="T31" fmla="*/ 71 h 71"/>
                        <a:gd name="T32" fmla="*/ 47 w 71"/>
                        <a:gd name="T33" fmla="*/ 69 h 71"/>
                        <a:gd name="T34" fmla="*/ 57 w 71"/>
                        <a:gd name="T35" fmla="*/ 64 h 71"/>
                        <a:gd name="T36" fmla="*/ 64 w 71"/>
                        <a:gd name="T37" fmla="*/ 57 h 71"/>
                        <a:gd name="T38" fmla="*/ 69 w 71"/>
                        <a:gd name="T39" fmla="*/ 47 h 71"/>
                        <a:gd name="T40" fmla="*/ 71 w 71"/>
                        <a:gd name="T41" fmla="*/ 36 h 71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1"/>
                        <a:gd name="T64" fmla="*/ 0 h 71"/>
                        <a:gd name="T65" fmla="*/ 71 w 71"/>
                        <a:gd name="T66" fmla="*/ 71 h 71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1" h="71">
                          <a:moveTo>
                            <a:pt x="71" y="36"/>
                          </a:moveTo>
                          <a:lnTo>
                            <a:pt x="69" y="25"/>
                          </a:lnTo>
                          <a:lnTo>
                            <a:pt x="64" y="14"/>
                          </a:lnTo>
                          <a:lnTo>
                            <a:pt x="57" y="7"/>
                          </a:lnTo>
                          <a:lnTo>
                            <a:pt x="47" y="1"/>
                          </a:lnTo>
                          <a:lnTo>
                            <a:pt x="36" y="0"/>
                          </a:lnTo>
                          <a:lnTo>
                            <a:pt x="25" y="1"/>
                          </a:lnTo>
                          <a:lnTo>
                            <a:pt x="14" y="7"/>
                          </a:lnTo>
                          <a:lnTo>
                            <a:pt x="7" y="14"/>
                          </a:lnTo>
                          <a:lnTo>
                            <a:pt x="1" y="25"/>
                          </a:lnTo>
                          <a:lnTo>
                            <a:pt x="0" y="36"/>
                          </a:lnTo>
                          <a:lnTo>
                            <a:pt x="1" y="47"/>
                          </a:lnTo>
                          <a:lnTo>
                            <a:pt x="7" y="57"/>
                          </a:lnTo>
                          <a:lnTo>
                            <a:pt x="14" y="64"/>
                          </a:lnTo>
                          <a:lnTo>
                            <a:pt x="25" y="69"/>
                          </a:lnTo>
                          <a:lnTo>
                            <a:pt x="36" y="71"/>
                          </a:lnTo>
                          <a:lnTo>
                            <a:pt x="47" y="69"/>
                          </a:lnTo>
                          <a:lnTo>
                            <a:pt x="57" y="64"/>
                          </a:lnTo>
                          <a:lnTo>
                            <a:pt x="64" y="57"/>
                          </a:lnTo>
                          <a:lnTo>
                            <a:pt x="69" y="47"/>
                          </a:lnTo>
                          <a:lnTo>
                            <a:pt x="71" y="3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2" name="Freeform 129"/>
                    <p:cNvSpPr>
                      <a:spLocks/>
                    </p:cNvSpPr>
                    <p:nvPr/>
                  </p:nvSpPr>
                  <p:spPr bwMode="auto">
                    <a:xfrm>
                      <a:off x="4690" y="1086"/>
                      <a:ext cx="70" cy="70"/>
                    </a:xfrm>
                    <a:custGeom>
                      <a:avLst/>
                      <a:gdLst>
                        <a:gd name="T0" fmla="*/ 70 w 70"/>
                        <a:gd name="T1" fmla="*/ 35 h 70"/>
                        <a:gd name="T2" fmla="*/ 68 w 70"/>
                        <a:gd name="T3" fmla="*/ 24 h 70"/>
                        <a:gd name="T4" fmla="*/ 63 w 70"/>
                        <a:gd name="T5" fmla="*/ 14 h 70"/>
                        <a:gd name="T6" fmla="*/ 56 w 70"/>
                        <a:gd name="T7" fmla="*/ 7 h 70"/>
                        <a:gd name="T8" fmla="*/ 46 w 70"/>
                        <a:gd name="T9" fmla="*/ 2 h 70"/>
                        <a:gd name="T10" fmla="*/ 35 w 70"/>
                        <a:gd name="T11" fmla="*/ 0 h 70"/>
                        <a:gd name="T12" fmla="*/ 24 w 70"/>
                        <a:gd name="T13" fmla="*/ 2 h 70"/>
                        <a:gd name="T14" fmla="*/ 14 w 70"/>
                        <a:gd name="T15" fmla="*/ 7 h 70"/>
                        <a:gd name="T16" fmla="*/ 7 w 70"/>
                        <a:gd name="T17" fmla="*/ 14 h 70"/>
                        <a:gd name="T18" fmla="*/ 1 w 70"/>
                        <a:gd name="T19" fmla="*/ 24 h 70"/>
                        <a:gd name="T20" fmla="*/ 0 w 70"/>
                        <a:gd name="T21" fmla="*/ 35 h 70"/>
                        <a:gd name="T22" fmla="*/ 1 w 70"/>
                        <a:gd name="T23" fmla="*/ 46 h 70"/>
                        <a:gd name="T24" fmla="*/ 7 w 70"/>
                        <a:gd name="T25" fmla="*/ 56 h 70"/>
                        <a:gd name="T26" fmla="*/ 14 w 70"/>
                        <a:gd name="T27" fmla="*/ 63 h 70"/>
                        <a:gd name="T28" fmla="*/ 24 w 70"/>
                        <a:gd name="T29" fmla="*/ 69 h 70"/>
                        <a:gd name="T30" fmla="*/ 35 w 70"/>
                        <a:gd name="T31" fmla="*/ 70 h 70"/>
                        <a:gd name="T32" fmla="*/ 46 w 70"/>
                        <a:gd name="T33" fmla="*/ 69 h 70"/>
                        <a:gd name="T34" fmla="*/ 56 w 70"/>
                        <a:gd name="T35" fmla="*/ 63 h 70"/>
                        <a:gd name="T36" fmla="*/ 63 w 70"/>
                        <a:gd name="T37" fmla="*/ 56 h 70"/>
                        <a:gd name="T38" fmla="*/ 68 w 70"/>
                        <a:gd name="T39" fmla="*/ 46 h 70"/>
                        <a:gd name="T40" fmla="*/ 70 w 70"/>
                        <a:gd name="T41" fmla="*/ 35 h 70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0"/>
                        <a:gd name="T64" fmla="*/ 0 h 70"/>
                        <a:gd name="T65" fmla="*/ 70 w 70"/>
                        <a:gd name="T66" fmla="*/ 70 h 70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0" h="70">
                          <a:moveTo>
                            <a:pt x="70" y="35"/>
                          </a:moveTo>
                          <a:lnTo>
                            <a:pt x="68" y="24"/>
                          </a:lnTo>
                          <a:lnTo>
                            <a:pt x="63" y="14"/>
                          </a:lnTo>
                          <a:lnTo>
                            <a:pt x="56" y="7"/>
                          </a:lnTo>
                          <a:lnTo>
                            <a:pt x="46" y="2"/>
                          </a:lnTo>
                          <a:lnTo>
                            <a:pt x="35" y="0"/>
                          </a:lnTo>
                          <a:lnTo>
                            <a:pt x="24" y="2"/>
                          </a:lnTo>
                          <a:lnTo>
                            <a:pt x="14" y="7"/>
                          </a:lnTo>
                          <a:lnTo>
                            <a:pt x="7" y="14"/>
                          </a:lnTo>
                          <a:lnTo>
                            <a:pt x="1" y="24"/>
                          </a:lnTo>
                          <a:lnTo>
                            <a:pt x="0" y="35"/>
                          </a:lnTo>
                          <a:lnTo>
                            <a:pt x="1" y="46"/>
                          </a:lnTo>
                          <a:lnTo>
                            <a:pt x="7" y="56"/>
                          </a:lnTo>
                          <a:lnTo>
                            <a:pt x="14" y="63"/>
                          </a:lnTo>
                          <a:lnTo>
                            <a:pt x="24" y="69"/>
                          </a:lnTo>
                          <a:lnTo>
                            <a:pt x="35" y="70"/>
                          </a:lnTo>
                          <a:lnTo>
                            <a:pt x="46" y="69"/>
                          </a:lnTo>
                          <a:lnTo>
                            <a:pt x="56" y="63"/>
                          </a:lnTo>
                          <a:lnTo>
                            <a:pt x="63" y="56"/>
                          </a:lnTo>
                          <a:lnTo>
                            <a:pt x="68" y="46"/>
                          </a:lnTo>
                          <a:lnTo>
                            <a:pt x="70" y="3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3" name="Freeform 130"/>
                    <p:cNvSpPr>
                      <a:spLocks/>
                    </p:cNvSpPr>
                    <p:nvPr/>
                  </p:nvSpPr>
                  <p:spPr bwMode="auto">
                    <a:xfrm>
                      <a:off x="4690" y="1086"/>
                      <a:ext cx="70" cy="70"/>
                    </a:xfrm>
                    <a:custGeom>
                      <a:avLst/>
                      <a:gdLst>
                        <a:gd name="T0" fmla="*/ 70 w 70"/>
                        <a:gd name="T1" fmla="*/ 35 h 70"/>
                        <a:gd name="T2" fmla="*/ 68 w 70"/>
                        <a:gd name="T3" fmla="*/ 24 h 70"/>
                        <a:gd name="T4" fmla="*/ 63 w 70"/>
                        <a:gd name="T5" fmla="*/ 14 h 70"/>
                        <a:gd name="T6" fmla="*/ 56 w 70"/>
                        <a:gd name="T7" fmla="*/ 7 h 70"/>
                        <a:gd name="T8" fmla="*/ 46 w 70"/>
                        <a:gd name="T9" fmla="*/ 2 h 70"/>
                        <a:gd name="T10" fmla="*/ 35 w 70"/>
                        <a:gd name="T11" fmla="*/ 0 h 70"/>
                        <a:gd name="T12" fmla="*/ 24 w 70"/>
                        <a:gd name="T13" fmla="*/ 2 h 70"/>
                        <a:gd name="T14" fmla="*/ 14 w 70"/>
                        <a:gd name="T15" fmla="*/ 7 h 70"/>
                        <a:gd name="T16" fmla="*/ 7 w 70"/>
                        <a:gd name="T17" fmla="*/ 14 h 70"/>
                        <a:gd name="T18" fmla="*/ 1 w 70"/>
                        <a:gd name="T19" fmla="*/ 24 h 70"/>
                        <a:gd name="T20" fmla="*/ 0 w 70"/>
                        <a:gd name="T21" fmla="*/ 35 h 70"/>
                        <a:gd name="T22" fmla="*/ 1 w 70"/>
                        <a:gd name="T23" fmla="*/ 46 h 70"/>
                        <a:gd name="T24" fmla="*/ 7 w 70"/>
                        <a:gd name="T25" fmla="*/ 56 h 70"/>
                        <a:gd name="T26" fmla="*/ 14 w 70"/>
                        <a:gd name="T27" fmla="*/ 63 h 70"/>
                        <a:gd name="T28" fmla="*/ 24 w 70"/>
                        <a:gd name="T29" fmla="*/ 69 h 70"/>
                        <a:gd name="T30" fmla="*/ 35 w 70"/>
                        <a:gd name="T31" fmla="*/ 70 h 70"/>
                        <a:gd name="T32" fmla="*/ 46 w 70"/>
                        <a:gd name="T33" fmla="*/ 69 h 70"/>
                        <a:gd name="T34" fmla="*/ 56 w 70"/>
                        <a:gd name="T35" fmla="*/ 63 h 70"/>
                        <a:gd name="T36" fmla="*/ 63 w 70"/>
                        <a:gd name="T37" fmla="*/ 56 h 70"/>
                        <a:gd name="T38" fmla="*/ 68 w 70"/>
                        <a:gd name="T39" fmla="*/ 46 h 70"/>
                        <a:gd name="T40" fmla="*/ 70 w 70"/>
                        <a:gd name="T41" fmla="*/ 35 h 70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70"/>
                        <a:gd name="T64" fmla="*/ 0 h 70"/>
                        <a:gd name="T65" fmla="*/ 70 w 70"/>
                        <a:gd name="T66" fmla="*/ 70 h 70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70" h="70">
                          <a:moveTo>
                            <a:pt x="70" y="35"/>
                          </a:moveTo>
                          <a:lnTo>
                            <a:pt x="68" y="24"/>
                          </a:lnTo>
                          <a:lnTo>
                            <a:pt x="63" y="14"/>
                          </a:lnTo>
                          <a:lnTo>
                            <a:pt x="56" y="7"/>
                          </a:lnTo>
                          <a:lnTo>
                            <a:pt x="46" y="2"/>
                          </a:lnTo>
                          <a:lnTo>
                            <a:pt x="35" y="0"/>
                          </a:lnTo>
                          <a:lnTo>
                            <a:pt x="24" y="2"/>
                          </a:lnTo>
                          <a:lnTo>
                            <a:pt x="14" y="7"/>
                          </a:lnTo>
                          <a:lnTo>
                            <a:pt x="7" y="14"/>
                          </a:lnTo>
                          <a:lnTo>
                            <a:pt x="1" y="24"/>
                          </a:lnTo>
                          <a:lnTo>
                            <a:pt x="0" y="35"/>
                          </a:lnTo>
                          <a:lnTo>
                            <a:pt x="1" y="46"/>
                          </a:lnTo>
                          <a:lnTo>
                            <a:pt x="7" y="56"/>
                          </a:lnTo>
                          <a:lnTo>
                            <a:pt x="14" y="63"/>
                          </a:lnTo>
                          <a:lnTo>
                            <a:pt x="24" y="69"/>
                          </a:lnTo>
                          <a:lnTo>
                            <a:pt x="35" y="70"/>
                          </a:lnTo>
                          <a:lnTo>
                            <a:pt x="46" y="69"/>
                          </a:lnTo>
                          <a:lnTo>
                            <a:pt x="56" y="63"/>
                          </a:lnTo>
                          <a:lnTo>
                            <a:pt x="63" y="56"/>
                          </a:lnTo>
                          <a:lnTo>
                            <a:pt x="68" y="46"/>
                          </a:lnTo>
                          <a:lnTo>
                            <a:pt x="70" y="3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4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4500" y="1057"/>
                      <a:ext cx="68" cy="68"/>
                    </a:xfrm>
                    <a:custGeom>
                      <a:avLst/>
                      <a:gdLst>
                        <a:gd name="T0" fmla="*/ 68 w 68"/>
                        <a:gd name="T1" fmla="*/ 34 h 68"/>
                        <a:gd name="T2" fmla="*/ 67 w 68"/>
                        <a:gd name="T3" fmla="*/ 23 h 68"/>
                        <a:gd name="T4" fmla="*/ 61 w 68"/>
                        <a:gd name="T5" fmla="*/ 13 h 68"/>
                        <a:gd name="T6" fmla="*/ 54 w 68"/>
                        <a:gd name="T7" fmla="*/ 6 h 68"/>
                        <a:gd name="T8" fmla="*/ 45 w 68"/>
                        <a:gd name="T9" fmla="*/ 2 h 68"/>
                        <a:gd name="T10" fmla="*/ 34 w 68"/>
                        <a:gd name="T11" fmla="*/ 0 h 68"/>
                        <a:gd name="T12" fmla="*/ 23 w 68"/>
                        <a:gd name="T13" fmla="*/ 2 h 68"/>
                        <a:gd name="T14" fmla="*/ 13 w 68"/>
                        <a:gd name="T15" fmla="*/ 6 h 68"/>
                        <a:gd name="T16" fmla="*/ 6 w 68"/>
                        <a:gd name="T17" fmla="*/ 13 h 68"/>
                        <a:gd name="T18" fmla="*/ 1 w 68"/>
                        <a:gd name="T19" fmla="*/ 23 h 68"/>
                        <a:gd name="T20" fmla="*/ 0 w 68"/>
                        <a:gd name="T21" fmla="*/ 34 h 68"/>
                        <a:gd name="T22" fmla="*/ 1 w 68"/>
                        <a:gd name="T23" fmla="*/ 45 h 68"/>
                        <a:gd name="T24" fmla="*/ 6 w 68"/>
                        <a:gd name="T25" fmla="*/ 54 h 68"/>
                        <a:gd name="T26" fmla="*/ 13 w 68"/>
                        <a:gd name="T27" fmla="*/ 61 h 68"/>
                        <a:gd name="T28" fmla="*/ 23 w 68"/>
                        <a:gd name="T29" fmla="*/ 67 h 68"/>
                        <a:gd name="T30" fmla="*/ 34 w 68"/>
                        <a:gd name="T31" fmla="*/ 68 h 68"/>
                        <a:gd name="T32" fmla="*/ 45 w 68"/>
                        <a:gd name="T33" fmla="*/ 67 h 68"/>
                        <a:gd name="T34" fmla="*/ 54 w 68"/>
                        <a:gd name="T35" fmla="*/ 61 h 68"/>
                        <a:gd name="T36" fmla="*/ 61 w 68"/>
                        <a:gd name="T37" fmla="*/ 54 h 68"/>
                        <a:gd name="T38" fmla="*/ 67 w 68"/>
                        <a:gd name="T39" fmla="*/ 45 h 68"/>
                        <a:gd name="T40" fmla="*/ 68 w 68"/>
                        <a:gd name="T41" fmla="*/ 34 h 68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8"/>
                        <a:gd name="T64" fmla="*/ 0 h 68"/>
                        <a:gd name="T65" fmla="*/ 68 w 68"/>
                        <a:gd name="T66" fmla="*/ 68 h 68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8" h="68">
                          <a:moveTo>
                            <a:pt x="68" y="34"/>
                          </a:moveTo>
                          <a:lnTo>
                            <a:pt x="67" y="23"/>
                          </a:lnTo>
                          <a:lnTo>
                            <a:pt x="61" y="13"/>
                          </a:lnTo>
                          <a:lnTo>
                            <a:pt x="54" y="6"/>
                          </a:lnTo>
                          <a:lnTo>
                            <a:pt x="45" y="2"/>
                          </a:lnTo>
                          <a:lnTo>
                            <a:pt x="34" y="0"/>
                          </a:lnTo>
                          <a:lnTo>
                            <a:pt x="23" y="2"/>
                          </a:lnTo>
                          <a:lnTo>
                            <a:pt x="13" y="6"/>
                          </a:lnTo>
                          <a:lnTo>
                            <a:pt x="6" y="13"/>
                          </a:lnTo>
                          <a:lnTo>
                            <a:pt x="1" y="23"/>
                          </a:lnTo>
                          <a:lnTo>
                            <a:pt x="0" y="34"/>
                          </a:lnTo>
                          <a:lnTo>
                            <a:pt x="1" y="45"/>
                          </a:lnTo>
                          <a:lnTo>
                            <a:pt x="6" y="54"/>
                          </a:lnTo>
                          <a:lnTo>
                            <a:pt x="13" y="61"/>
                          </a:lnTo>
                          <a:lnTo>
                            <a:pt x="23" y="67"/>
                          </a:lnTo>
                          <a:lnTo>
                            <a:pt x="34" y="68"/>
                          </a:lnTo>
                          <a:lnTo>
                            <a:pt x="45" y="67"/>
                          </a:lnTo>
                          <a:lnTo>
                            <a:pt x="54" y="61"/>
                          </a:lnTo>
                          <a:lnTo>
                            <a:pt x="61" y="54"/>
                          </a:lnTo>
                          <a:lnTo>
                            <a:pt x="67" y="45"/>
                          </a:lnTo>
                          <a:lnTo>
                            <a:pt x="68" y="3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5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4500" y="1057"/>
                      <a:ext cx="68" cy="68"/>
                    </a:xfrm>
                    <a:custGeom>
                      <a:avLst/>
                      <a:gdLst>
                        <a:gd name="T0" fmla="*/ 68 w 68"/>
                        <a:gd name="T1" fmla="*/ 34 h 68"/>
                        <a:gd name="T2" fmla="*/ 67 w 68"/>
                        <a:gd name="T3" fmla="*/ 23 h 68"/>
                        <a:gd name="T4" fmla="*/ 61 w 68"/>
                        <a:gd name="T5" fmla="*/ 13 h 68"/>
                        <a:gd name="T6" fmla="*/ 54 w 68"/>
                        <a:gd name="T7" fmla="*/ 6 h 68"/>
                        <a:gd name="T8" fmla="*/ 45 w 68"/>
                        <a:gd name="T9" fmla="*/ 2 h 68"/>
                        <a:gd name="T10" fmla="*/ 34 w 68"/>
                        <a:gd name="T11" fmla="*/ 0 h 68"/>
                        <a:gd name="T12" fmla="*/ 23 w 68"/>
                        <a:gd name="T13" fmla="*/ 2 h 68"/>
                        <a:gd name="T14" fmla="*/ 13 w 68"/>
                        <a:gd name="T15" fmla="*/ 6 h 68"/>
                        <a:gd name="T16" fmla="*/ 6 w 68"/>
                        <a:gd name="T17" fmla="*/ 13 h 68"/>
                        <a:gd name="T18" fmla="*/ 1 w 68"/>
                        <a:gd name="T19" fmla="*/ 23 h 68"/>
                        <a:gd name="T20" fmla="*/ 0 w 68"/>
                        <a:gd name="T21" fmla="*/ 34 h 68"/>
                        <a:gd name="T22" fmla="*/ 1 w 68"/>
                        <a:gd name="T23" fmla="*/ 45 h 68"/>
                        <a:gd name="T24" fmla="*/ 6 w 68"/>
                        <a:gd name="T25" fmla="*/ 54 h 68"/>
                        <a:gd name="T26" fmla="*/ 13 w 68"/>
                        <a:gd name="T27" fmla="*/ 61 h 68"/>
                        <a:gd name="T28" fmla="*/ 23 w 68"/>
                        <a:gd name="T29" fmla="*/ 67 h 68"/>
                        <a:gd name="T30" fmla="*/ 34 w 68"/>
                        <a:gd name="T31" fmla="*/ 68 h 68"/>
                        <a:gd name="T32" fmla="*/ 45 w 68"/>
                        <a:gd name="T33" fmla="*/ 67 h 68"/>
                        <a:gd name="T34" fmla="*/ 54 w 68"/>
                        <a:gd name="T35" fmla="*/ 61 h 68"/>
                        <a:gd name="T36" fmla="*/ 61 w 68"/>
                        <a:gd name="T37" fmla="*/ 54 h 68"/>
                        <a:gd name="T38" fmla="*/ 67 w 68"/>
                        <a:gd name="T39" fmla="*/ 45 h 68"/>
                        <a:gd name="T40" fmla="*/ 68 w 68"/>
                        <a:gd name="T41" fmla="*/ 34 h 68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8"/>
                        <a:gd name="T64" fmla="*/ 0 h 68"/>
                        <a:gd name="T65" fmla="*/ 68 w 68"/>
                        <a:gd name="T66" fmla="*/ 68 h 68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8" h="68">
                          <a:moveTo>
                            <a:pt x="68" y="34"/>
                          </a:moveTo>
                          <a:lnTo>
                            <a:pt x="67" y="23"/>
                          </a:lnTo>
                          <a:lnTo>
                            <a:pt x="61" y="13"/>
                          </a:lnTo>
                          <a:lnTo>
                            <a:pt x="54" y="6"/>
                          </a:lnTo>
                          <a:lnTo>
                            <a:pt x="45" y="2"/>
                          </a:lnTo>
                          <a:lnTo>
                            <a:pt x="34" y="0"/>
                          </a:lnTo>
                          <a:lnTo>
                            <a:pt x="23" y="2"/>
                          </a:lnTo>
                          <a:lnTo>
                            <a:pt x="13" y="6"/>
                          </a:lnTo>
                          <a:lnTo>
                            <a:pt x="6" y="13"/>
                          </a:lnTo>
                          <a:lnTo>
                            <a:pt x="1" y="23"/>
                          </a:lnTo>
                          <a:lnTo>
                            <a:pt x="0" y="34"/>
                          </a:lnTo>
                          <a:lnTo>
                            <a:pt x="1" y="45"/>
                          </a:lnTo>
                          <a:lnTo>
                            <a:pt x="6" y="54"/>
                          </a:lnTo>
                          <a:lnTo>
                            <a:pt x="13" y="61"/>
                          </a:lnTo>
                          <a:lnTo>
                            <a:pt x="23" y="67"/>
                          </a:lnTo>
                          <a:lnTo>
                            <a:pt x="34" y="68"/>
                          </a:lnTo>
                          <a:lnTo>
                            <a:pt x="45" y="67"/>
                          </a:lnTo>
                          <a:lnTo>
                            <a:pt x="54" y="61"/>
                          </a:lnTo>
                          <a:lnTo>
                            <a:pt x="61" y="54"/>
                          </a:lnTo>
                          <a:lnTo>
                            <a:pt x="67" y="45"/>
                          </a:lnTo>
                          <a:lnTo>
                            <a:pt x="68" y="34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6" name="Freeform 133"/>
                    <p:cNvSpPr>
                      <a:spLocks/>
                    </p:cNvSpPr>
                    <p:nvPr/>
                  </p:nvSpPr>
                  <p:spPr bwMode="auto">
                    <a:xfrm>
                      <a:off x="4662" y="1144"/>
                      <a:ext cx="65" cy="66"/>
                    </a:xfrm>
                    <a:custGeom>
                      <a:avLst/>
                      <a:gdLst>
                        <a:gd name="T0" fmla="*/ 65 w 65"/>
                        <a:gd name="T1" fmla="*/ 33 h 66"/>
                        <a:gd name="T2" fmla="*/ 63 w 65"/>
                        <a:gd name="T3" fmla="*/ 23 h 66"/>
                        <a:gd name="T4" fmla="*/ 59 w 65"/>
                        <a:gd name="T5" fmla="*/ 14 h 66"/>
                        <a:gd name="T6" fmla="*/ 51 w 65"/>
                        <a:gd name="T7" fmla="*/ 7 h 66"/>
                        <a:gd name="T8" fmla="*/ 43 w 65"/>
                        <a:gd name="T9" fmla="*/ 2 h 66"/>
                        <a:gd name="T10" fmla="*/ 32 w 65"/>
                        <a:gd name="T11" fmla="*/ 0 h 66"/>
                        <a:gd name="T12" fmla="*/ 22 w 65"/>
                        <a:gd name="T13" fmla="*/ 2 h 66"/>
                        <a:gd name="T14" fmla="*/ 13 w 65"/>
                        <a:gd name="T15" fmla="*/ 7 h 66"/>
                        <a:gd name="T16" fmla="*/ 6 w 65"/>
                        <a:gd name="T17" fmla="*/ 14 h 66"/>
                        <a:gd name="T18" fmla="*/ 1 w 65"/>
                        <a:gd name="T19" fmla="*/ 23 h 66"/>
                        <a:gd name="T20" fmla="*/ 0 w 65"/>
                        <a:gd name="T21" fmla="*/ 33 h 66"/>
                        <a:gd name="T22" fmla="*/ 1 w 65"/>
                        <a:gd name="T23" fmla="*/ 44 h 66"/>
                        <a:gd name="T24" fmla="*/ 6 w 65"/>
                        <a:gd name="T25" fmla="*/ 53 h 66"/>
                        <a:gd name="T26" fmla="*/ 13 w 65"/>
                        <a:gd name="T27" fmla="*/ 60 h 66"/>
                        <a:gd name="T28" fmla="*/ 22 w 65"/>
                        <a:gd name="T29" fmla="*/ 65 h 66"/>
                        <a:gd name="T30" fmla="*/ 32 w 65"/>
                        <a:gd name="T31" fmla="*/ 66 h 66"/>
                        <a:gd name="T32" fmla="*/ 43 w 65"/>
                        <a:gd name="T33" fmla="*/ 65 h 66"/>
                        <a:gd name="T34" fmla="*/ 51 w 65"/>
                        <a:gd name="T35" fmla="*/ 60 h 66"/>
                        <a:gd name="T36" fmla="*/ 59 w 65"/>
                        <a:gd name="T37" fmla="*/ 53 h 66"/>
                        <a:gd name="T38" fmla="*/ 63 w 65"/>
                        <a:gd name="T39" fmla="*/ 44 h 66"/>
                        <a:gd name="T40" fmla="*/ 65 w 65"/>
                        <a:gd name="T41" fmla="*/ 33 h 6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5"/>
                        <a:gd name="T64" fmla="*/ 0 h 66"/>
                        <a:gd name="T65" fmla="*/ 65 w 65"/>
                        <a:gd name="T66" fmla="*/ 66 h 66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5" h="66">
                          <a:moveTo>
                            <a:pt x="65" y="33"/>
                          </a:moveTo>
                          <a:lnTo>
                            <a:pt x="63" y="23"/>
                          </a:lnTo>
                          <a:lnTo>
                            <a:pt x="59" y="14"/>
                          </a:lnTo>
                          <a:lnTo>
                            <a:pt x="51" y="7"/>
                          </a:lnTo>
                          <a:lnTo>
                            <a:pt x="43" y="2"/>
                          </a:lnTo>
                          <a:lnTo>
                            <a:pt x="32" y="0"/>
                          </a:lnTo>
                          <a:lnTo>
                            <a:pt x="22" y="2"/>
                          </a:lnTo>
                          <a:lnTo>
                            <a:pt x="13" y="7"/>
                          </a:lnTo>
                          <a:lnTo>
                            <a:pt x="6" y="14"/>
                          </a:lnTo>
                          <a:lnTo>
                            <a:pt x="1" y="23"/>
                          </a:lnTo>
                          <a:lnTo>
                            <a:pt x="0" y="33"/>
                          </a:lnTo>
                          <a:lnTo>
                            <a:pt x="1" y="44"/>
                          </a:lnTo>
                          <a:lnTo>
                            <a:pt x="6" y="53"/>
                          </a:lnTo>
                          <a:lnTo>
                            <a:pt x="13" y="60"/>
                          </a:lnTo>
                          <a:lnTo>
                            <a:pt x="22" y="65"/>
                          </a:lnTo>
                          <a:lnTo>
                            <a:pt x="32" y="66"/>
                          </a:lnTo>
                          <a:lnTo>
                            <a:pt x="43" y="65"/>
                          </a:lnTo>
                          <a:lnTo>
                            <a:pt x="51" y="60"/>
                          </a:lnTo>
                          <a:lnTo>
                            <a:pt x="59" y="53"/>
                          </a:lnTo>
                          <a:lnTo>
                            <a:pt x="63" y="44"/>
                          </a:lnTo>
                          <a:lnTo>
                            <a:pt x="65" y="3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7" name="Freeform 134"/>
                    <p:cNvSpPr>
                      <a:spLocks/>
                    </p:cNvSpPr>
                    <p:nvPr/>
                  </p:nvSpPr>
                  <p:spPr bwMode="auto">
                    <a:xfrm>
                      <a:off x="4662" y="1144"/>
                      <a:ext cx="65" cy="66"/>
                    </a:xfrm>
                    <a:custGeom>
                      <a:avLst/>
                      <a:gdLst>
                        <a:gd name="T0" fmla="*/ 65 w 65"/>
                        <a:gd name="T1" fmla="*/ 33 h 66"/>
                        <a:gd name="T2" fmla="*/ 63 w 65"/>
                        <a:gd name="T3" fmla="*/ 23 h 66"/>
                        <a:gd name="T4" fmla="*/ 59 w 65"/>
                        <a:gd name="T5" fmla="*/ 14 h 66"/>
                        <a:gd name="T6" fmla="*/ 51 w 65"/>
                        <a:gd name="T7" fmla="*/ 7 h 66"/>
                        <a:gd name="T8" fmla="*/ 43 w 65"/>
                        <a:gd name="T9" fmla="*/ 2 h 66"/>
                        <a:gd name="T10" fmla="*/ 32 w 65"/>
                        <a:gd name="T11" fmla="*/ 0 h 66"/>
                        <a:gd name="T12" fmla="*/ 22 w 65"/>
                        <a:gd name="T13" fmla="*/ 2 h 66"/>
                        <a:gd name="T14" fmla="*/ 13 w 65"/>
                        <a:gd name="T15" fmla="*/ 7 h 66"/>
                        <a:gd name="T16" fmla="*/ 6 w 65"/>
                        <a:gd name="T17" fmla="*/ 14 h 66"/>
                        <a:gd name="T18" fmla="*/ 1 w 65"/>
                        <a:gd name="T19" fmla="*/ 23 h 66"/>
                        <a:gd name="T20" fmla="*/ 0 w 65"/>
                        <a:gd name="T21" fmla="*/ 33 h 66"/>
                        <a:gd name="T22" fmla="*/ 1 w 65"/>
                        <a:gd name="T23" fmla="*/ 44 h 66"/>
                        <a:gd name="T24" fmla="*/ 6 w 65"/>
                        <a:gd name="T25" fmla="*/ 53 h 66"/>
                        <a:gd name="T26" fmla="*/ 13 w 65"/>
                        <a:gd name="T27" fmla="*/ 60 h 66"/>
                        <a:gd name="T28" fmla="*/ 22 w 65"/>
                        <a:gd name="T29" fmla="*/ 65 h 66"/>
                        <a:gd name="T30" fmla="*/ 32 w 65"/>
                        <a:gd name="T31" fmla="*/ 66 h 66"/>
                        <a:gd name="T32" fmla="*/ 43 w 65"/>
                        <a:gd name="T33" fmla="*/ 65 h 66"/>
                        <a:gd name="T34" fmla="*/ 51 w 65"/>
                        <a:gd name="T35" fmla="*/ 60 h 66"/>
                        <a:gd name="T36" fmla="*/ 59 w 65"/>
                        <a:gd name="T37" fmla="*/ 53 h 66"/>
                        <a:gd name="T38" fmla="*/ 63 w 65"/>
                        <a:gd name="T39" fmla="*/ 44 h 66"/>
                        <a:gd name="T40" fmla="*/ 65 w 65"/>
                        <a:gd name="T41" fmla="*/ 33 h 6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5"/>
                        <a:gd name="T64" fmla="*/ 0 h 66"/>
                        <a:gd name="T65" fmla="*/ 65 w 65"/>
                        <a:gd name="T66" fmla="*/ 66 h 66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5" h="66">
                          <a:moveTo>
                            <a:pt x="65" y="33"/>
                          </a:moveTo>
                          <a:lnTo>
                            <a:pt x="63" y="23"/>
                          </a:lnTo>
                          <a:lnTo>
                            <a:pt x="59" y="14"/>
                          </a:lnTo>
                          <a:lnTo>
                            <a:pt x="51" y="7"/>
                          </a:lnTo>
                          <a:lnTo>
                            <a:pt x="43" y="2"/>
                          </a:lnTo>
                          <a:lnTo>
                            <a:pt x="32" y="0"/>
                          </a:lnTo>
                          <a:lnTo>
                            <a:pt x="22" y="2"/>
                          </a:lnTo>
                          <a:lnTo>
                            <a:pt x="13" y="7"/>
                          </a:lnTo>
                          <a:lnTo>
                            <a:pt x="6" y="14"/>
                          </a:lnTo>
                          <a:lnTo>
                            <a:pt x="1" y="23"/>
                          </a:lnTo>
                          <a:lnTo>
                            <a:pt x="0" y="33"/>
                          </a:lnTo>
                          <a:lnTo>
                            <a:pt x="1" y="44"/>
                          </a:lnTo>
                          <a:lnTo>
                            <a:pt x="6" y="53"/>
                          </a:lnTo>
                          <a:lnTo>
                            <a:pt x="13" y="60"/>
                          </a:lnTo>
                          <a:lnTo>
                            <a:pt x="22" y="65"/>
                          </a:lnTo>
                          <a:lnTo>
                            <a:pt x="32" y="66"/>
                          </a:lnTo>
                          <a:lnTo>
                            <a:pt x="43" y="65"/>
                          </a:lnTo>
                          <a:lnTo>
                            <a:pt x="51" y="60"/>
                          </a:lnTo>
                          <a:lnTo>
                            <a:pt x="59" y="53"/>
                          </a:lnTo>
                          <a:lnTo>
                            <a:pt x="63" y="44"/>
                          </a:lnTo>
                          <a:lnTo>
                            <a:pt x="65" y="3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8" name="Freeform 135"/>
                    <p:cNvSpPr>
                      <a:spLocks/>
                    </p:cNvSpPr>
                    <p:nvPr/>
                  </p:nvSpPr>
                  <p:spPr bwMode="auto">
                    <a:xfrm>
                      <a:off x="4132" y="2924"/>
                      <a:ext cx="63" cy="63"/>
                    </a:xfrm>
                    <a:custGeom>
                      <a:avLst/>
                      <a:gdLst>
                        <a:gd name="T0" fmla="*/ 63 w 63"/>
                        <a:gd name="T1" fmla="*/ 31 h 63"/>
                        <a:gd name="T2" fmla="*/ 61 w 63"/>
                        <a:gd name="T3" fmla="*/ 21 h 63"/>
                        <a:gd name="T4" fmla="*/ 57 w 63"/>
                        <a:gd name="T5" fmla="*/ 13 h 63"/>
                        <a:gd name="T6" fmla="*/ 50 w 63"/>
                        <a:gd name="T7" fmla="*/ 6 h 63"/>
                        <a:gd name="T8" fmla="*/ 42 w 63"/>
                        <a:gd name="T9" fmla="*/ 2 h 63"/>
                        <a:gd name="T10" fmla="*/ 31 w 63"/>
                        <a:gd name="T11" fmla="*/ 0 h 63"/>
                        <a:gd name="T12" fmla="*/ 21 w 63"/>
                        <a:gd name="T13" fmla="*/ 2 h 63"/>
                        <a:gd name="T14" fmla="*/ 13 w 63"/>
                        <a:gd name="T15" fmla="*/ 6 h 63"/>
                        <a:gd name="T16" fmla="*/ 6 w 63"/>
                        <a:gd name="T17" fmla="*/ 13 h 63"/>
                        <a:gd name="T18" fmla="*/ 2 w 63"/>
                        <a:gd name="T19" fmla="*/ 21 h 63"/>
                        <a:gd name="T20" fmla="*/ 0 w 63"/>
                        <a:gd name="T21" fmla="*/ 31 h 63"/>
                        <a:gd name="T22" fmla="*/ 2 w 63"/>
                        <a:gd name="T23" fmla="*/ 42 h 63"/>
                        <a:gd name="T24" fmla="*/ 6 w 63"/>
                        <a:gd name="T25" fmla="*/ 50 h 63"/>
                        <a:gd name="T26" fmla="*/ 13 w 63"/>
                        <a:gd name="T27" fmla="*/ 57 h 63"/>
                        <a:gd name="T28" fmla="*/ 21 w 63"/>
                        <a:gd name="T29" fmla="*/ 61 h 63"/>
                        <a:gd name="T30" fmla="*/ 31 w 63"/>
                        <a:gd name="T31" fmla="*/ 63 h 63"/>
                        <a:gd name="T32" fmla="*/ 42 w 63"/>
                        <a:gd name="T33" fmla="*/ 61 h 63"/>
                        <a:gd name="T34" fmla="*/ 50 w 63"/>
                        <a:gd name="T35" fmla="*/ 57 h 63"/>
                        <a:gd name="T36" fmla="*/ 57 w 63"/>
                        <a:gd name="T37" fmla="*/ 50 h 63"/>
                        <a:gd name="T38" fmla="*/ 61 w 63"/>
                        <a:gd name="T39" fmla="*/ 42 h 63"/>
                        <a:gd name="T40" fmla="*/ 63 w 63"/>
                        <a:gd name="T41" fmla="*/ 31 h 63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3"/>
                        <a:gd name="T64" fmla="*/ 0 h 63"/>
                        <a:gd name="T65" fmla="*/ 63 w 63"/>
                        <a:gd name="T66" fmla="*/ 63 h 63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3" h="63">
                          <a:moveTo>
                            <a:pt x="63" y="31"/>
                          </a:moveTo>
                          <a:lnTo>
                            <a:pt x="61" y="21"/>
                          </a:lnTo>
                          <a:lnTo>
                            <a:pt x="57" y="13"/>
                          </a:lnTo>
                          <a:lnTo>
                            <a:pt x="50" y="6"/>
                          </a:lnTo>
                          <a:lnTo>
                            <a:pt x="42" y="2"/>
                          </a:lnTo>
                          <a:lnTo>
                            <a:pt x="31" y="0"/>
                          </a:lnTo>
                          <a:lnTo>
                            <a:pt x="21" y="2"/>
                          </a:lnTo>
                          <a:lnTo>
                            <a:pt x="13" y="6"/>
                          </a:lnTo>
                          <a:lnTo>
                            <a:pt x="6" y="13"/>
                          </a:lnTo>
                          <a:lnTo>
                            <a:pt x="2" y="21"/>
                          </a:lnTo>
                          <a:lnTo>
                            <a:pt x="0" y="31"/>
                          </a:lnTo>
                          <a:lnTo>
                            <a:pt x="2" y="42"/>
                          </a:lnTo>
                          <a:lnTo>
                            <a:pt x="6" y="50"/>
                          </a:lnTo>
                          <a:lnTo>
                            <a:pt x="13" y="57"/>
                          </a:lnTo>
                          <a:lnTo>
                            <a:pt x="21" y="61"/>
                          </a:lnTo>
                          <a:lnTo>
                            <a:pt x="31" y="63"/>
                          </a:lnTo>
                          <a:lnTo>
                            <a:pt x="42" y="61"/>
                          </a:lnTo>
                          <a:lnTo>
                            <a:pt x="50" y="57"/>
                          </a:lnTo>
                          <a:lnTo>
                            <a:pt x="57" y="50"/>
                          </a:lnTo>
                          <a:lnTo>
                            <a:pt x="61" y="42"/>
                          </a:lnTo>
                          <a:lnTo>
                            <a:pt x="63" y="31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79" name="Freeform 136"/>
                    <p:cNvSpPr>
                      <a:spLocks/>
                    </p:cNvSpPr>
                    <p:nvPr/>
                  </p:nvSpPr>
                  <p:spPr bwMode="auto">
                    <a:xfrm>
                      <a:off x="4132" y="2924"/>
                      <a:ext cx="63" cy="63"/>
                    </a:xfrm>
                    <a:custGeom>
                      <a:avLst/>
                      <a:gdLst>
                        <a:gd name="T0" fmla="*/ 63 w 63"/>
                        <a:gd name="T1" fmla="*/ 31 h 63"/>
                        <a:gd name="T2" fmla="*/ 61 w 63"/>
                        <a:gd name="T3" fmla="*/ 21 h 63"/>
                        <a:gd name="T4" fmla="*/ 57 w 63"/>
                        <a:gd name="T5" fmla="*/ 13 h 63"/>
                        <a:gd name="T6" fmla="*/ 50 w 63"/>
                        <a:gd name="T7" fmla="*/ 6 h 63"/>
                        <a:gd name="T8" fmla="*/ 42 w 63"/>
                        <a:gd name="T9" fmla="*/ 2 h 63"/>
                        <a:gd name="T10" fmla="*/ 31 w 63"/>
                        <a:gd name="T11" fmla="*/ 0 h 63"/>
                        <a:gd name="T12" fmla="*/ 21 w 63"/>
                        <a:gd name="T13" fmla="*/ 2 h 63"/>
                        <a:gd name="T14" fmla="*/ 13 w 63"/>
                        <a:gd name="T15" fmla="*/ 6 h 63"/>
                        <a:gd name="T16" fmla="*/ 6 w 63"/>
                        <a:gd name="T17" fmla="*/ 13 h 63"/>
                        <a:gd name="T18" fmla="*/ 2 w 63"/>
                        <a:gd name="T19" fmla="*/ 21 h 63"/>
                        <a:gd name="T20" fmla="*/ 0 w 63"/>
                        <a:gd name="T21" fmla="*/ 31 h 63"/>
                        <a:gd name="T22" fmla="*/ 2 w 63"/>
                        <a:gd name="T23" fmla="*/ 42 h 63"/>
                        <a:gd name="T24" fmla="*/ 6 w 63"/>
                        <a:gd name="T25" fmla="*/ 50 h 63"/>
                        <a:gd name="T26" fmla="*/ 13 w 63"/>
                        <a:gd name="T27" fmla="*/ 57 h 63"/>
                        <a:gd name="T28" fmla="*/ 21 w 63"/>
                        <a:gd name="T29" fmla="*/ 61 h 63"/>
                        <a:gd name="T30" fmla="*/ 31 w 63"/>
                        <a:gd name="T31" fmla="*/ 63 h 63"/>
                        <a:gd name="T32" fmla="*/ 42 w 63"/>
                        <a:gd name="T33" fmla="*/ 61 h 63"/>
                        <a:gd name="T34" fmla="*/ 50 w 63"/>
                        <a:gd name="T35" fmla="*/ 57 h 63"/>
                        <a:gd name="T36" fmla="*/ 57 w 63"/>
                        <a:gd name="T37" fmla="*/ 50 h 63"/>
                        <a:gd name="T38" fmla="*/ 61 w 63"/>
                        <a:gd name="T39" fmla="*/ 42 h 63"/>
                        <a:gd name="T40" fmla="*/ 63 w 63"/>
                        <a:gd name="T41" fmla="*/ 31 h 63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3"/>
                        <a:gd name="T64" fmla="*/ 0 h 63"/>
                        <a:gd name="T65" fmla="*/ 63 w 63"/>
                        <a:gd name="T66" fmla="*/ 63 h 63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3" h="63">
                          <a:moveTo>
                            <a:pt x="63" y="31"/>
                          </a:moveTo>
                          <a:lnTo>
                            <a:pt x="61" y="21"/>
                          </a:lnTo>
                          <a:lnTo>
                            <a:pt x="57" y="13"/>
                          </a:lnTo>
                          <a:lnTo>
                            <a:pt x="50" y="6"/>
                          </a:lnTo>
                          <a:lnTo>
                            <a:pt x="42" y="2"/>
                          </a:lnTo>
                          <a:lnTo>
                            <a:pt x="31" y="0"/>
                          </a:lnTo>
                          <a:lnTo>
                            <a:pt x="21" y="2"/>
                          </a:lnTo>
                          <a:lnTo>
                            <a:pt x="13" y="6"/>
                          </a:lnTo>
                          <a:lnTo>
                            <a:pt x="6" y="13"/>
                          </a:lnTo>
                          <a:lnTo>
                            <a:pt x="2" y="21"/>
                          </a:lnTo>
                          <a:lnTo>
                            <a:pt x="0" y="31"/>
                          </a:lnTo>
                          <a:lnTo>
                            <a:pt x="2" y="42"/>
                          </a:lnTo>
                          <a:lnTo>
                            <a:pt x="6" y="50"/>
                          </a:lnTo>
                          <a:lnTo>
                            <a:pt x="13" y="57"/>
                          </a:lnTo>
                          <a:lnTo>
                            <a:pt x="21" y="61"/>
                          </a:lnTo>
                          <a:lnTo>
                            <a:pt x="31" y="63"/>
                          </a:lnTo>
                          <a:lnTo>
                            <a:pt x="42" y="61"/>
                          </a:lnTo>
                          <a:lnTo>
                            <a:pt x="50" y="57"/>
                          </a:lnTo>
                          <a:lnTo>
                            <a:pt x="57" y="50"/>
                          </a:lnTo>
                          <a:lnTo>
                            <a:pt x="61" y="42"/>
                          </a:lnTo>
                          <a:lnTo>
                            <a:pt x="63" y="31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0" name="Freeform 137"/>
                    <p:cNvSpPr>
                      <a:spLocks/>
                    </p:cNvSpPr>
                    <p:nvPr/>
                  </p:nvSpPr>
                  <p:spPr bwMode="auto">
                    <a:xfrm>
                      <a:off x="4643" y="1077"/>
                      <a:ext cx="61" cy="61"/>
                    </a:xfrm>
                    <a:custGeom>
                      <a:avLst/>
                      <a:gdLst>
                        <a:gd name="T0" fmla="*/ 61 w 61"/>
                        <a:gd name="T1" fmla="*/ 30 h 61"/>
                        <a:gd name="T2" fmla="*/ 59 w 61"/>
                        <a:gd name="T3" fmla="*/ 20 h 61"/>
                        <a:gd name="T4" fmla="*/ 56 w 61"/>
                        <a:gd name="T5" fmla="*/ 12 h 61"/>
                        <a:gd name="T6" fmla="*/ 48 w 61"/>
                        <a:gd name="T7" fmla="*/ 5 h 61"/>
                        <a:gd name="T8" fmla="*/ 41 w 61"/>
                        <a:gd name="T9" fmla="*/ 1 h 61"/>
                        <a:gd name="T10" fmla="*/ 30 w 61"/>
                        <a:gd name="T11" fmla="*/ 0 h 61"/>
                        <a:gd name="T12" fmla="*/ 21 w 61"/>
                        <a:gd name="T13" fmla="*/ 1 h 61"/>
                        <a:gd name="T14" fmla="*/ 12 w 61"/>
                        <a:gd name="T15" fmla="*/ 5 h 61"/>
                        <a:gd name="T16" fmla="*/ 6 w 61"/>
                        <a:gd name="T17" fmla="*/ 12 h 61"/>
                        <a:gd name="T18" fmla="*/ 1 w 61"/>
                        <a:gd name="T19" fmla="*/ 20 h 61"/>
                        <a:gd name="T20" fmla="*/ 0 w 61"/>
                        <a:gd name="T21" fmla="*/ 30 h 61"/>
                        <a:gd name="T22" fmla="*/ 1 w 61"/>
                        <a:gd name="T23" fmla="*/ 41 h 61"/>
                        <a:gd name="T24" fmla="*/ 6 w 61"/>
                        <a:gd name="T25" fmla="*/ 48 h 61"/>
                        <a:gd name="T26" fmla="*/ 12 w 61"/>
                        <a:gd name="T27" fmla="*/ 56 h 61"/>
                        <a:gd name="T28" fmla="*/ 21 w 61"/>
                        <a:gd name="T29" fmla="*/ 59 h 61"/>
                        <a:gd name="T30" fmla="*/ 30 w 61"/>
                        <a:gd name="T31" fmla="*/ 61 h 61"/>
                        <a:gd name="T32" fmla="*/ 41 w 61"/>
                        <a:gd name="T33" fmla="*/ 59 h 61"/>
                        <a:gd name="T34" fmla="*/ 48 w 61"/>
                        <a:gd name="T35" fmla="*/ 56 h 61"/>
                        <a:gd name="T36" fmla="*/ 56 w 61"/>
                        <a:gd name="T37" fmla="*/ 48 h 61"/>
                        <a:gd name="T38" fmla="*/ 59 w 61"/>
                        <a:gd name="T39" fmla="*/ 41 h 61"/>
                        <a:gd name="T40" fmla="*/ 61 w 61"/>
                        <a:gd name="T41" fmla="*/ 30 h 61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1"/>
                        <a:gd name="T64" fmla="*/ 0 h 61"/>
                        <a:gd name="T65" fmla="*/ 61 w 61"/>
                        <a:gd name="T66" fmla="*/ 61 h 61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1" h="61">
                          <a:moveTo>
                            <a:pt x="61" y="30"/>
                          </a:moveTo>
                          <a:lnTo>
                            <a:pt x="59" y="20"/>
                          </a:lnTo>
                          <a:lnTo>
                            <a:pt x="56" y="12"/>
                          </a:lnTo>
                          <a:lnTo>
                            <a:pt x="48" y="5"/>
                          </a:lnTo>
                          <a:lnTo>
                            <a:pt x="41" y="1"/>
                          </a:lnTo>
                          <a:lnTo>
                            <a:pt x="30" y="0"/>
                          </a:lnTo>
                          <a:lnTo>
                            <a:pt x="21" y="1"/>
                          </a:lnTo>
                          <a:lnTo>
                            <a:pt x="12" y="5"/>
                          </a:lnTo>
                          <a:lnTo>
                            <a:pt x="6" y="12"/>
                          </a:lnTo>
                          <a:lnTo>
                            <a:pt x="1" y="20"/>
                          </a:lnTo>
                          <a:lnTo>
                            <a:pt x="0" y="30"/>
                          </a:lnTo>
                          <a:lnTo>
                            <a:pt x="1" y="41"/>
                          </a:lnTo>
                          <a:lnTo>
                            <a:pt x="6" y="48"/>
                          </a:lnTo>
                          <a:lnTo>
                            <a:pt x="12" y="56"/>
                          </a:lnTo>
                          <a:lnTo>
                            <a:pt x="21" y="59"/>
                          </a:lnTo>
                          <a:lnTo>
                            <a:pt x="30" y="61"/>
                          </a:lnTo>
                          <a:lnTo>
                            <a:pt x="41" y="59"/>
                          </a:lnTo>
                          <a:lnTo>
                            <a:pt x="48" y="56"/>
                          </a:lnTo>
                          <a:lnTo>
                            <a:pt x="56" y="48"/>
                          </a:lnTo>
                          <a:lnTo>
                            <a:pt x="59" y="41"/>
                          </a:lnTo>
                          <a:lnTo>
                            <a:pt x="61" y="3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1" name="Freeform 138"/>
                    <p:cNvSpPr>
                      <a:spLocks/>
                    </p:cNvSpPr>
                    <p:nvPr/>
                  </p:nvSpPr>
                  <p:spPr bwMode="auto">
                    <a:xfrm>
                      <a:off x="4643" y="1077"/>
                      <a:ext cx="61" cy="61"/>
                    </a:xfrm>
                    <a:custGeom>
                      <a:avLst/>
                      <a:gdLst>
                        <a:gd name="T0" fmla="*/ 61 w 61"/>
                        <a:gd name="T1" fmla="*/ 30 h 61"/>
                        <a:gd name="T2" fmla="*/ 59 w 61"/>
                        <a:gd name="T3" fmla="*/ 20 h 61"/>
                        <a:gd name="T4" fmla="*/ 56 w 61"/>
                        <a:gd name="T5" fmla="*/ 12 h 61"/>
                        <a:gd name="T6" fmla="*/ 48 w 61"/>
                        <a:gd name="T7" fmla="*/ 5 h 61"/>
                        <a:gd name="T8" fmla="*/ 41 w 61"/>
                        <a:gd name="T9" fmla="*/ 1 h 61"/>
                        <a:gd name="T10" fmla="*/ 30 w 61"/>
                        <a:gd name="T11" fmla="*/ 0 h 61"/>
                        <a:gd name="T12" fmla="*/ 21 w 61"/>
                        <a:gd name="T13" fmla="*/ 1 h 61"/>
                        <a:gd name="T14" fmla="*/ 12 w 61"/>
                        <a:gd name="T15" fmla="*/ 5 h 61"/>
                        <a:gd name="T16" fmla="*/ 6 w 61"/>
                        <a:gd name="T17" fmla="*/ 12 h 61"/>
                        <a:gd name="T18" fmla="*/ 1 w 61"/>
                        <a:gd name="T19" fmla="*/ 20 h 61"/>
                        <a:gd name="T20" fmla="*/ 0 w 61"/>
                        <a:gd name="T21" fmla="*/ 30 h 61"/>
                        <a:gd name="T22" fmla="*/ 1 w 61"/>
                        <a:gd name="T23" fmla="*/ 41 h 61"/>
                        <a:gd name="T24" fmla="*/ 6 w 61"/>
                        <a:gd name="T25" fmla="*/ 48 h 61"/>
                        <a:gd name="T26" fmla="*/ 12 w 61"/>
                        <a:gd name="T27" fmla="*/ 56 h 61"/>
                        <a:gd name="T28" fmla="*/ 21 w 61"/>
                        <a:gd name="T29" fmla="*/ 59 h 61"/>
                        <a:gd name="T30" fmla="*/ 30 w 61"/>
                        <a:gd name="T31" fmla="*/ 61 h 61"/>
                        <a:gd name="T32" fmla="*/ 41 w 61"/>
                        <a:gd name="T33" fmla="*/ 59 h 61"/>
                        <a:gd name="T34" fmla="*/ 48 w 61"/>
                        <a:gd name="T35" fmla="*/ 56 h 61"/>
                        <a:gd name="T36" fmla="*/ 56 w 61"/>
                        <a:gd name="T37" fmla="*/ 48 h 61"/>
                        <a:gd name="T38" fmla="*/ 59 w 61"/>
                        <a:gd name="T39" fmla="*/ 41 h 61"/>
                        <a:gd name="T40" fmla="*/ 61 w 61"/>
                        <a:gd name="T41" fmla="*/ 30 h 61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1"/>
                        <a:gd name="T64" fmla="*/ 0 h 61"/>
                        <a:gd name="T65" fmla="*/ 61 w 61"/>
                        <a:gd name="T66" fmla="*/ 61 h 61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1" h="61">
                          <a:moveTo>
                            <a:pt x="61" y="30"/>
                          </a:moveTo>
                          <a:lnTo>
                            <a:pt x="59" y="20"/>
                          </a:lnTo>
                          <a:lnTo>
                            <a:pt x="56" y="12"/>
                          </a:lnTo>
                          <a:lnTo>
                            <a:pt x="48" y="5"/>
                          </a:lnTo>
                          <a:lnTo>
                            <a:pt x="41" y="1"/>
                          </a:lnTo>
                          <a:lnTo>
                            <a:pt x="30" y="0"/>
                          </a:lnTo>
                          <a:lnTo>
                            <a:pt x="21" y="1"/>
                          </a:lnTo>
                          <a:lnTo>
                            <a:pt x="12" y="5"/>
                          </a:lnTo>
                          <a:lnTo>
                            <a:pt x="6" y="12"/>
                          </a:lnTo>
                          <a:lnTo>
                            <a:pt x="1" y="20"/>
                          </a:lnTo>
                          <a:lnTo>
                            <a:pt x="0" y="30"/>
                          </a:lnTo>
                          <a:lnTo>
                            <a:pt x="1" y="41"/>
                          </a:lnTo>
                          <a:lnTo>
                            <a:pt x="6" y="48"/>
                          </a:lnTo>
                          <a:lnTo>
                            <a:pt x="12" y="56"/>
                          </a:lnTo>
                          <a:lnTo>
                            <a:pt x="21" y="59"/>
                          </a:lnTo>
                          <a:lnTo>
                            <a:pt x="30" y="61"/>
                          </a:lnTo>
                          <a:lnTo>
                            <a:pt x="41" y="59"/>
                          </a:lnTo>
                          <a:lnTo>
                            <a:pt x="48" y="56"/>
                          </a:lnTo>
                          <a:lnTo>
                            <a:pt x="56" y="48"/>
                          </a:lnTo>
                          <a:lnTo>
                            <a:pt x="59" y="41"/>
                          </a:lnTo>
                          <a:lnTo>
                            <a:pt x="61" y="3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2" name="Freeform 139"/>
                    <p:cNvSpPr>
                      <a:spLocks/>
                    </p:cNvSpPr>
                    <p:nvPr/>
                  </p:nvSpPr>
                  <p:spPr bwMode="auto">
                    <a:xfrm>
                      <a:off x="4316" y="2973"/>
                      <a:ext cx="59" cy="59"/>
                    </a:xfrm>
                    <a:custGeom>
                      <a:avLst/>
                      <a:gdLst>
                        <a:gd name="T0" fmla="*/ 59 w 59"/>
                        <a:gd name="T1" fmla="*/ 30 h 59"/>
                        <a:gd name="T2" fmla="*/ 56 w 59"/>
                        <a:gd name="T3" fmla="*/ 18 h 59"/>
                        <a:gd name="T4" fmla="*/ 50 w 59"/>
                        <a:gd name="T5" fmla="*/ 8 h 59"/>
                        <a:gd name="T6" fmla="*/ 41 w 59"/>
                        <a:gd name="T7" fmla="*/ 2 h 59"/>
                        <a:gd name="T8" fmla="*/ 29 w 59"/>
                        <a:gd name="T9" fmla="*/ 0 h 59"/>
                        <a:gd name="T10" fmla="*/ 18 w 59"/>
                        <a:gd name="T11" fmla="*/ 2 h 59"/>
                        <a:gd name="T12" fmla="*/ 9 w 59"/>
                        <a:gd name="T13" fmla="*/ 8 h 59"/>
                        <a:gd name="T14" fmla="*/ 2 w 59"/>
                        <a:gd name="T15" fmla="*/ 18 h 59"/>
                        <a:gd name="T16" fmla="*/ 0 w 59"/>
                        <a:gd name="T17" fmla="*/ 30 h 59"/>
                        <a:gd name="T18" fmla="*/ 2 w 59"/>
                        <a:gd name="T19" fmla="*/ 41 h 59"/>
                        <a:gd name="T20" fmla="*/ 9 w 59"/>
                        <a:gd name="T21" fmla="*/ 50 h 59"/>
                        <a:gd name="T22" fmla="*/ 18 w 59"/>
                        <a:gd name="T23" fmla="*/ 56 h 59"/>
                        <a:gd name="T24" fmla="*/ 29 w 59"/>
                        <a:gd name="T25" fmla="*/ 59 h 59"/>
                        <a:gd name="T26" fmla="*/ 41 w 59"/>
                        <a:gd name="T27" fmla="*/ 56 h 59"/>
                        <a:gd name="T28" fmla="*/ 50 w 59"/>
                        <a:gd name="T29" fmla="*/ 50 h 59"/>
                        <a:gd name="T30" fmla="*/ 56 w 59"/>
                        <a:gd name="T31" fmla="*/ 41 h 59"/>
                        <a:gd name="T32" fmla="*/ 59 w 59"/>
                        <a:gd name="T33" fmla="*/ 30 h 59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9"/>
                        <a:gd name="T52" fmla="*/ 0 h 59"/>
                        <a:gd name="T53" fmla="*/ 59 w 59"/>
                        <a:gd name="T54" fmla="*/ 59 h 59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9" h="59">
                          <a:moveTo>
                            <a:pt x="59" y="30"/>
                          </a:moveTo>
                          <a:lnTo>
                            <a:pt x="56" y="18"/>
                          </a:lnTo>
                          <a:lnTo>
                            <a:pt x="50" y="8"/>
                          </a:lnTo>
                          <a:lnTo>
                            <a:pt x="41" y="2"/>
                          </a:lnTo>
                          <a:lnTo>
                            <a:pt x="29" y="0"/>
                          </a:lnTo>
                          <a:lnTo>
                            <a:pt x="18" y="2"/>
                          </a:lnTo>
                          <a:lnTo>
                            <a:pt x="9" y="8"/>
                          </a:lnTo>
                          <a:lnTo>
                            <a:pt x="2" y="18"/>
                          </a:lnTo>
                          <a:lnTo>
                            <a:pt x="0" y="30"/>
                          </a:lnTo>
                          <a:lnTo>
                            <a:pt x="2" y="41"/>
                          </a:lnTo>
                          <a:lnTo>
                            <a:pt x="9" y="50"/>
                          </a:lnTo>
                          <a:lnTo>
                            <a:pt x="18" y="56"/>
                          </a:lnTo>
                          <a:lnTo>
                            <a:pt x="29" y="59"/>
                          </a:lnTo>
                          <a:lnTo>
                            <a:pt x="41" y="56"/>
                          </a:lnTo>
                          <a:lnTo>
                            <a:pt x="50" y="50"/>
                          </a:lnTo>
                          <a:lnTo>
                            <a:pt x="56" y="41"/>
                          </a:lnTo>
                          <a:lnTo>
                            <a:pt x="59" y="3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3" name="Freeform 140"/>
                    <p:cNvSpPr>
                      <a:spLocks/>
                    </p:cNvSpPr>
                    <p:nvPr/>
                  </p:nvSpPr>
                  <p:spPr bwMode="auto">
                    <a:xfrm>
                      <a:off x="4316" y="2973"/>
                      <a:ext cx="59" cy="59"/>
                    </a:xfrm>
                    <a:custGeom>
                      <a:avLst/>
                      <a:gdLst>
                        <a:gd name="T0" fmla="*/ 59 w 59"/>
                        <a:gd name="T1" fmla="*/ 30 h 59"/>
                        <a:gd name="T2" fmla="*/ 56 w 59"/>
                        <a:gd name="T3" fmla="*/ 18 h 59"/>
                        <a:gd name="T4" fmla="*/ 50 w 59"/>
                        <a:gd name="T5" fmla="*/ 8 h 59"/>
                        <a:gd name="T6" fmla="*/ 41 w 59"/>
                        <a:gd name="T7" fmla="*/ 2 h 59"/>
                        <a:gd name="T8" fmla="*/ 29 w 59"/>
                        <a:gd name="T9" fmla="*/ 0 h 59"/>
                        <a:gd name="T10" fmla="*/ 18 w 59"/>
                        <a:gd name="T11" fmla="*/ 2 h 59"/>
                        <a:gd name="T12" fmla="*/ 9 w 59"/>
                        <a:gd name="T13" fmla="*/ 8 h 59"/>
                        <a:gd name="T14" fmla="*/ 2 w 59"/>
                        <a:gd name="T15" fmla="*/ 18 h 59"/>
                        <a:gd name="T16" fmla="*/ 0 w 59"/>
                        <a:gd name="T17" fmla="*/ 30 h 59"/>
                        <a:gd name="T18" fmla="*/ 2 w 59"/>
                        <a:gd name="T19" fmla="*/ 41 h 59"/>
                        <a:gd name="T20" fmla="*/ 9 w 59"/>
                        <a:gd name="T21" fmla="*/ 50 h 59"/>
                        <a:gd name="T22" fmla="*/ 18 w 59"/>
                        <a:gd name="T23" fmla="*/ 56 h 59"/>
                        <a:gd name="T24" fmla="*/ 29 w 59"/>
                        <a:gd name="T25" fmla="*/ 59 h 59"/>
                        <a:gd name="T26" fmla="*/ 41 w 59"/>
                        <a:gd name="T27" fmla="*/ 56 h 59"/>
                        <a:gd name="T28" fmla="*/ 50 w 59"/>
                        <a:gd name="T29" fmla="*/ 50 h 59"/>
                        <a:gd name="T30" fmla="*/ 56 w 59"/>
                        <a:gd name="T31" fmla="*/ 41 h 59"/>
                        <a:gd name="T32" fmla="*/ 59 w 59"/>
                        <a:gd name="T33" fmla="*/ 30 h 59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9"/>
                        <a:gd name="T52" fmla="*/ 0 h 59"/>
                        <a:gd name="T53" fmla="*/ 59 w 59"/>
                        <a:gd name="T54" fmla="*/ 59 h 59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9" h="59">
                          <a:moveTo>
                            <a:pt x="59" y="30"/>
                          </a:moveTo>
                          <a:lnTo>
                            <a:pt x="56" y="18"/>
                          </a:lnTo>
                          <a:lnTo>
                            <a:pt x="50" y="8"/>
                          </a:lnTo>
                          <a:lnTo>
                            <a:pt x="41" y="2"/>
                          </a:lnTo>
                          <a:lnTo>
                            <a:pt x="29" y="0"/>
                          </a:lnTo>
                          <a:lnTo>
                            <a:pt x="18" y="2"/>
                          </a:lnTo>
                          <a:lnTo>
                            <a:pt x="9" y="8"/>
                          </a:lnTo>
                          <a:lnTo>
                            <a:pt x="2" y="18"/>
                          </a:lnTo>
                          <a:lnTo>
                            <a:pt x="0" y="30"/>
                          </a:lnTo>
                          <a:lnTo>
                            <a:pt x="2" y="41"/>
                          </a:lnTo>
                          <a:lnTo>
                            <a:pt x="9" y="50"/>
                          </a:lnTo>
                          <a:lnTo>
                            <a:pt x="18" y="56"/>
                          </a:lnTo>
                          <a:lnTo>
                            <a:pt x="29" y="59"/>
                          </a:lnTo>
                          <a:lnTo>
                            <a:pt x="41" y="56"/>
                          </a:lnTo>
                          <a:lnTo>
                            <a:pt x="50" y="50"/>
                          </a:lnTo>
                          <a:lnTo>
                            <a:pt x="56" y="41"/>
                          </a:lnTo>
                          <a:lnTo>
                            <a:pt x="59" y="3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4" name="Freeform 141"/>
                    <p:cNvSpPr>
                      <a:spLocks/>
                    </p:cNvSpPr>
                    <p:nvPr/>
                  </p:nvSpPr>
                  <p:spPr bwMode="auto">
                    <a:xfrm>
                      <a:off x="4541" y="2178"/>
                      <a:ext cx="59" cy="59"/>
                    </a:xfrm>
                    <a:custGeom>
                      <a:avLst/>
                      <a:gdLst>
                        <a:gd name="T0" fmla="*/ 59 w 59"/>
                        <a:gd name="T1" fmla="*/ 30 h 59"/>
                        <a:gd name="T2" fmla="*/ 57 w 59"/>
                        <a:gd name="T3" fmla="*/ 18 h 59"/>
                        <a:gd name="T4" fmla="*/ 51 w 59"/>
                        <a:gd name="T5" fmla="*/ 9 h 59"/>
                        <a:gd name="T6" fmla="*/ 41 w 59"/>
                        <a:gd name="T7" fmla="*/ 3 h 59"/>
                        <a:gd name="T8" fmla="*/ 29 w 59"/>
                        <a:gd name="T9" fmla="*/ 0 h 59"/>
                        <a:gd name="T10" fmla="*/ 18 w 59"/>
                        <a:gd name="T11" fmla="*/ 3 h 59"/>
                        <a:gd name="T12" fmla="*/ 9 w 59"/>
                        <a:gd name="T13" fmla="*/ 9 h 59"/>
                        <a:gd name="T14" fmla="*/ 3 w 59"/>
                        <a:gd name="T15" fmla="*/ 18 h 59"/>
                        <a:gd name="T16" fmla="*/ 0 w 59"/>
                        <a:gd name="T17" fmla="*/ 30 h 59"/>
                        <a:gd name="T18" fmla="*/ 3 w 59"/>
                        <a:gd name="T19" fmla="*/ 41 h 59"/>
                        <a:gd name="T20" fmla="*/ 9 w 59"/>
                        <a:gd name="T21" fmla="*/ 51 h 59"/>
                        <a:gd name="T22" fmla="*/ 18 w 59"/>
                        <a:gd name="T23" fmla="*/ 57 h 59"/>
                        <a:gd name="T24" fmla="*/ 29 w 59"/>
                        <a:gd name="T25" fmla="*/ 59 h 59"/>
                        <a:gd name="T26" fmla="*/ 41 w 59"/>
                        <a:gd name="T27" fmla="*/ 57 h 59"/>
                        <a:gd name="T28" fmla="*/ 51 w 59"/>
                        <a:gd name="T29" fmla="*/ 51 h 59"/>
                        <a:gd name="T30" fmla="*/ 57 w 59"/>
                        <a:gd name="T31" fmla="*/ 41 h 59"/>
                        <a:gd name="T32" fmla="*/ 59 w 59"/>
                        <a:gd name="T33" fmla="*/ 30 h 59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9"/>
                        <a:gd name="T52" fmla="*/ 0 h 59"/>
                        <a:gd name="T53" fmla="*/ 59 w 59"/>
                        <a:gd name="T54" fmla="*/ 59 h 59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9" h="59">
                          <a:moveTo>
                            <a:pt x="59" y="30"/>
                          </a:moveTo>
                          <a:lnTo>
                            <a:pt x="57" y="18"/>
                          </a:lnTo>
                          <a:lnTo>
                            <a:pt x="51" y="9"/>
                          </a:lnTo>
                          <a:lnTo>
                            <a:pt x="41" y="3"/>
                          </a:lnTo>
                          <a:lnTo>
                            <a:pt x="29" y="0"/>
                          </a:lnTo>
                          <a:lnTo>
                            <a:pt x="18" y="3"/>
                          </a:lnTo>
                          <a:lnTo>
                            <a:pt x="9" y="9"/>
                          </a:lnTo>
                          <a:lnTo>
                            <a:pt x="3" y="18"/>
                          </a:lnTo>
                          <a:lnTo>
                            <a:pt x="0" y="30"/>
                          </a:lnTo>
                          <a:lnTo>
                            <a:pt x="3" y="41"/>
                          </a:lnTo>
                          <a:lnTo>
                            <a:pt x="9" y="51"/>
                          </a:lnTo>
                          <a:lnTo>
                            <a:pt x="18" y="57"/>
                          </a:lnTo>
                          <a:lnTo>
                            <a:pt x="29" y="59"/>
                          </a:lnTo>
                          <a:lnTo>
                            <a:pt x="41" y="57"/>
                          </a:lnTo>
                          <a:lnTo>
                            <a:pt x="51" y="51"/>
                          </a:lnTo>
                          <a:lnTo>
                            <a:pt x="57" y="41"/>
                          </a:lnTo>
                          <a:lnTo>
                            <a:pt x="59" y="3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5" name="Freeform 142"/>
                    <p:cNvSpPr>
                      <a:spLocks/>
                    </p:cNvSpPr>
                    <p:nvPr/>
                  </p:nvSpPr>
                  <p:spPr bwMode="auto">
                    <a:xfrm>
                      <a:off x="4541" y="2178"/>
                      <a:ext cx="59" cy="59"/>
                    </a:xfrm>
                    <a:custGeom>
                      <a:avLst/>
                      <a:gdLst>
                        <a:gd name="T0" fmla="*/ 59 w 59"/>
                        <a:gd name="T1" fmla="*/ 30 h 59"/>
                        <a:gd name="T2" fmla="*/ 57 w 59"/>
                        <a:gd name="T3" fmla="*/ 18 h 59"/>
                        <a:gd name="T4" fmla="*/ 51 w 59"/>
                        <a:gd name="T5" fmla="*/ 9 h 59"/>
                        <a:gd name="T6" fmla="*/ 41 w 59"/>
                        <a:gd name="T7" fmla="*/ 3 h 59"/>
                        <a:gd name="T8" fmla="*/ 29 w 59"/>
                        <a:gd name="T9" fmla="*/ 0 h 59"/>
                        <a:gd name="T10" fmla="*/ 18 w 59"/>
                        <a:gd name="T11" fmla="*/ 3 h 59"/>
                        <a:gd name="T12" fmla="*/ 9 w 59"/>
                        <a:gd name="T13" fmla="*/ 9 h 59"/>
                        <a:gd name="T14" fmla="*/ 3 w 59"/>
                        <a:gd name="T15" fmla="*/ 18 h 59"/>
                        <a:gd name="T16" fmla="*/ 0 w 59"/>
                        <a:gd name="T17" fmla="*/ 30 h 59"/>
                        <a:gd name="T18" fmla="*/ 3 w 59"/>
                        <a:gd name="T19" fmla="*/ 41 h 59"/>
                        <a:gd name="T20" fmla="*/ 9 w 59"/>
                        <a:gd name="T21" fmla="*/ 51 h 59"/>
                        <a:gd name="T22" fmla="*/ 18 w 59"/>
                        <a:gd name="T23" fmla="*/ 57 h 59"/>
                        <a:gd name="T24" fmla="*/ 29 w 59"/>
                        <a:gd name="T25" fmla="*/ 59 h 59"/>
                        <a:gd name="T26" fmla="*/ 41 w 59"/>
                        <a:gd name="T27" fmla="*/ 57 h 59"/>
                        <a:gd name="T28" fmla="*/ 51 w 59"/>
                        <a:gd name="T29" fmla="*/ 51 h 59"/>
                        <a:gd name="T30" fmla="*/ 57 w 59"/>
                        <a:gd name="T31" fmla="*/ 41 h 59"/>
                        <a:gd name="T32" fmla="*/ 59 w 59"/>
                        <a:gd name="T33" fmla="*/ 30 h 59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9"/>
                        <a:gd name="T52" fmla="*/ 0 h 59"/>
                        <a:gd name="T53" fmla="*/ 59 w 59"/>
                        <a:gd name="T54" fmla="*/ 59 h 59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9" h="59">
                          <a:moveTo>
                            <a:pt x="59" y="30"/>
                          </a:moveTo>
                          <a:lnTo>
                            <a:pt x="57" y="18"/>
                          </a:lnTo>
                          <a:lnTo>
                            <a:pt x="51" y="9"/>
                          </a:lnTo>
                          <a:lnTo>
                            <a:pt x="41" y="3"/>
                          </a:lnTo>
                          <a:lnTo>
                            <a:pt x="29" y="0"/>
                          </a:lnTo>
                          <a:lnTo>
                            <a:pt x="18" y="3"/>
                          </a:lnTo>
                          <a:lnTo>
                            <a:pt x="9" y="9"/>
                          </a:lnTo>
                          <a:lnTo>
                            <a:pt x="3" y="18"/>
                          </a:lnTo>
                          <a:lnTo>
                            <a:pt x="0" y="30"/>
                          </a:lnTo>
                          <a:lnTo>
                            <a:pt x="3" y="41"/>
                          </a:lnTo>
                          <a:lnTo>
                            <a:pt x="9" y="51"/>
                          </a:lnTo>
                          <a:lnTo>
                            <a:pt x="18" y="57"/>
                          </a:lnTo>
                          <a:lnTo>
                            <a:pt x="29" y="59"/>
                          </a:lnTo>
                          <a:lnTo>
                            <a:pt x="41" y="57"/>
                          </a:lnTo>
                          <a:lnTo>
                            <a:pt x="51" y="51"/>
                          </a:lnTo>
                          <a:lnTo>
                            <a:pt x="57" y="41"/>
                          </a:lnTo>
                          <a:lnTo>
                            <a:pt x="59" y="3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6" name="Freeform 143"/>
                    <p:cNvSpPr>
                      <a:spLocks/>
                    </p:cNvSpPr>
                    <p:nvPr/>
                  </p:nvSpPr>
                  <p:spPr bwMode="auto">
                    <a:xfrm>
                      <a:off x="3753" y="2728"/>
                      <a:ext cx="58" cy="58"/>
                    </a:xfrm>
                    <a:custGeom>
                      <a:avLst/>
                      <a:gdLst>
                        <a:gd name="T0" fmla="*/ 58 w 58"/>
                        <a:gd name="T1" fmla="*/ 29 h 58"/>
                        <a:gd name="T2" fmla="*/ 56 w 58"/>
                        <a:gd name="T3" fmla="*/ 20 h 58"/>
                        <a:gd name="T4" fmla="*/ 52 w 58"/>
                        <a:gd name="T5" fmla="*/ 12 h 58"/>
                        <a:gd name="T6" fmla="*/ 46 w 58"/>
                        <a:gd name="T7" fmla="*/ 6 h 58"/>
                        <a:gd name="T8" fmla="*/ 38 w 58"/>
                        <a:gd name="T9" fmla="*/ 2 h 58"/>
                        <a:gd name="T10" fmla="*/ 29 w 58"/>
                        <a:gd name="T11" fmla="*/ 0 h 58"/>
                        <a:gd name="T12" fmla="*/ 17 w 58"/>
                        <a:gd name="T13" fmla="*/ 3 h 58"/>
                        <a:gd name="T14" fmla="*/ 8 w 58"/>
                        <a:gd name="T15" fmla="*/ 9 h 58"/>
                        <a:gd name="T16" fmla="*/ 2 w 58"/>
                        <a:gd name="T17" fmla="*/ 18 h 58"/>
                        <a:gd name="T18" fmla="*/ 0 w 58"/>
                        <a:gd name="T19" fmla="*/ 29 h 58"/>
                        <a:gd name="T20" fmla="*/ 1 w 58"/>
                        <a:gd name="T21" fmla="*/ 39 h 58"/>
                        <a:gd name="T22" fmla="*/ 5 w 58"/>
                        <a:gd name="T23" fmla="*/ 47 h 58"/>
                        <a:gd name="T24" fmla="*/ 11 w 58"/>
                        <a:gd name="T25" fmla="*/ 53 h 58"/>
                        <a:gd name="T26" fmla="*/ 19 w 58"/>
                        <a:gd name="T27" fmla="*/ 57 h 58"/>
                        <a:gd name="T28" fmla="*/ 29 w 58"/>
                        <a:gd name="T29" fmla="*/ 58 h 58"/>
                        <a:gd name="T30" fmla="*/ 40 w 58"/>
                        <a:gd name="T31" fmla="*/ 56 h 58"/>
                        <a:gd name="T32" fmla="*/ 49 w 58"/>
                        <a:gd name="T33" fmla="*/ 50 h 58"/>
                        <a:gd name="T34" fmla="*/ 55 w 58"/>
                        <a:gd name="T35" fmla="*/ 40 h 58"/>
                        <a:gd name="T36" fmla="*/ 58 w 58"/>
                        <a:gd name="T37" fmla="*/ 29 h 58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58"/>
                        <a:gd name="T58" fmla="*/ 0 h 58"/>
                        <a:gd name="T59" fmla="*/ 58 w 58"/>
                        <a:gd name="T60" fmla="*/ 58 h 58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58" h="58">
                          <a:moveTo>
                            <a:pt x="58" y="29"/>
                          </a:moveTo>
                          <a:lnTo>
                            <a:pt x="56" y="20"/>
                          </a:lnTo>
                          <a:lnTo>
                            <a:pt x="52" y="12"/>
                          </a:lnTo>
                          <a:lnTo>
                            <a:pt x="46" y="6"/>
                          </a:lnTo>
                          <a:lnTo>
                            <a:pt x="38" y="2"/>
                          </a:lnTo>
                          <a:lnTo>
                            <a:pt x="29" y="0"/>
                          </a:lnTo>
                          <a:lnTo>
                            <a:pt x="17" y="3"/>
                          </a:lnTo>
                          <a:lnTo>
                            <a:pt x="8" y="9"/>
                          </a:lnTo>
                          <a:lnTo>
                            <a:pt x="2" y="18"/>
                          </a:lnTo>
                          <a:lnTo>
                            <a:pt x="0" y="29"/>
                          </a:lnTo>
                          <a:lnTo>
                            <a:pt x="1" y="39"/>
                          </a:lnTo>
                          <a:lnTo>
                            <a:pt x="5" y="47"/>
                          </a:lnTo>
                          <a:lnTo>
                            <a:pt x="11" y="53"/>
                          </a:lnTo>
                          <a:lnTo>
                            <a:pt x="19" y="57"/>
                          </a:lnTo>
                          <a:lnTo>
                            <a:pt x="29" y="58"/>
                          </a:lnTo>
                          <a:lnTo>
                            <a:pt x="40" y="56"/>
                          </a:lnTo>
                          <a:lnTo>
                            <a:pt x="49" y="50"/>
                          </a:lnTo>
                          <a:lnTo>
                            <a:pt x="55" y="40"/>
                          </a:lnTo>
                          <a:lnTo>
                            <a:pt x="58" y="29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7" name="Freeform 144"/>
                    <p:cNvSpPr>
                      <a:spLocks/>
                    </p:cNvSpPr>
                    <p:nvPr/>
                  </p:nvSpPr>
                  <p:spPr bwMode="auto">
                    <a:xfrm>
                      <a:off x="3753" y="2728"/>
                      <a:ext cx="58" cy="58"/>
                    </a:xfrm>
                    <a:custGeom>
                      <a:avLst/>
                      <a:gdLst>
                        <a:gd name="T0" fmla="*/ 58 w 58"/>
                        <a:gd name="T1" fmla="*/ 29 h 58"/>
                        <a:gd name="T2" fmla="*/ 56 w 58"/>
                        <a:gd name="T3" fmla="*/ 20 h 58"/>
                        <a:gd name="T4" fmla="*/ 52 w 58"/>
                        <a:gd name="T5" fmla="*/ 12 h 58"/>
                        <a:gd name="T6" fmla="*/ 46 w 58"/>
                        <a:gd name="T7" fmla="*/ 6 h 58"/>
                        <a:gd name="T8" fmla="*/ 38 w 58"/>
                        <a:gd name="T9" fmla="*/ 2 h 58"/>
                        <a:gd name="T10" fmla="*/ 29 w 58"/>
                        <a:gd name="T11" fmla="*/ 0 h 58"/>
                        <a:gd name="T12" fmla="*/ 17 w 58"/>
                        <a:gd name="T13" fmla="*/ 3 h 58"/>
                        <a:gd name="T14" fmla="*/ 8 w 58"/>
                        <a:gd name="T15" fmla="*/ 9 h 58"/>
                        <a:gd name="T16" fmla="*/ 2 w 58"/>
                        <a:gd name="T17" fmla="*/ 18 h 58"/>
                        <a:gd name="T18" fmla="*/ 0 w 58"/>
                        <a:gd name="T19" fmla="*/ 29 h 58"/>
                        <a:gd name="T20" fmla="*/ 1 w 58"/>
                        <a:gd name="T21" fmla="*/ 39 h 58"/>
                        <a:gd name="T22" fmla="*/ 5 w 58"/>
                        <a:gd name="T23" fmla="*/ 47 h 58"/>
                        <a:gd name="T24" fmla="*/ 11 w 58"/>
                        <a:gd name="T25" fmla="*/ 53 h 58"/>
                        <a:gd name="T26" fmla="*/ 19 w 58"/>
                        <a:gd name="T27" fmla="*/ 57 h 58"/>
                        <a:gd name="T28" fmla="*/ 29 w 58"/>
                        <a:gd name="T29" fmla="*/ 58 h 58"/>
                        <a:gd name="T30" fmla="*/ 40 w 58"/>
                        <a:gd name="T31" fmla="*/ 56 h 58"/>
                        <a:gd name="T32" fmla="*/ 49 w 58"/>
                        <a:gd name="T33" fmla="*/ 50 h 58"/>
                        <a:gd name="T34" fmla="*/ 55 w 58"/>
                        <a:gd name="T35" fmla="*/ 40 h 58"/>
                        <a:gd name="T36" fmla="*/ 58 w 58"/>
                        <a:gd name="T37" fmla="*/ 29 h 58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58"/>
                        <a:gd name="T58" fmla="*/ 0 h 58"/>
                        <a:gd name="T59" fmla="*/ 58 w 58"/>
                        <a:gd name="T60" fmla="*/ 58 h 58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58" h="58">
                          <a:moveTo>
                            <a:pt x="58" y="29"/>
                          </a:moveTo>
                          <a:lnTo>
                            <a:pt x="56" y="20"/>
                          </a:lnTo>
                          <a:lnTo>
                            <a:pt x="52" y="12"/>
                          </a:lnTo>
                          <a:lnTo>
                            <a:pt x="46" y="6"/>
                          </a:lnTo>
                          <a:lnTo>
                            <a:pt x="38" y="2"/>
                          </a:lnTo>
                          <a:lnTo>
                            <a:pt x="29" y="0"/>
                          </a:lnTo>
                          <a:lnTo>
                            <a:pt x="17" y="3"/>
                          </a:lnTo>
                          <a:lnTo>
                            <a:pt x="8" y="9"/>
                          </a:lnTo>
                          <a:lnTo>
                            <a:pt x="2" y="18"/>
                          </a:lnTo>
                          <a:lnTo>
                            <a:pt x="0" y="29"/>
                          </a:lnTo>
                          <a:lnTo>
                            <a:pt x="1" y="39"/>
                          </a:lnTo>
                          <a:lnTo>
                            <a:pt x="5" y="47"/>
                          </a:lnTo>
                          <a:lnTo>
                            <a:pt x="11" y="53"/>
                          </a:lnTo>
                          <a:lnTo>
                            <a:pt x="19" y="57"/>
                          </a:lnTo>
                          <a:lnTo>
                            <a:pt x="29" y="58"/>
                          </a:lnTo>
                          <a:lnTo>
                            <a:pt x="40" y="56"/>
                          </a:lnTo>
                          <a:lnTo>
                            <a:pt x="49" y="50"/>
                          </a:lnTo>
                          <a:lnTo>
                            <a:pt x="55" y="40"/>
                          </a:lnTo>
                          <a:lnTo>
                            <a:pt x="58" y="29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8" name="Freeform 145"/>
                    <p:cNvSpPr>
                      <a:spLocks/>
                    </p:cNvSpPr>
                    <p:nvPr/>
                  </p:nvSpPr>
                  <p:spPr bwMode="auto">
                    <a:xfrm>
                      <a:off x="4522" y="2701"/>
                      <a:ext cx="58" cy="58"/>
                    </a:xfrm>
                    <a:custGeom>
                      <a:avLst/>
                      <a:gdLst>
                        <a:gd name="T0" fmla="*/ 58 w 58"/>
                        <a:gd name="T1" fmla="*/ 29 h 58"/>
                        <a:gd name="T2" fmla="*/ 56 w 58"/>
                        <a:gd name="T3" fmla="*/ 19 h 58"/>
                        <a:gd name="T4" fmla="*/ 52 w 58"/>
                        <a:gd name="T5" fmla="*/ 12 h 58"/>
                        <a:gd name="T6" fmla="*/ 46 w 58"/>
                        <a:gd name="T7" fmla="*/ 5 h 58"/>
                        <a:gd name="T8" fmla="*/ 38 w 58"/>
                        <a:gd name="T9" fmla="*/ 1 h 58"/>
                        <a:gd name="T10" fmla="*/ 29 w 58"/>
                        <a:gd name="T11" fmla="*/ 0 h 58"/>
                        <a:gd name="T12" fmla="*/ 18 w 58"/>
                        <a:gd name="T13" fmla="*/ 2 h 58"/>
                        <a:gd name="T14" fmla="*/ 8 w 58"/>
                        <a:gd name="T15" fmla="*/ 8 h 58"/>
                        <a:gd name="T16" fmla="*/ 2 w 58"/>
                        <a:gd name="T17" fmla="*/ 18 h 58"/>
                        <a:gd name="T18" fmla="*/ 0 w 58"/>
                        <a:gd name="T19" fmla="*/ 29 h 58"/>
                        <a:gd name="T20" fmla="*/ 1 w 58"/>
                        <a:gd name="T21" fmla="*/ 38 h 58"/>
                        <a:gd name="T22" fmla="*/ 5 w 58"/>
                        <a:gd name="T23" fmla="*/ 46 h 58"/>
                        <a:gd name="T24" fmla="*/ 12 w 58"/>
                        <a:gd name="T25" fmla="*/ 52 h 58"/>
                        <a:gd name="T26" fmla="*/ 19 w 58"/>
                        <a:gd name="T27" fmla="*/ 56 h 58"/>
                        <a:gd name="T28" fmla="*/ 29 w 58"/>
                        <a:gd name="T29" fmla="*/ 58 h 58"/>
                        <a:gd name="T30" fmla="*/ 41 w 58"/>
                        <a:gd name="T31" fmla="*/ 56 h 58"/>
                        <a:gd name="T32" fmla="*/ 49 w 58"/>
                        <a:gd name="T33" fmla="*/ 49 h 58"/>
                        <a:gd name="T34" fmla="*/ 56 w 58"/>
                        <a:gd name="T35" fmla="*/ 41 h 58"/>
                        <a:gd name="T36" fmla="*/ 58 w 58"/>
                        <a:gd name="T37" fmla="*/ 29 h 58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58"/>
                        <a:gd name="T58" fmla="*/ 0 h 58"/>
                        <a:gd name="T59" fmla="*/ 58 w 58"/>
                        <a:gd name="T60" fmla="*/ 58 h 58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58" h="58">
                          <a:moveTo>
                            <a:pt x="58" y="29"/>
                          </a:moveTo>
                          <a:lnTo>
                            <a:pt x="56" y="19"/>
                          </a:lnTo>
                          <a:lnTo>
                            <a:pt x="52" y="12"/>
                          </a:lnTo>
                          <a:lnTo>
                            <a:pt x="46" y="5"/>
                          </a:lnTo>
                          <a:lnTo>
                            <a:pt x="38" y="1"/>
                          </a:lnTo>
                          <a:lnTo>
                            <a:pt x="29" y="0"/>
                          </a:lnTo>
                          <a:lnTo>
                            <a:pt x="18" y="2"/>
                          </a:lnTo>
                          <a:lnTo>
                            <a:pt x="8" y="8"/>
                          </a:lnTo>
                          <a:lnTo>
                            <a:pt x="2" y="18"/>
                          </a:lnTo>
                          <a:lnTo>
                            <a:pt x="0" y="29"/>
                          </a:lnTo>
                          <a:lnTo>
                            <a:pt x="1" y="38"/>
                          </a:lnTo>
                          <a:lnTo>
                            <a:pt x="5" y="46"/>
                          </a:lnTo>
                          <a:lnTo>
                            <a:pt x="12" y="52"/>
                          </a:lnTo>
                          <a:lnTo>
                            <a:pt x="19" y="56"/>
                          </a:lnTo>
                          <a:lnTo>
                            <a:pt x="29" y="58"/>
                          </a:lnTo>
                          <a:lnTo>
                            <a:pt x="41" y="56"/>
                          </a:lnTo>
                          <a:lnTo>
                            <a:pt x="49" y="49"/>
                          </a:lnTo>
                          <a:lnTo>
                            <a:pt x="56" y="41"/>
                          </a:lnTo>
                          <a:lnTo>
                            <a:pt x="58" y="29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89" name="Freeform 146"/>
                    <p:cNvSpPr>
                      <a:spLocks/>
                    </p:cNvSpPr>
                    <p:nvPr/>
                  </p:nvSpPr>
                  <p:spPr bwMode="auto">
                    <a:xfrm>
                      <a:off x="4522" y="2701"/>
                      <a:ext cx="58" cy="58"/>
                    </a:xfrm>
                    <a:custGeom>
                      <a:avLst/>
                      <a:gdLst>
                        <a:gd name="T0" fmla="*/ 58 w 58"/>
                        <a:gd name="T1" fmla="*/ 29 h 58"/>
                        <a:gd name="T2" fmla="*/ 56 w 58"/>
                        <a:gd name="T3" fmla="*/ 19 h 58"/>
                        <a:gd name="T4" fmla="*/ 52 w 58"/>
                        <a:gd name="T5" fmla="*/ 12 h 58"/>
                        <a:gd name="T6" fmla="*/ 46 w 58"/>
                        <a:gd name="T7" fmla="*/ 5 h 58"/>
                        <a:gd name="T8" fmla="*/ 38 w 58"/>
                        <a:gd name="T9" fmla="*/ 1 h 58"/>
                        <a:gd name="T10" fmla="*/ 29 w 58"/>
                        <a:gd name="T11" fmla="*/ 0 h 58"/>
                        <a:gd name="T12" fmla="*/ 18 w 58"/>
                        <a:gd name="T13" fmla="*/ 2 h 58"/>
                        <a:gd name="T14" fmla="*/ 8 w 58"/>
                        <a:gd name="T15" fmla="*/ 8 h 58"/>
                        <a:gd name="T16" fmla="*/ 2 w 58"/>
                        <a:gd name="T17" fmla="*/ 18 h 58"/>
                        <a:gd name="T18" fmla="*/ 0 w 58"/>
                        <a:gd name="T19" fmla="*/ 29 h 58"/>
                        <a:gd name="T20" fmla="*/ 1 w 58"/>
                        <a:gd name="T21" fmla="*/ 38 h 58"/>
                        <a:gd name="T22" fmla="*/ 5 w 58"/>
                        <a:gd name="T23" fmla="*/ 46 h 58"/>
                        <a:gd name="T24" fmla="*/ 12 w 58"/>
                        <a:gd name="T25" fmla="*/ 52 h 58"/>
                        <a:gd name="T26" fmla="*/ 19 w 58"/>
                        <a:gd name="T27" fmla="*/ 56 h 58"/>
                        <a:gd name="T28" fmla="*/ 29 w 58"/>
                        <a:gd name="T29" fmla="*/ 58 h 58"/>
                        <a:gd name="T30" fmla="*/ 41 w 58"/>
                        <a:gd name="T31" fmla="*/ 56 h 58"/>
                        <a:gd name="T32" fmla="*/ 49 w 58"/>
                        <a:gd name="T33" fmla="*/ 49 h 58"/>
                        <a:gd name="T34" fmla="*/ 56 w 58"/>
                        <a:gd name="T35" fmla="*/ 41 h 58"/>
                        <a:gd name="T36" fmla="*/ 58 w 58"/>
                        <a:gd name="T37" fmla="*/ 29 h 58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w 58"/>
                        <a:gd name="T58" fmla="*/ 0 h 58"/>
                        <a:gd name="T59" fmla="*/ 58 w 58"/>
                        <a:gd name="T60" fmla="*/ 58 h 58"/>
                      </a:gdLst>
                      <a:ahLst/>
                      <a:cxnLst>
                        <a:cxn ang="T38">
                          <a:pos x="T0" y="T1"/>
                        </a:cxn>
                        <a:cxn ang="T39">
                          <a:pos x="T2" y="T3"/>
                        </a:cxn>
                        <a:cxn ang="T40">
                          <a:pos x="T4" y="T5"/>
                        </a:cxn>
                        <a:cxn ang="T41">
                          <a:pos x="T6" y="T7"/>
                        </a:cxn>
                        <a:cxn ang="T42">
                          <a:pos x="T8" y="T9"/>
                        </a:cxn>
                        <a:cxn ang="T43">
                          <a:pos x="T10" y="T11"/>
                        </a:cxn>
                        <a:cxn ang="T44">
                          <a:pos x="T12" y="T13"/>
                        </a:cxn>
                        <a:cxn ang="T45">
                          <a:pos x="T14" y="T15"/>
                        </a:cxn>
                        <a:cxn ang="T46">
                          <a:pos x="T16" y="T17"/>
                        </a:cxn>
                        <a:cxn ang="T47">
                          <a:pos x="T18" y="T19"/>
                        </a:cxn>
                        <a:cxn ang="T48">
                          <a:pos x="T20" y="T21"/>
                        </a:cxn>
                        <a:cxn ang="T49">
                          <a:pos x="T22" y="T23"/>
                        </a:cxn>
                        <a:cxn ang="T50">
                          <a:pos x="T24" y="T25"/>
                        </a:cxn>
                        <a:cxn ang="T51">
                          <a:pos x="T26" y="T27"/>
                        </a:cxn>
                        <a:cxn ang="T52">
                          <a:pos x="T28" y="T29"/>
                        </a:cxn>
                        <a:cxn ang="T53">
                          <a:pos x="T30" y="T31"/>
                        </a:cxn>
                        <a:cxn ang="T54">
                          <a:pos x="T32" y="T33"/>
                        </a:cxn>
                        <a:cxn ang="T55">
                          <a:pos x="T34" y="T35"/>
                        </a:cxn>
                        <a:cxn ang="T56">
                          <a:pos x="T36" y="T37"/>
                        </a:cxn>
                      </a:cxnLst>
                      <a:rect l="T57" t="T58" r="T59" b="T60"/>
                      <a:pathLst>
                        <a:path w="58" h="58">
                          <a:moveTo>
                            <a:pt x="58" y="29"/>
                          </a:moveTo>
                          <a:lnTo>
                            <a:pt x="56" y="19"/>
                          </a:lnTo>
                          <a:lnTo>
                            <a:pt x="52" y="12"/>
                          </a:lnTo>
                          <a:lnTo>
                            <a:pt x="46" y="5"/>
                          </a:lnTo>
                          <a:lnTo>
                            <a:pt x="38" y="1"/>
                          </a:lnTo>
                          <a:lnTo>
                            <a:pt x="29" y="0"/>
                          </a:lnTo>
                          <a:lnTo>
                            <a:pt x="18" y="2"/>
                          </a:lnTo>
                          <a:lnTo>
                            <a:pt x="8" y="8"/>
                          </a:lnTo>
                          <a:lnTo>
                            <a:pt x="2" y="18"/>
                          </a:lnTo>
                          <a:lnTo>
                            <a:pt x="0" y="29"/>
                          </a:lnTo>
                          <a:lnTo>
                            <a:pt x="1" y="38"/>
                          </a:lnTo>
                          <a:lnTo>
                            <a:pt x="5" y="46"/>
                          </a:lnTo>
                          <a:lnTo>
                            <a:pt x="12" y="52"/>
                          </a:lnTo>
                          <a:lnTo>
                            <a:pt x="19" y="56"/>
                          </a:lnTo>
                          <a:lnTo>
                            <a:pt x="29" y="58"/>
                          </a:lnTo>
                          <a:lnTo>
                            <a:pt x="41" y="56"/>
                          </a:lnTo>
                          <a:lnTo>
                            <a:pt x="49" y="49"/>
                          </a:lnTo>
                          <a:lnTo>
                            <a:pt x="56" y="41"/>
                          </a:lnTo>
                          <a:lnTo>
                            <a:pt x="58" y="29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0" name="Freeform 147"/>
                    <p:cNvSpPr>
                      <a:spLocks/>
                    </p:cNvSpPr>
                    <p:nvPr/>
                  </p:nvSpPr>
                  <p:spPr bwMode="auto">
                    <a:xfrm>
                      <a:off x="4226" y="2774"/>
                      <a:ext cx="56" cy="55"/>
                    </a:xfrm>
                    <a:custGeom>
                      <a:avLst/>
                      <a:gdLst>
                        <a:gd name="T0" fmla="*/ 56 w 56"/>
                        <a:gd name="T1" fmla="*/ 27 h 55"/>
                        <a:gd name="T2" fmla="*/ 54 w 56"/>
                        <a:gd name="T3" fmla="*/ 16 h 55"/>
                        <a:gd name="T4" fmla="*/ 47 w 56"/>
                        <a:gd name="T5" fmla="*/ 8 h 55"/>
                        <a:gd name="T6" fmla="*/ 39 w 56"/>
                        <a:gd name="T7" fmla="*/ 2 h 55"/>
                        <a:gd name="T8" fmla="*/ 28 w 56"/>
                        <a:gd name="T9" fmla="*/ 0 h 55"/>
                        <a:gd name="T10" fmla="*/ 18 w 56"/>
                        <a:gd name="T11" fmla="*/ 2 h 55"/>
                        <a:gd name="T12" fmla="*/ 8 w 56"/>
                        <a:gd name="T13" fmla="*/ 8 h 55"/>
                        <a:gd name="T14" fmla="*/ 3 w 56"/>
                        <a:gd name="T15" fmla="*/ 16 h 55"/>
                        <a:gd name="T16" fmla="*/ 0 w 56"/>
                        <a:gd name="T17" fmla="*/ 27 h 55"/>
                        <a:gd name="T18" fmla="*/ 3 w 56"/>
                        <a:gd name="T19" fmla="*/ 38 h 55"/>
                        <a:gd name="T20" fmla="*/ 8 w 56"/>
                        <a:gd name="T21" fmla="*/ 47 h 55"/>
                        <a:gd name="T22" fmla="*/ 18 w 56"/>
                        <a:gd name="T23" fmla="*/ 53 h 55"/>
                        <a:gd name="T24" fmla="*/ 28 w 56"/>
                        <a:gd name="T25" fmla="*/ 55 h 55"/>
                        <a:gd name="T26" fmla="*/ 39 w 56"/>
                        <a:gd name="T27" fmla="*/ 53 h 55"/>
                        <a:gd name="T28" fmla="*/ 47 w 56"/>
                        <a:gd name="T29" fmla="*/ 47 h 55"/>
                        <a:gd name="T30" fmla="*/ 54 w 56"/>
                        <a:gd name="T31" fmla="*/ 38 h 55"/>
                        <a:gd name="T32" fmla="*/ 56 w 56"/>
                        <a:gd name="T33" fmla="*/ 27 h 55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6"/>
                        <a:gd name="T52" fmla="*/ 0 h 55"/>
                        <a:gd name="T53" fmla="*/ 56 w 56"/>
                        <a:gd name="T54" fmla="*/ 55 h 55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6" h="55">
                          <a:moveTo>
                            <a:pt x="56" y="27"/>
                          </a:moveTo>
                          <a:lnTo>
                            <a:pt x="54" y="16"/>
                          </a:lnTo>
                          <a:lnTo>
                            <a:pt x="47" y="8"/>
                          </a:lnTo>
                          <a:lnTo>
                            <a:pt x="39" y="2"/>
                          </a:lnTo>
                          <a:lnTo>
                            <a:pt x="28" y="0"/>
                          </a:lnTo>
                          <a:lnTo>
                            <a:pt x="18" y="2"/>
                          </a:lnTo>
                          <a:lnTo>
                            <a:pt x="8" y="8"/>
                          </a:lnTo>
                          <a:lnTo>
                            <a:pt x="3" y="16"/>
                          </a:lnTo>
                          <a:lnTo>
                            <a:pt x="0" y="27"/>
                          </a:lnTo>
                          <a:lnTo>
                            <a:pt x="3" y="38"/>
                          </a:lnTo>
                          <a:lnTo>
                            <a:pt x="8" y="47"/>
                          </a:lnTo>
                          <a:lnTo>
                            <a:pt x="18" y="53"/>
                          </a:lnTo>
                          <a:lnTo>
                            <a:pt x="28" y="55"/>
                          </a:lnTo>
                          <a:lnTo>
                            <a:pt x="39" y="53"/>
                          </a:lnTo>
                          <a:lnTo>
                            <a:pt x="47" y="47"/>
                          </a:lnTo>
                          <a:lnTo>
                            <a:pt x="54" y="38"/>
                          </a:lnTo>
                          <a:lnTo>
                            <a:pt x="56" y="2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1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4226" y="2774"/>
                      <a:ext cx="56" cy="55"/>
                    </a:xfrm>
                    <a:custGeom>
                      <a:avLst/>
                      <a:gdLst>
                        <a:gd name="T0" fmla="*/ 56 w 56"/>
                        <a:gd name="T1" fmla="*/ 27 h 55"/>
                        <a:gd name="T2" fmla="*/ 54 w 56"/>
                        <a:gd name="T3" fmla="*/ 16 h 55"/>
                        <a:gd name="T4" fmla="*/ 47 w 56"/>
                        <a:gd name="T5" fmla="*/ 8 h 55"/>
                        <a:gd name="T6" fmla="*/ 39 w 56"/>
                        <a:gd name="T7" fmla="*/ 2 h 55"/>
                        <a:gd name="T8" fmla="*/ 28 w 56"/>
                        <a:gd name="T9" fmla="*/ 0 h 55"/>
                        <a:gd name="T10" fmla="*/ 18 w 56"/>
                        <a:gd name="T11" fmla="*/ 2 h 55"/>
                        <a:gd name="T12" fmla="*/ 8 w 56"/>
                        <a:gd name="T13" fmla="*/ 8 h 55"/>
                        <a:gd name="T14" fmla="*/ 3 w 56"/>
                        <a:gd name="T15" fmla="*/ 16 h 55"/>
                        <a:gd name="T16" fmla="*/ 0 w 56"/>
                        <a:gd name="T17" fmla="*/ 27 h 55"/>
                        <a:gd name="T18" fmla="*/ 3 w 56"/>
                        <a:gd name="T19" fmla="*/ 38 h 55"/>
                        <a:gd name="T20" fmla="*/ 8 w 56"/>
                        <a:gd name="T21" fmla="*/ 47 h 55"/>
                        <a:gd name="T22" fmla="*/ 18 w 56"/>
                        <a:gd name="T23" fmla="*/ 53 h 55"/>
                        <a:gd name="T24" fmla="*/ 28 w 56"/>
                        <a:gd name="T25" fmla="*/ 55 h 55"/>
                        <a:gd name="T26" fmla="*/ 39 w 56"/>
                        <a:gd name="T27" fmla="*/ 53 h 55"/>
                        <a:gd name="T28" fmla="*/ 47 w 56"/>
                        <a:gd name="T29" fmla="*/ 47 h 55"/>
                        <a:gd name="T30" fmla="*/ 54 w 56"/>
                        <a:gd name="T31" fmla="*/ 38 h 55"/>
                        <a:gd name="T32" fmla="*/ 56 w 56"/>
                        <a:gd name="T33" fmla="*/ 27 h 55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6"/>
                        <a:gd name="T52" fmla="*/ 0 h 55"/>
                        <a:gd name="T53" fmla="*/ 56 w 56"/>
                        <a:gd name="T54" fmla="*/ 55 h 55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6" h="55">
                          <a:moveTo>
                            <a:pt x="56" y="27"/>
                          </a:moveTo>
                          <a:lnTo>
                            <a:pt x="54" y="16"/>
                          </a:lnTo>
                          <a:lnTo>
                            <a:pt x="47" y="8"/>
                          </a:lnTo>
                          <a:lnTo>
                            <a:pt x="39" y="2"/>
                          </a:lnTo>
                          <a:lnTo>
                            <a:pt x="28" y="0"/>
                          </a:lnTo>
                          <a:lnTo>
                            <a:pt x="18" y="2"/>
                          </a:lnTo>
                          <a:lnTo>
                            <a:pt x="8" y="8"/>
                          </a:lnTo>
                          <a:lnTo>
                            <a:pt x="3" y="16"/>
                          </a:lnTo>
                          <a:lnTo>
                            <a:pt x="0" y="27"/>
                          </a:lnTo>
                          <a:lnTo>
                            <a:pt x="3" y="38"/>
                          </a:lnTo>
                          <a:lnTo>
                            <a:pt x="8" y="47"/>
                          </a:lnTo>
                          <a:lnTo>
                            <a:pt x="18" y="53"/>
                          </a:lnTo>
                          <a:lnTo>
                            <a:pt x="28" y="55"/>
                          </a:lnTo>
                          <a:lnTo>
                            <a:pt x="39" y="53"/>
                          </a:lnTo>
                          <a:lnTo>
                            <a:pt x="47" y="47"/>
                          </a:lnTo>
                          <a:lnTo>
                            <a:pt x="54" y="38"/>
                          </a:lnTo>
                          <a:lnTo>
                            <a:pt x="56" y="2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2" name="Freeform 149"/>
                    <p:cNvSpPr>
                      <a:spLocks/>
                    </p:cNvSpPr>
                    <p:nvPr/>
                  </p:nvSpPr>
                  <p:spPr bwMode="auto">
                    <a:xfrm>
                      <a:off x="3580" y="1506"/>
                      <a:ext cx="56" cy="56"/>
                    </a:xfrm>
                    <a:custGeom>
                      <a:avLst/>
                      <a:gdLst>
                        <a:gd name="T0" fmla="*/ 56 w 56"/>
                        <a:gd name="T1" fmla="*/ 27 h 56"/>
                        <a:gd name="T2" fmla="*/ 54 w 56"/>
                        <a:gd name="T3" fmla="*/ 17 h 56"/>
                        <a:gd name="T4" fmla="*/ 48 w 56"/>
                        <a:gd name="T5" fmla="*/ 8 h 56"/>
                        <a:gd name="T6" fmla="*/ 39 w 56"/>
                        <a:gd name="T7" fmla="*/ 2 h 56"/>
                        <a:gd name="T8" fmla="*/ 28 w 56"/>
                        <a:gd name="T9" fmla="*/ 0 h 56"/>
                        <a:gd name="T10" fmla="*/ 18 w 56"/>
                        <a:gd name="T11" fmla="*/ 2 h 56"/>
                        <a:gd name="T12" fmla="*/ 8 w 56"/>
                        <a:gd name="T13" fmla="*/ 8 h 56"/>
                        <a:gd name="T14" fmla="*/ 3 w 56"/>
                        <a:gd name="T15" fmla="*/ 17 h 56"/>
                        <a:gd name="T16" fmla="*/ 0 w 56"/>
                        <a:gd name="T17" fmla="*/ 27 h 56"/>
                        <a:gd name="T18" fmla="*/ 3 w 56"/>
                        <a:gd name="T19" fmla="*/ 38 h 56"/>
                        <a:gd name="T20" fmla="*/ 8 w 56"/>
                        <a:gd name="T21" fmla="*/ 47 h 56"/>
                        <a:gd name="T22" fmla="*/ 18 w 56"/>
                        <a:gd name="T23" fmla="*/ 53 h 56"/>
                        <a:gd name="T24" fmla="*/ 28 w 56"/>
                        <a:gd name="T25" fmla="*/ 56 h 56"/>
                        <a:gd name="T26" fmla="*/ 39 w 56"/>
                        <a:gd name="T27" fmla="*/ 53 h 56"/>
                        <a:gd name="T28" fmla="*/ 48 w 56"/>
                        <a:gd name="T29" fmla="*/ 47 h 56"/>
                        <a:gd name="T30" fmla="*/ 54 w 56"/>
                        <a:gd name="T31" fmla="*/ 38 h 56"/>
                        <a:gd name="T32" fmla="*/ 56 w 56"/>
                        <a:gd name="T33" fmla="*/ 27 h 5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6"/>
                        <a:gd name="T52" fmla="*/ 0 h 56"/>
                        <a:gd name="T53" fmla="*/ 56 w 56"/>
                        <a:gd name="T54" fmla="*/ 56 h 56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6" h="56">
                          <a:moveTo>
                            <a:pt x="56" y="27"/>
                          </a:moveTo>
                          <a:lnTo>
                            <a:pt x="54" y="17"/>
                          </a:lnTo>
                          <a:lnTo>
                            <a:pt x="48" y="8"/>
                          </a:lnTo>
                          <a:lnTo>
                            <a:pt x="39" y="2"/>
                          </a:lnTo>
                          <a:lnTo>
                            <a:pt x="28" y="0"/>
                          </a:lnTo>
                          <a:lnTo>
                            <a:pt x="18" y="2"/>
                          </a:lnTo>
                          <a:lnTo>
                            <a:pt x="8" y="8"/>
                          </a:lnTo>
                          <a:lnTo>
                            <a:pt x="3" y="17"/>
                          </a:lnTo>
                          <a:lnTo>
                            <a:pt x="0" y="27"/>
                          </a:lnTo>
                          <a:lnTo>
                            <a:pt x="3" y="38"/>
                          </a:lnTo>
                          <a:lnTo>
                            <a:pt x="8" y="47"/>
                          </a:lnTo>
                          <a:lnTo>
                            <a:pt x="18" y="53"/>
                          </a:lnTo>
                          <a:lnTo>
                            <a:pt x="28" y="56"/>
                          </a:lnTo>
                          <a:lnTo>
                            <a:pt x="39" y="53"/>
                          </a:lnTo>
                          <a:lnTo>
                            <a:pt x="48" y="47"/>
                          </a:lnTo>
                          <a:lnTo>
                            <a:pt x="54" y="38"/>
                          </a:lnTo>
                          <a:lnTo>
                            <a:pt x="56" y="2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3" name="Freeform 150"/>
                    <p:cNvSpPr>
                      <a:spLocks/>
                    </p:cNvSpPr>
                    <p:nvPr/>
                  </p:nvSpPr>
                  <p:spPr bwMode="auto">
                    <a:xfrm>
                      <a:off x="3580" y="1506"/>
                      <a:ext cx="56" cy="56"/>
                    </a:xfrm>
                    <a:custGeom>
                      <a:avLst/>
                      <a:gdLst>
                        <a:gd name="T0" fmla="*/ 56 w 56"/>
                        <a:gd name="T1" fmla="*/ 27 h 56"/>
                        <a:gd name="T2" fmla="*/ 54 w 56"/>
                        <a:gd name="T3" fmla="*/ 17 h 56"/>
                        <a:gd name="T4" fmla="*/ 48 w 56"/>
                        <a:gd name="T5" fmla="*/ 8 h 56"/>
                        <a:gd name="T6" fmla="*/ 39 w 56"/>
                        <a:gd name="T7" fmla="*/ 2 h 56"/>
                        <a:gd name="T8" fmla="*/ 28 w 56"/>
                        <a:gd name="T9" fmla="*/ 0 h 56"/>
                        <a:gd name="T10" fmla="*/ 18 w 56"/>
                        <a:gd name="T11" fmla="*/ 2 h 56"/>
                        <a:gd name="T12" fmla="*/ 8 w 56"/>
                        <a:gd name="T13" fmla="*/ 8 h 56"/>
                        <a:gd name="T14" fmla="*/ 3 w 56"/>
                        <a:gd name="T15" fmla="*/ 17 h 56"/>
                        <a:gd name="T16" fmla="*/ 0 w 56"/>
                        <a:gd name="T17" fmla="*/ 27 h 56"/>
                        <a:gd name="T18" fmla="*/ 3 w 56"/>
                        <a:gd name="T19" fmla="*/ 38 h 56"/>
                        <a:gd name="T20" fmla="*/ 8 w 56"/>
                        <a:gd name="T21" fmla="*/ 47 h 56"/>
                        <a:gd name="T22" fmla="*/ 18 w 56"/>
                        <a:gd name="T23" fmla="*/ 53 h 56"/>
                        <a:gd name="T24" fmla="*/ 28 w 56"/>
                        <a:gd name="T25" fmla="*/ 56 h 56"/>
                        <a:gd name="T26" fmla="*/ 39 w 56"/>
                        <a:gd name="T27" fmla="*/ 53 h 56"/>
                        <a:gd name="T28" fmla="*/ 48 w 56"/>
                        <a:gd name="T29" fmla="*/ 47 h 56"/>
                        <a:gd name="T30" fmla="*/ 54 w 56"/>
                        <a:gd name="T31" fmla="*/ 38 h 56"/>
                        <a:gd name="T32" fmla="*/ 56 w 56"/>
                        <a:gd name="T33" fmla="*/ 27 h 5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6"/>
                        <a:gd name="T52" fmla="*/ 0 h 56"/>
                        <a:gd name="T53" fmla="*/ 56 w 56"/>
                        <a:gd name="T54" fmla="*/ 56 h 56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6" h="56">
                          <a:moveTo>
                            <a:pt x="56" y="27"/>
                          </a:moveTo>
                          <a:lnTo>
                            <a:pt x="54" y="17"/>
                          </a:lnTo>
                          <a:lnTo>
                            <a:pt x="48" y="8"/>
                          </a:lnTo>
                          <a:lnTo>
                            <a:pt x="39" y="2"/>
                          </a:lnTo>
                          <a:lnTo>
                            <a:pt x="28" y="0"/>
                          </a:lnTo>
                          <a:lnTo>
                            <a:pt x="18" y="2"/>
                          </a:lnTo>
                          <a:lnTo>
                            <a:pt x="8" y="8"/>
                          </a:lnTo>
                          <a:lnTo>
                            <a:pt x="3" y="17"/>
                          </a:lnTo>
                          <a:lnTo>
                            <a:pt x="0" y="27"/>
                          </a:lnTo>
                          <a:lnTo>
                            <a:pt x="3" y="38"/>
                          </a:lnTo>
                          <a:lnTo>
                            <a:pt x="8" y="47"/>
                          </a:lnTo>
                          <a:lnTo>
                            <a:pt x="18" y="53"/>
                          </a:lnTo>
                          <a:lnTo>
                            <a:pt x="28" y="56"/>
                          </a:lnTo>
                          <a:lnTo>
                            <a:pt x="39" y="53"/>
                          </a:lnTo>
                          <a:lnTo>
                            <a:pt x="48" y="47"/>
                          </a:lnTo>
                          <a:lnTo>
                            <a:pt x="54" y="38"/>
                          </a:lnTo>
                          <a:lnTo>
                            <a:pt x="56" y="2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4" name="Freeform 151"/>
                    <p:cNvSpPr>
                      <a:spLocks/>
                    </p:cNvSpPr>
                    <p:nvPr/>
                  </p:nvSpPr>
                  <p:spPr bwMode="auto">
                    <a:xfrm>
                      <a:off x="4433" y="2801"/>
                      <a:ext cx="54" cy="53"/>
                    </a:xfrm>
                    <a:custGeom>
                      <a:avLst/>
                      <a:gdLst>
                        <a:gd name="T0" fmla="*/ 54 w 54"/>
                        <a:gd name="T1" fmla="*/ 26 h 53"/>
                        <a:gd name="T2" fmla="*/ 52 w 54"/>
                        <a:gd name="T3" fmla="*/ 16 h 53"/>
                        <a:gd name="T4" fmla="*/ 46 w 54"/>
                        <a:gd name="T5" fmla="*/ 7 h 53"/>
                        <a:gd name="T6" fmla="*/ 37 w 54"/>
                        <a:gd name="T7" fmla="*/ 2 h 53"/>
                        <a:gd name="T8" fmla="*/ 27 w 54"/>
                        <a:gd name="T9" fmla="*/ 0 h 53"/>
                        <a:gd name="T10" fmla="*/ 16 w 54"/>
                        <a:gd name="T11" fmla="*/ 2 h 53"/>
                        <a:gd name="T12" fmla="*/ 8 w 54"/>
                        <a:gd name="T13" fmla="*/ 7 h 53"/>
                        <a:gd name="T14" fmla="*/ 2 w 54"/>
                        <a:gd name="T15" fmla="*/ 16 h 53"/>
                        <a:gd name="T16" fmla="*/ 0 w 54"/>
                        <a:gd name="T17" fmla="*/ 26 h 53"/>
                        <a:gd name="T18" fmla="*/ 2 w 54"/>
                        <a:gd name="T19" fmla="*/ 37 h 53"/>
                        <a:gd name="T20" fmla="*/ 8 w 54"/>
                        <a:gd name="T21" fmla="*/ 45 h 53"/>
                        <a:gd name="T22" fmla="*/ 16 w 54"/>
                        <a:gd name="T23" fmla="*/ 51 h 53"/>
                        <a:gd name="T24" fmla="*/ 27 w 54"/>
                        <a:gd name="T25" fmla="*/ 53 h 53"/>
                        <a:gd name="T26" fmla="*/ 37 w 54"/>
                        <a:gd name="T27" fmla="*/ 51 h 53"/>
                        <a:gd name="T28" fmla="*/ 46 w 54"/>
                        <a:gd name="T29" fmla="*/ 45 h 53"/>
                        <a:gd name="T30" fmla="*/ 52 w 54"/>
                        <a:gd name="T31" fmla="*/ 37 h 53"/>
                        <a:gd name="T32" fmla="*/ 54 w 54"/>
                        <a:gd name="T33" fmla="*/ 26 h 5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4"/>
                        <a:gd name="T52" fmla="*/ 0 h 53"/>
                        <a:gd name="T53" fmla="*/ 54 w 54"/>
                        <a:gd name="T54" fmla="*/ 53 h 5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4" h="53">
                          <a:moveTo>
                            <a:pt x="54" y="26"/>
                          </a:moveTo>
                          <a:lnTo>
                            <a:pt x="52" y="16"/>
                          </a:lnTo>
                          <a:lnTo>
                            <a:pt x="46" y="7"/>
                          </a:lnTo>
                          <a:lnTo>
                            <a:pt x="37" y="2"/>
                          </a:lnTo>
                          <a:lnTo>
                            <a:pt x="27" y="0"/>
                          </a:lnTo>
                          <a:lnTo>
                            <a:pt x="16" y="2"/>
                          </a:lnTo>
                          <a:lnTo>
                            <a:pt x="8" y="7"/>
                          </a:lnTo>
                          <a:lnTo>
                            <a:pt x="2" y="16"/>
                          </a:lnTo>
                          <a:lnTo>
                            <a:pt x="0" y="26"/>
                          </a:lnTo>
                          <a:lnTo>
                            <a:pt x="2" y="37"/>
                          </a:lnTo>
                          <a:lnTo>
                            <a:pt x="8" y="45"/>
                          </a:lnTo>
                          <a:lnTo>
                            <a:pt x="16" y="51"/>
                          </a:lnTo>
                          <a:lnTo>
                            <a:pt x="27" y="53"/>
                          </a:lnTo>
                          <a:lnTo>
                            <a:pt x="37" y="51"/>
                          </a:lnTo>
                          <a:lnTo>
                            <a:pt x="46" y="45"/>
                          </a:lnTo>
                          <a:lnTo>
                            <a:pt x="52" y="37"/>
                          </a:lnTo>
                          <a:lnTo>
                            <a:pt x="54" y="2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5" name="Freeform 152"/>
                    <p:cNvSpPr>
                      <a:spLocks/>
                    </p:cNvSpPr>
                    <p:nvPr/>
                  </p:nvSpPr>
                  <p:spPr bwMode="auto">
                    <a:xfrm>
                      <a:off x="4433" y="2801"/>
                      <a:ext cx="54" cy="53"/>
                    </a:xfrm>
                    <a:custGeom>
                      <a:avLst/>
                      <a:gdLst>
                        <a:gd name="T0" fmla="*/ 54 w 54"/>
                        <a:gd name="T1" fmla="*/ 26 h 53"/>
                        <a:gd name="T2" fmla="*/ 52 w 54"/>
                        <a:gd name="T3" fmla="*/ 16 h 53"/>
                        <a:gd name="T4" fmla="*/ 46 w 54"/>
                        <a:gd name="T5" fmla="*/ 7 h 53"/>
                        <a:gd name="T6" fmla="*/ 37 w 54"/>
                        <a:gd name="T7" fmla="*/ 2 h 53"/>
                        <a:gd name="T8" fmla="*/ 27 w 54"/>
                        <a:gd name="T9" fmla="*/ 0 h 53"/>
                        <a:gd name="T10" fmla="*/ 16 w 54"/>
                        <a:gd name="T11" fmla="*/ 2 h 53"/>
                        <a:gd name="T12" fmla="*/ 8 w 54"/>
                        <a:gd name="T13" fmla="*/ 7 h 53"/>
                        <a:gd name="T14" fmla="*/ 2 w 54"/>
                        <a:gd name="T15" fmla="*/ 16 h 53"/>
                        <a:gd name="T16" fmla="*/ 0 w 54"/>
                        <a:gd name="T17" fmla="*/ 26 h 53"/>
                        <a:gd name="T18" fmla="*/ 2 w 54"/>
                        <a:gd name="T19" fmla="*/ 37 h 53"/>
                        <a:gd name="T20" fmla="*/ 8 w 54"/>
                        <a:gd name="T21" fmla="*/ 45 h 53"/>
                        <a:gd name="T22" fmla="*/ 16 w 54"/>
                        <a:gd name="T23" fmla="*/ 51 h 53"/>
                        <a:gd name="T24" fmla="*/ 27 w 54"/>
                        <a:gd name="T25" fmla="*/ 53 h 53"/>
                        <a:gd name="T26" fmla="*/ 37 w 54"/>
                        <a:gd name="T27" fmla="*/ 51 h 53"/>
                        <a:gd name="T28" fmla="*/ 46 w 54"/>
                        <a:gd name="T29" fmla="*/ 45 h 53"/>
                        <a:gd name="T30" fmla="*/ 52 w 54"/>
                        <a:gd name="T31" fmla="*/ 37 h 53"/>
                        <a:gd name="T32" fmla="*/ 54 w 54"/>
                        <a:gd name="T33" fmla="*/ 26 h 5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4"/>
                        <a:gd name="T52" fmla="*/ 0 h 53"/>
                        <a:gd name="T53" fmla="*/ 54 w 54"/>
                        <a:gd name="T54" fmla="*/ 53 h 5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4" h="53">
                          <a:moveTo>
                            <a:pt x="54" y="26"/>
                          </a:moveTo>
                          <a:lnTo>
                            <a:pt x="52" y="16"/>
                          </a:lnTo>
                          <a:lnTo>
                            <a:pt x="46" y="7"/>
                          </a:lnTo>
                          <a:lnTo>
                            <a:pt x="37" y="2"/>
                          </a:lnTo>
                          <a:lnTo>
                            <a:pt x="27" y="0"/>
                          </a:lnTo>
                          <a:lnTo>
                            <a:pt x="16" y="2"/>
                          </a:lnTo>
                          <a:lnTo>
                            <a:pt x="8" y="7"/>
                          </a:lnTo>
                          <a:lnTo>
                            <a:pt x="2" y="16"/>
                          </a:lnTo>
                          <a:lnTo>
                            <a:pt x="0" y="26"/>
                          </a:lnTo>
                          <a:lnTo>
                            <a:pt x="2" y="37"/>
                          </a:lnTo>
                          <a:lnTo>
                            <a:pt x="8" y="45"/>
                          </a:lnTo>
                          <a:lnTo>
                            <a:pt x="16" y="51"/>
                          </a:lnTo>
                          <a:lnTo>
                            <a:pt x="27" y="53"/>
                          </a:lnTo>
                          <a:lnTo>
                            <a:pt x="37" y="51"/>
                          </a:lnTo>
                          <a:lnTo>
                            <a:pt x="46" y="45"/>
                          </a:lnTo>
                          <a:lnTo>
                            <a:pt x="52" y="37"/>
                          </a:lnTo>
                          <a:lnTo>
                            <a:pt x="54" y="2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6" name="Freeform 153"/>
                    <p:cNvSpPr>
                      <a:spLocks/>
                    </p:cNvSpPr>
                    <p:nvPr/>
                  </p:nvSpPr>
                  <p:spPr bwMode="auto">
                    <a:xfrm>
                      <a:off x="3953" y="2834"/>
                      <a:ext cx="53" cy="53"/>
                    </a:xfrm>
                    <a:custGeom>
                      <a:avLst/>
                      <a:gdLst>
                        <a:gd name="T0" fmla="*/ 53 w 53"/>
                        <a:gd name="T1" fmla="*/ 26 h 53"/>
                        <a:gd name="T2" fmla="*/ 51 w 53"/>
                        <a:gd name="T3" fmla="*/ 16 h 53"/>
                        <a:gd name="T4" fmla="*/ 45 w 53"/>
                        <a:gd name="T5" fmla="*/ 7 h 53"/>
                        <a:gd name="T6" fmla="*/ 37 w 53"/>
                        <a:gd name="T7" fmla="*/ 2 h 53"/>
                        <a:gd name="T8" fmla="*/ 27 w 53"/>
                        <a:gd name="T9" fmla="*/ 0 h 53"/>
                        <a:gd name="T10" fmla="*/ 16 w 53"/>
                        <a:gd name="T11" fmla="*/ 2 h 53"/>
                        <a:gd name="T12" fmla="*/ 8 w 53"/>
                        <a:gd name="T13" fmla="*/ 7 h 53"/>
                        <a:gd name="T14" fmla="*/ 2 w 53"/>
                        <a:gd name="T15" fmla="*/ 16 h 53"/>
                        <a:gd name="T16" fmla="*/ 0 w 53"/>
                        <a:gd name="T17" fmla="*/ 26 h 53"/>
                        <a:gd name="T18" fmla="*/ 2 w 53"/>
                        <a:gd name="T19" fmla="*/ 37 h 53"/>
                        <a:gd name="T20" fmla="*/ 8 w 53"/>
                        <a:gd name="T21" fmla="*/ 45 h 53"/>
                        <a:gd name="T22" fmla="*/ 16 w 53"/>
                        <a:gd name="T23" fmla="*/ 51 h 53"/>
                        <a:gd name="T24" fmla="*/ 27 w 53"/>
                        <a:gd name="T25" fmla="*/ 53 h 53"/>
                        <a:gd name="T26" fmla="*/ 37 w 53"/>
                        <a:gd name="T27" fmla="*/ 51 h 53"/>
                        <a:gd name="T28" fmla="*/ 45 w 53"/>
                        <a:gd name="T29" fmla="*/ 45 h 53"/>
                        <a:gd name="T30" fmla="*/ 51 w 53"/>
                        <a:gd name="T31" fmla="*/ 37 h 53"/>
                        <a:gd name="T32" fmla="*/ 53 w 53"/>
                        <a:gd name="T33" fmla="*/ 26 h 5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3"/>
                        <a:gd name="T52" fmla="*/ 0 h 53"/>
                        <a:gd name="T53" fmla="*/ 53 w 53"/>
                        <a:gd name="T54" fmla="*/ 53 h 5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3" h="53">
                          <a:moveTo>
                            <a:pt x="53" y="26"/>
                          </a:moveTo>
                          <a:lnTo>
                            <a:pt x="51" y="16"/>
                          </a:lnTo>
                          <a:lnTo>
                            <a:pt x="45" y="7"/>
                          </a:lnTo>
                          <a:lnTo>
                            <a:pt x="37" y="2"/>
                          </a:lnTo>
                          <a:lnTo>
                            <a:pt x="27" y="0"/>
                          </a:lnTo>
                          <a:lnTo>
                            <a:pt x="16" y="2"/>
                          </a:lnTo>
                          <a:lnTo>
                            <a:pt x="8" y="7"/>
                          </a:lnTo>
                          <a:lnTo>
                            <a:pt x="2" y="16"/>
                          </a:lnTo>
                          <a:lnTo>
                            <a:pt x="0" y="26"/>
                          </a:lnTo>
                          <a:lnTo>
                            <a:pt x="2" y="37"/>
                          </a:lnTo>
                          <a:lnTo>
                            <a:pt x="8" y="45"/>
                          </a:lnTo>
                          <a:lnTo>
                            <a:pt x="16" y="51"/>
                          </a:lnTo>
                          <a:lnTo>
                            <a:pt x="27" y="53"/>
                          </a:lnTo>
                          <a:lnTo>
                            <a:pt x="37" y="51"/>
                          </a:lnTo>
                          <a:lnTo>
                            <a:pt x="45" y="45"/>
                          </a:lnTo>
                          <a:lnTo>
                            <a:pt x="51" y="37"/>
                          </a:lnTo>
                          <a:lnTo>
                            <a:pt x="53" y="2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7" name="Freeform 154"/>
                    <p:cNvSpPr>
                      <a:spLocks/>
                    </p:cNvSpPr>
                    <p:nvPr/>
                  </p:nvSpPr>
                  <p:spPr bwMode="auto">
                    <a:xfrm>
                      <a:off x="3953" y="2834"/>
                      <a:ext cx="53" cy="53"/>
                    </a:xfrm>
                    <a:custGeom>
                      <a:avLst/>
                      <a:gdLst>
                        <a:gd name="T0" fmla="*/ 53 w 53"/>
                        <a:gd name="T1" fmla="*/ 26 h 53"/>
                        <a:gd name="T2" fmla="*/ 51 w 53"/>
                        <a:gd name="T3" fmla="*/ 16 h 53"/>
                        <a:gd name="T4" fmla="*/ 45 w 53"/>
                        <a:gd name="T5" fmla="*/ 7 h 53"/>
                        <a:gd name="T6" fmla="*/ 37 w 53"/>
                        <a:gd name="T7" fmla="*/ 2 h 53"/>
                        <a:gd name="T8" fmla="*/ 27 w 53"/>
                        <a:gd name="T9" fmla="*/ 0 h 53"/>
                        <a:gd name="T10" fmla="*/ 16 w 53"/>
                        <a:gd name="T11" fmla="*/ 2 h 53"/>
                        <a:gd name="T12" fmla="*/ 8 w 53"/>
                        <a:gd name="T13" fmla="*/ 7 h 53"/>
                        <a:gd name="T14" fmla="*/ 2 w 53"/>
                        <a:gd name="T15" fmla="*/ 16 h 53"/>
                        <a:gd name="T16" fmla="*/ 0 w 53"/>
                        <a:gd name="T17" fmla="*/ 26 h 53"/>
                        <a:gd name="T18" fmla="*/ 2 w 53"/>
                        <a:gd name="T19" fmla="*/ 37 h 53"/>
                        <a:gd name="T20" fmla="*/ 8 w 53"/>
                        <a:gd name="T21" fmla="*/ 45 h 53"/>
                        <a:gd name="T22" fmla="*/ 16 w 53"/>
                        <a:gd name="T23" fmla="*/ 51 h 53"/>
                        <a:gd name="T24" fmla="*/ 27 w 53"/>
                        <a:gd name="T25" fmla="*/ 53 h 53"/>
                        <a:gd name="T26" fmla="*/ 37 w 53"/>
                        <a:gd name="T27" fmla="*/ 51 h 53"/>
                        <a:gd name="T28" fmla="*/ 45 w 53"/>
                        <a:gd name="T29" fmla="*/ 45 h 53"/>
                        <a:gd name="T30" fmla="*/ 51 w 53"/>
                        <a:gd name="T31" fmla="*/ 37 h 53"/>
                        <a:gd name="T32" fmla="*/ 53 w 53"/>
                        <a:gd name="T33" fmla="*/ 26 h 5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3"/>
                        <a:gd name="T52" fmla="*/ 0 h 53"/>
                        <a:gd name="T53" fmla="*/ 53 w 53"/>
                        <a:gd name="T54" fmla="*/ 53 h 5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3" h="53">
                          <a:moveTo>
                            <a:pt x="53" y="26"/>
                          </a:moveTo>
                          <a:lnTo>
                            <a:pt x="51" y="16"/>
                          </a:lnTo>
                          <a:lnTo>
                            <a:pt x="45" y="7"/>
                          </a:lnTo>
                          <a:lnTo>
                            <a:pt x="37" y="2"/>
                          </a:lnTo>
                          <a:lnTo>
                            <a:pt x="27" y="0"/>
                          </a:lnTo>
                          <a:lnTo>
                            <a:pt x="16" y="2"/>
                          </a:lnTo>
                          <a:lnTo>
                            <a:pt x="8" y="7"/>
                          </a:lnTo>
                          <a:lnTo>
                            <a:pt x="2" y="16"/>
                          </a:lnTo>
                          <a:lnTo>
                            <a:pt x="0" y="26"/>
                          </a:lnTo>
                          <a:lnTo>
                            <a:pt x="2" y="37"/>
                          </a:lnTo>
                          <a:lnTo>
                            <a:pt x="8" y="45"/>
                          </a:lnTo>
                          <a:lnTo>
                            <a:pt x="16" y="51"/>
                          </a:lnTo>
                          <a:lnTo>
                            <a:pt x="27" y="53"/>
                          </a:lnTo>
                          <a:lnTo>
                            <a:pt x="37" y="51"/>
                          </a:lnTo>
                          <a:lnTo>
                            <a:pt x="45" y="45"/>
                          </a:lnTo>
                          <a:lnTo>
                            <a:pt x="51" y="37"/>
                          </a:lnTo>
                          <a:lnTo>
                            <a:pt x="53" y="2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8" name="Freeform 155"/>
                    <p:cNvSpPr>
                      <a:spLocks/>
                    </p:cNvSpPr>
                    <p:nvPr/>
                  </p:nvSpPr>
                  <p:spPr bwMode="auto">
                    <a:xfrm>
                      <a:off x="4211" y="2903"/>
                      <a:ext cx="53" cy="52"/>
                    </a:xfrm>
                    <a:custGeom>
                      <a:avLst/>
                      <a:gdLst>
                        <a:gd name="T0" fmla="*/ 53 w 53"/>
                        <a:gd name="T1" fmla="*/ 26 h 52"/>
                        <a:gd name="T2" fmla="*/ 51 w 53"/>
                        <a:gd name="T3" fmla="*/ 16 h 52"/>
                        <a:gd name="T4" fmla="*/ 45 w 53"/>
                        <a:gd name="T5" fmla="*/ 8 h 52"/>
                        <a:gd name="T6" fmla="*/ 37 w 53"/>
                        <a:gd name="T7" fmla="*/ 2 h 52"/>
                        <a:gd name="T8" fmla="*/ 26 w 53"/>
                        <a:gd name="T9" fmla="*/ 0 h 52"/>
                        <a:gd name="T10" fmla="*/ 16 w 53"/>
                        <a:gd name="T11" fmla="*/ 2 h 52"/>
                        <a:gd name="T12" fmla="*/ 8 w 53"/>
                        <a:gd name="T13" fmla="*/ 8 h 52"/>
                        <a:gd name="T14" fmla="*/ 3 w 53"/>
                        <a:gd name="T15" fmla="*/ 16 h 52"/>
                        <a:gd name="T16" fmla="*/ 0 w 53"/>
                        <a:gd name="T17" fmla="*/ 26 h 52"/>
                        <a:gd name="T18" fmla="*/ 3 w 53"/>
                        <a:gd name="T19" fmla="*/ 37 h 52"/>
                        <a:gd name="T20" fmla="*/ 8 w 53"/>
                        <a:gd name="T21" fmla="*/ 45 h 52"/>
                        <a:gd name="T22" fmla="*/ 16 w 53"/>
                        <a:gd name="T23" fmla="*/ 50 h 52"/>
                        <a:gd name="T24" fmla="*/ 26 w 53"/>
                        <a:gd name="T25" fmla="*/ 52 h 52"/>
                        <a:gd name="T26" fmla="*/ 37 w 53"/>
                        <a:gd name="T27" fmla="*/ 50 h 52"/>
                        <a:gd name="T28" fmla="*/ 45 w 53"/>
                        <a:gd name="T29" fmla="*/ 45 h 52"/>
                        <a:gd name="T30" fmla="*/ 51 w 53"/>
                        <a:gd name="T31" fmla="*/ 37 h 52"/>
                        <a:gd name="T32" fmla="*/ 53 w 53"/>
                        <a:gd name="T33" fmla="*/ 26 h 52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3"/>
                        <a:gd name="T52" fmla="*/ 0 h 52"/>
                        <a:gd name="T53" fmla="*/ 53 w 53"/>
                        <a:gd name="T54" fmla="*/ 52 h 52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3" h="52">
                          <a:moveTo>
                            <a:pt x="53" y="26"/>
                          </a:moveTo>
                          <a:lnTo>
                            <a:pt x="51" y="16"/>
                          </a:lnTo>
                          <a:lnTo>
                            <a:pt x="45" y="8"/>
                          </a:lnTo>
                          <a:lnTo>
                            <a:pt x="37" y="2"/>
                          </a:lnTo>
                          <a:lnTo>
                            <a:pt x="26" y="0"/>
                          </a:lnTo>
                          <a:lnTo>
                            <a:pt x="16" y="2"/>
                          </a:lnTo>
                          <a:lnTo>
                            <a:pt x="8" y="8"/>
                          </a:lnTo>
                          <a:lnTo>
                            <a:pt x="3" y="16"/>
                          </a:lnTo>
                          <a:lnTo>
                            <a:pt x="0" y="26"/>
                          </a:lnTo>
                          <a:lnTo>
                            <a:pt x="3" y="37"/>
                          </a:lnTo>
                          <a:lnTo>
                            <a:pt x="8" y="45"/>
                          </a:lnTo>
                          <a:lnTo>
                            <a:pt x="16" y="50"/>
                          </a:lnTo>
                          <a:lnTo>
                            <a:pt x="26" y="52"/>
                          </a:lnTo>
                          <a:lnTo>
                            <a:pt x="37" y="50"/>
                          </a:lnTo>
                          <a:lnTo>
                            <a:pt x="45" y="45"/>
                          </a:lnTo>
                          <a:lnTo>
                            <a:pt x="51" y="37"/>
                          </a:lnTo>
                          <a:lnTo>
                            <a:pt x="53" y="2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099" name="Freeform 156"/>
                    <p:cNvSpPr>
                      <a:spLocks/>
                    </p:cNvSpPr>
                    <p:nvPr/>
                  </p:nvSpPr>
                  <p:spPr bwMode="auto">
                    <a:xfrm>
                      <a:off x="4211" y="2903"/>
                      <a:ext cx="53" cy="52"/>
                    </a:xfrm>
                    <a:custGeom>
                      <a:avLst/>
                      <a:gdLst>
                        <a:gd name="T0" fmla="*/ 53 w 53"/>
                        <a:gd name="T1" fmla="*/ 26 h 52"/>
                        <a:gd name="T2" fmla="*/ 51 w 53"/>
                        <a:gd name="T3" fmla="*/ 16 h 52"/>
                        <a:gd name="T4" fmla="*/ 45 w 53"/>
                        <a:gd name="T5" fmla="*/ 8 h 52"/>
                        <a:gd name="T6" fmla="*/ 37 w 53"/>
                        <a:gd name="T7" fmla="*/ 2 h 52"/>
                        <a:gd name="T8" fmla="*/ 26 w 53"/>
                        <a:gd name="T9" fmla="*/ 0 h 52"/>
                        <a:gd name="T10" fmla="*/ 16 w 53"/>
                        <a:gd name="T11" fmla="*/ 2 h 52"/>
                        <a:gd name="T12" fmla="*/ 8 w 53"/>
                        <a:gd name="T13" fmla="*/ 8 h 52"/>
                        <a:gd name="T14" fmla="*/ 3 w 53"/>
                        <a:gd name="T15" fmla="*/ 16 h 52"/>
                        <a:gd name="T16" fmla="*/ 0 w 53"/>
                        <a:gd name="T17" fmla="*/ 26 h 52"/>
                        <a:gd name="T18" fmla="*/ 3 w 53"/>
                        <a:gd name="T19" fmla="*/ 37 h 52"/>
                        <a:gd name="T20" fmla="*/ 8 w 53"/>
                        <a:gd name="T21" fmla="*/ 45 h 52"/>
                        <a:gd name="T22" fmla="*/ 16 w 53"/>
                        <a:gd name="T23" fmla="*/ 50 h 52"/>
                        <a:gd name="T24" fmla="*/ 26 w 53"/>
                        <a:gd name="T25" fmla="*/ 52 h 52"/>
                        <a:gd name="T26" fmla="*/ 37 w 53"/>
                        <a:gd name="T27" fmla="*/ 50 h 52"/>
                        <a:gd name="T28" fmla="*/ 45 w 53"/>
                        <a:gd name="T29" fmla="*/ 45 h 52"/>
                        <a:gd name="T30" fmla="*/ 51 w 53"/>
                        <a:gd name="T31" fmla="*/ 37 h 52"/>
                        <a:gd name="T32" fmla="*/ 53 w 53"/>
                        <a:gd name="T33" fmla="*/ 26 h 52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3"/>
                        <a:gd name="T52" fmla="*/ 0 h 52"/>
                        <a:gd name="T53" fmla="*/ 53 w 53"/>
                        <a:gd name="T54" fmla="*/ 52 h 52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3" h="52">
                          <a:moveTo>
                            <a:pt x="53" y="26"/>
                          </a:moveTo>
                          <a:lnTo>
                            <a:pt x="51" y="16"/>
                          </a:lnTo>
                          <a:lnTo>
                            <a:pt x="45" y="8"/>
                          </a:lnTo>
                          <a:lnTo>
                            <a:pt x="37" y="2"/>
                          </a:lnTo>
                          <a:lnTo>
                            <a:pt x="26" y="0"/>
                          </a:lnTo>
                          <a:lnTo>
                            <a:pt x="16" y="2"/>
                          </a:lnTo>
                          <a:lnTo>
                            <a:pt x="8" y="8"/>
                          </a:lnTo>
                          <a:lnTo>
                            <a:pt x="3" y="16"/>
                          </a:lnTo>
                          <a:lnTo>
                            <a:pt x="0" y="26"/>
                          </a:lnTo>
                          <a:lnTo>
                            <a:pt x="3" y="37"/>
                          </a:lnTo>
                          <a:lnTo>
                            <a:pt x="8" y="45"/>
                          </a:lnTo>
                          <a:lnTo>
                            <a:pt x="16" y="50"/>
                          </a:lnTo>
                          <a:lnTo>
                            <a:pt x="26" y="52"/>
                          </a:lnTo>
                          <a:lnTo>
                            <a:pt x="37" y="50"/>
                          </a:lnTo>
                          <a:lnTo>
                            <a:pt x="45" y="45"/>
                          </a:lnTo>
                          <a:lnTo>
                            <a:pt x="51" y="37"/>
                          </a:lnTo>
                          <a:lnTo>
                            <a:pt x="53" y="2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0" name="Freeform 157"/>
                    <p:cNvSpPr>
                      <a:spLocks/>
                    </p:cNvSpPr>
                    <p:nvPr/>
                  </p:nvSpPr>
                  <p:spPr bwMode="auto">
                    <a:xfrm>
                      <a:off x="4270" y="3015"/>
                      <a:ext cx="52" cy="52"/>
                    </a:xfrm>
                    <a:custGeom>
                      <a:avLst/>
                      <a:gdLst>
                        <a:gd name="T0" fmla="*/ 52 w 52"/>
                        <a:gd name="T1" fmla="*/ 26 h 52"/>
                        <a:gd name="T2" fmla="*/ 50 w 52"/>
                        <a:gd name="T3" fmla="*/ 16 h 52"/>
                        <a:gd name="T4" fmla="*/ 44 w 52"/>
                        <a:gd name="T5" fmla="*/ 8 h 52"/>
                        <a:gd name="T6" fmla="*/ 36 w 52"/>
                        <a:gd name="T7" fmla="*/ 2 h 52"/>
                        <a:gd name="T8" fmla="*/ 25 w 52"/>
                        <a:gd name="T9" fmla="*/ 0 h 52"/>
                        <a:gd name="T10" fmla="*/ 15 w 52"/>
                        <a:gd name="T11" fmla="*/ 2 h 52"/>
                        <a:gd name="T12" fmla="*/ 7 w 52"/>
                        <a:gd name="T13" fmla="*/ 8 h 52"/>
                        <a:gd name="T14" fmla="*/ 2 w 52"/>
                        <a:gd name="T15" fmla="*/ 16 h 52"/>
                        <a:gd name="T16" fmla="*/ 0 w 52"/>
                        <a:gd name="T17" fmla="*/ 26 h 52"/>
                        <a:gd name="T18" fmla="*/ 2 w 52"/>
                        <a:gd name="T19" fmla="*/ 36 h 52"/>
                        <a:gd name="T20" fmla="*/ 7 w 52"/>
                        <a:gd name="T21" fmla="*/ 44 h 52"/>
                        <a:gd name="T22" fmla="*/ 15 w 52"/>
                        <a:gd name="T23" fmla="*/ 50 h 52"/>
                        <a:gd name="T24" fmla="*/ 25 w 52"/>
                        <a:gd name="T25" fmla="*/ 52 h 52"/>
                        <a:gd name="T26" fmla="*/ 36 w 52"/>
                        <a:gd name="T27" fmla="*/ 50 h 52"/>
                        <a:gd name="T28" fmla="*/ 44 w 52"/>
                        <a:gd name="T29" fmla="*/ 44 h 52"/>
                        <a:gd name="T30" fmla="*/ 50 w 52"/>
                        <a:gd name="T31" fmla="*/ 36 h 52"/>
                        <a:gd name="T32" fmla="*/ 52 w 52"/>
                        <a:gd name="T33" fmla="*/ 26 h 52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2"/>
                        <a:gd name="T52" fmla="*/ 0 h 52"/>
                        <a:gd name="T53" fmla="*/ 52 w 52"/>
                        <a:gd name="T54" fmla="*/ 52 h 52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2" h="52">
                          <a:moveTo>
                            <a:pt x="52" y="26"/>
                          </a:moveTo>
                          <a:lnTo>
                            <a:pt x="50" y="16"/>
                          </a:lnTo>
                          <a:lnTo>
                            <a:pt x="44" y="8"/>
                          </a:lnTo>
                          <a:lnTo>
                            <a:pt x="36" y="2"/>
                          </a:lnTo>
                          <a:lnTo>
                            <a:pt x="25" y="0"/>
                          </a:lnTo>
                          <a:lnTo>
                            <a:pt x="15" y="2"/>
                          </a:lnTo>
                          <a:lnTo>
                            <a:pt x="7" y="8"/>
                          </a:lnTo>
                          <a:lnTo>
                            <a:pt x="2" y="16"/>
                          </a:lnTo>
                          <a:lnTo>
                            <a:pt x="0" y="26"/>
                          </a:lnTo>
                          <a:lnTo>
                            <a:pt x="2" y="36"/>
                          </a:lnTo>
                          <a:lnTo>
                            <a:pt x="7" y="44"/>
                          </a:lnTo>
                          <a:lnTo>
                            <a:pt x="15" y="50"/>
                          </a:lnTo>
                          <a:lnTo>
                            <a:pt x="25" y="52"/>
                          </a:lnTo>
                          <a:lnTo>
                            <a:pt x="36" y="50"/>
                          </a:lnTo>
                          <a:lnTo>
                            <a:pt x="44" y="44"/>
                          </a:lnTo>
                          <a:lnTo>
                            <a:pt x="50" y="36"/>
                          </a:lnTo>
                          <a:lnTo>
                            <a:pt x="52" y="2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1" name="Freeform 158"/>
                    <p:cNvSpPr>
                      <a:spLocks/>
                    </p:cNvSpPr>
                    <p:nvPr/>
                  </p:nvSpPr>
                  <p:spPr bwMode="auto">
                    <a:xfrm>
                      <a:off x="4270" y="3015"/>
                      <a:ext cx="52" cy="52"/>
                    </a:xfrm>
                    <a:custGeom>
                      <a:avLst/>
                      <a:gdLst>
                        <a:gd name="T0" fmla="*/ 52 w 52"/>
                        <a:gd name="T1" fmla="*/ 26 h 52"/>
                        <a:gd name="T2" fmla="*/ 50 w 52"/>
                        <a:gd name="T3" fmla="*/ 16 h 52"/>
                        <a:gd name="T4" fmla="*/ 44 w 52"/>
                        <a:gd name="T5" fmla="*/ 8 h 52"/>
                        <a:gd name="T6" fmla="*/ 36 w 52"/>
                        <a:gd name="T7" fmla="*/ 2 h 52"/>
                        <a:gd name="T8" fmla="*/ 25 w 52"/>
                        <a:gd name="T9" fmla="*/ 0 h 52"/>
                        <a:gd name="T10" fmla="*/ 15 w 52"/>
                        <a:gd name="T11" fmla="*/ 2 h 52"/>
                        <a:gd name="T12" fmla="*/ 7 w 52"/>
                        <a:gd name="T13" fmla="*/ 8 h 52"/>
                        <a:gd name="T14" fmla="*/ 2 w 52"/>
                        <a:gd name="T15" fmla="*/ 16 h 52"/>
                        <a:gd name="T16" fmla="*/ 0 w 52"/>
                        <a:gd name="T17" fmla="*/ 26 h 52"/>
                        <a:gd name="T18" fmla="*/ 2 w 52"/>
                        <a:gd name="T19" fmla="*/ 36 h 52"/>
                        <a:gd name="T20" fmla="*/ 7 w 52"/>
                        <a:gd name="T21" fmla="*/ 44 h 52"/>
                        <a:gd name="T22" fmla="*/ 15 w 52"/>
                        <a:gd name="T23" fmla="*/ 50 h 52"/>
                        <a:gd name="T24" fmla="*/ 25 w 52"/>
                        <a:gd name="T25" fmla="*/ 52 h 52"/>
                        <a:gd name="T26" fmla="*/ 36 w 52"/>
                        <a:gd name="T27" fmla="*/ 50 h 52"/>
                        <a:gd name="T28" fmla="*/ 44 w 52"/>
                        <a:gd name="T29" fmla="*/ 44 h 52"/>
                        <a:gd name="T30" fmla="*/ 50 w 52"/>
                        <a:gd name="T31" fmla="*/ 36 h 52"/>
                        <a:gd name="T32" fmla="*/ 52 w 52"/>
                        <a:gd name="T33" fmla="*/ 26 h 52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2"/>
                        <a:gd name="T52" fmla="*/ 0 h 52"/>
                        <a:gd name="T53" fmla="*/ 52 w 52"/>
                        <a:gd name="T54" fmla="*/ 52 h 52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2" h="52">
                          <a:moveTo>
                            <a:pt x="52" y="26"/>
                          </a:moveTo>
                          <a:lnTo>
                            <a:pt x="50" y="16"/>
                          </a:lnTo>
                          <a:lnTo>
                            <a:pt x="44" y="8"/>
                          </a:lnTo>
                          <a:lnTo>
                            <a:pt x="36" y="2"/>
                          </a:lnTo>
                          <a:lnTo>
                            <a:pt x="25" y="0"/>
                          </a:lnTo>
                          <a:lnTo>
                            <a:pt x="15" y="2"/>
                          </a:lnTo>
                          <a:lnTo>
                            <a:pt x="7" y="8"/>
                          </a:lnTo>
                          <a:lnTo>
                            <a:pt x="2" y="16"/>
                          </a:lnTo>
                          <a:lnTo>
                            <a:pt x="0" y="26"/>
                          </a:lnTo>
                          <a:lnTo>
                            <a:pt x="2" y="36"/>
                          </a:lnTo>
                          <a:lnTo>
                            <a:pt x="7" y="44"/>
                          </a:lnTo>
                          <a:lnTo>
                            <a:pt x="15" y="50"/>
                          </a:lnTo>
                          <a:lnTo>
                            <a:pt x="25" y="52"/>
                          </a:lnTo>
                          <a:lnTo>
                            <a:pt x="36" y="50"/>
                          </a:lnTo>
                          <a:lnTo>
                            <a:pt x="44" y="44"/>
                          </a:lnTo>
                          <a:lnTo>
                            <a:pt x="50" y="36"/>
                          </a:lnTo>
                          <a:lnTo>
                            <a:pt x="52" y="2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2" name="Freeform 159"/>
                    <p:cNvSpPr>
                      <a:spLocks/>
                    </p:cNvSpPr>
                    <p:nvPr/>
                  </p:nvSpPr>
                  <p:spPr bwMode="auto">
                    <a:xfrm>
                      <a:off x="4149" y="2933"/>
                      <a:ext cx="51" cy="51"/>
                    </a:xfrm>
                    <a:custGeom>
                      <a:avLst/>
                      <a:gdLst>
                        <a:gd name="T0" fmla="*/ 51 w 51"/>
                        <a:gd name="T1" fmla="*/ 26 h 51"/>
                        <a:gd name="T2" fmla="*/ 49 w 51"/>
                        <a:gd name="T3" fmla="*/ 16 h 51"/>
                        <a:gd name="T4" fmla="*/ 44 w 51"/>
                        <a:gd name="T5" fmla="*/ 8 h 51"/>
                        <a:gd name="T6" fmla="*/ 36 w 51"/>
                        <a:gd name="T7" fmla="*/ 3 h 51"/>
                        <a:gd name="T8" fmla="*/ 25 w 51"/>
                        <a:gd name="T9" fmla="*/ 0 h 51"/>
                        <a:gd name="T10" fmla="*/ 15 w 51"/>
                        <a:gd name="T11" fmla="*/ 3 h 51"/>
                        <a:gd name="T12" fmla="*/ 7 w 51"/>
                        <a:gd name="T13" fmla="*/ 8 h 51"/>
                        <a:gd name="T14" fmla="*/ 2 w 51"/>
                        <a:gd name="T15" fmla="*/ 16 h 51"/>
                        <a:gd name="T16" fmla="*/ 0 w 51"/>
                        <a:gd name="T17" fmla="*/ 26 h 51"/>
                        <a:gd name="T18" fmla="*/ 2 w 51"/>
                        <a:gd name="T19" fmla="*/ 37 h 51"/>
                        <a:gd name="T20" fmla="*/ 7 w 51"/>
                        <a:gd name="T21" fmla="*/ 44 h 51"/>
                        <a:gd name="T22" fmla="*/ 15 w 51"/>
                        <a:gd name="T23" fmla="*/ 50 h 51"/>
                        <a:gd name="T24" fmla="*/ 25 w 51"/>
                        <a:gd name="T25" fmla="*/ 51 h 51"/>
                        <a:gd name="T26" fmla="*/ 36 w 51"/>
                        <a:gd name="T27" fmla="*/ 50 h 51"/>
                        <a:gd name="T28" fmla="*/ 44 w 51"/>
                        <a:gd name="T29" fmla="*/ 44 h 51"/>
                        <a:gd name="T30" fmla="*/ 49 w 51"/>
                        <a:gd name="T31" fmla="*/ 37 h 51"/>
                        <a:gd name="T32" fmla="*/ 51 w 51"/>
                        <a:gd name="T33" fmla="*/ 26 h 51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1"/>
                        <a:gd name="T52" fmla="*/ 0 h 51"/>
                        <a:gd name="T53" fmla="*/ 51 w 51"/>
                        <a:gd name="T54" fmla="*/ 51 h 51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1" h="51">
                          <a:moveTo>
                            <a:pt x="51" y="26"/>
                          </a:moveTo>
                          <a:lnTo>
                            <a:pt x="49" y="16"/>
                          </a:lnTo>
                          <a:lnTo>
                            <a:pt x="44" y="8"/>
                          </a:lnTo>
                          <a:lnTo>
                            <a:pt x="36" y="3"/>
                          </a:lnTo>
                          <a:lnTo>
                            <a:pt x="25" y="0"/>
                          </a:lnTo>
                          <a:lnTo>
                            <a:pt x="15" y="3"/>
                          </a:lnTo>
                          <a:lnTo>
                            <a:pt x="7" y="8"/>
                          </a:lnTo>
                          <a:lnTo>
                            <a:pt x="2" y="16"/>
                          </a:lnTo>
                          <a:lnTo>
                            <a:pt x="0" y="26"/>
                          </a:lnTo>
                          <a:lnTo>
                            <a:pt x="2" y="37"/>
                          </a:lnTo>
                          <a:lnTo>
                            <a:pt x="7" y="44"/>
                          </a:lnTo>
                          <a:lnTo>
                            <a:pt x="15" y="50"/>
                          </a:lnTo>
                          <a:lnTo>
                            <a:pt x="25" y="51"/>
                          </a:lnTo>
                          <a:lnTo>
                            <a:pt x="36" y="50"/>
                          </a:lnTo>
                          <a:lnTo>
                            <a:pt x="44" y="44"/>
                          </a:lnTo>
                          <a:lnTo>
                            <a:pt x="49" y="37"/>
                          </a:lnTo>
                          <a:lnTo>
                            <a:pt x="51" y="2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3" name="Freeform 160"/>
                    <p:cNvSpPr>
                      <a:spLocks/>
                    </p:cNvSpPr>
                    <p:nvPr/>
                  </p:nvSpPr>
                  <p:spPr bwMode="auto">
                    <a:xfrm>
                      <a:off x="4149" y="2933"/>
                      <a:ext cx="51" cy="51"/>
                    </a:xfrm>
                    <a:custGeom>
                      <a:avLst/>
                      <a:gdLst>
                        <a:gd name="T0" fmla="*/ 51 w 51"/>
                        <a:gd name="T1" fmla="*/ 26 h 51"/>
                        <a:gd name="T2" fmla="*/ 49 w 51"/>
                        <a:gd name="T3" fmla="*/ 16 h 51"/>
                        <a:gd name="T4" fmla="*/ 44 w 51"/>
                        <a:gd name="T5" fmla="*/ 8 h 51"/>
                        <a:gd name="T6" fmla="*/ 36 w 51"/>
                        <a:gd name="T7" fmla="*/ 3 h 51"/>
                        <a:gd name="T8" fmla="*/ 25 w 51"/>
                        <a:gd name="T9" fmla="*/ 0 h 51"/>
                        <a:gd name="T10" fmla="*/ 15 w 51"/>
                        <a:gd name="T11" fmla="*/ 3 h 51"/>
                        <a:gd name="T12" fmla="*/ 7 w 51"/>
                        <a:gd name="T13" fmla="*/ 8 h 51"/>
                        <a:gd name="T14" fmla="*/ 2 w 51"/>
                        <a:gd name="T15" fmla="*/ 16 h 51"/>
                        <a:gd name="T16" fmla="*/ 0 w 51"/>
                        <a:gd name="T17" fmla="*/ 26 h 51"/>
                        <a:gd name="T18" fmla="*/ 2 w 51"/>
                        <a:gd name="T19" fmla="*/ 37 h 51"/>
                        <a:gd name="T20" fmla="*/ 7 w 51"/>
                        <a:gd name="T21" fmla="*/ 44 h 51"/>
                        <a:gd name="T22" fmla="*/ 15 w 51"/>
                        <a:gd name="T23" fmla="*/ 50 h 51"/>
                        <a:gd name="T24" fmla="*/ 25 w 51"/>
                        <a:gd name="T25" fmla="*/ 51 h 51"/>
                        <a:gd name="T26" fmla="*/ 36 w 51"/>
                        <a:gd name="T27" fmla="*/ 50 h 51"/>
                        <a:gd name="T28" fmla="*/ 44 w 51"/>
                        <a:gd name="T29" fmla="*/ 44 h 51"/>
                        <a:gd name="T30" fmla="*/ 49 w 51"/>
                        <a:gd name="T31" fmla="*/ 37 h 51"/>
                        <a:gd name="T32" fmla="*/ 51 w 51"/>
                        <a:gd name="T33" fmla="*/ 26 h 51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1"/>
                        <a:gd name="T52" fmla="*/ 0 h 51"/>
                        <a:gd name="T53" fmla="*/ 51 w 51"/>
                        <a:gd name="T54" fmla="*/ 51 h 51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1" h="51">
                          <a:moveTo>
                            <a:pt x="51" y="26"/>
                          </a:moveTo>
                          <a:lnTo>
                            <a:pt x="49" y="16"/>
                          </a:lnTo>
                          <a:lnTo>
                            <a:pt x="44" y="8"/>
                          </a:lnTo>
                          <a:lnTo>
                            <a:pt x="36" y="3"/>
                          </a:lnTo>
                          <a:lnTo>
                            <a:pt x="25" y="0"/>
                          </a:lnTo>
                          <a:lnTo>
                            <a:pt x="15" y="3"/>
                          </a:lnTo>
                          <a:lnTo>
                            <a:pt x="7" y="8"/>
                          </a:lnTo>
                          <a:lnTo>
                            <a:pt x="2" y="16"/>
                          </a:lnTo>
                          <a:lnTo>
                            <a:pt x="0" y="26"/>
                          </a:lnTo>
                          <a:lnTo>
                            <a:pt x="2" y="37"/>
                          </a:lnTo>
                          <a:lnTo>
                            <a:pt x="7" y="44"/>
                          </a:lnTo>
                          <a:lnTo>
                            <a:pt x="15" y="50"/>
                          </a:lnTo>
                          <a:lnTo>
                            <a:pt x="25" y="51"/>
                          </a:lnTo>
                          <a:lnTo>
                            <a:pt x="36" y="50"/>
                          </a:lnTo>
                          <a:lnTo>
                            <a:pt x="44" y="44"/>
                          </a:lnTo>
                          <a:lnTo>
                            <a:pt x="49" y="37"/>
                          </a:lnTo>
                          <a:lnTo>
                            <a:pt x="51" y="2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4" name="Freeform 161"/>
                    <p:cNvSpPr>
                      <a:spLocks/>
                    </p:cNvSpPr>
                    <p:nvPr/>
                  </p:nvSpPr>
                  <p:spPr bwMode="auto">
                    <a:xfrm>
                      <a:off x="4253" y="2972"/>
                      <a:ext cx="50" cy="49"/>
                    </a:xfrm>
                    <a:custGeom>
                      <a:avLst/>
                      <a:gdLst>
                        <a:gd name="T0" fmla="*/ 50 w 50"/>
                        <a:gd name="T1" fmla="*/ 24 h 49"/>
                        <a:gd name="T2" fmla="*/ 48 w 50"/>
                        <a:gd name="T3" fmla="*/ 15 h 49"/>
                        <a:gd name="T4" fmla="*/ 42 w 50"/>
                        <a:gd name="T5" fmla="*/ 7 h 49"/>
                        <a:gd name="T6" fmla="*/ 35 w 50"/>
                        <a:gd name="T7" fmla="*/ 1 h 49"/>
                        <a:gd name="T8" fmla="*/ 24 w 50"/>
                        <a:gd name="T9" fmla="*/ 0 h 49"/>
                        <a:gd name="T10" fmla="*/ 15 w 50"/>
                        <a:gd name="T11" fmla="*/ 1 h 49"/>
                        <a:gd name="T12" fmla="*/ 7 w 50"/>
                        <a:gd name="T13" fmla="*/ 7 h 49"/>
                        <a:gd name="T14" fmla="*/ 2 w 50"/>
                        <a:gd name="T15" fmla="*/ 15 h 49"/>
                        <a:gd name="T16" fmla="*/ 0 w 50"/>
                        <a:gd name="T17" fmla="*/ 24 h 49"/>
                        <a:gd name="T18" fmla="*/ 2 w 50"/>
                        <a:gd name="T19" fmla="*/ 34 h 49"/>
                        <a:gd name="T20" fmla="*/ 7 w 50"/>
                        <a:gd name="T21" fmla="*/ 42 h 49"/>
                        <a:gd name="T22" fmla="*/ 15 w 50"/>
                        <a:gd name="T23" fmla="*/ 48 h 49"/>
                        <a:gd name="T24" fmla="*/ 24 w 50"/>
                        <a:gd name="T25" fmla="*/ 49 h 49"/>
                        <a:gd name="T26" fmla="*/ 35 w 50"/>
                        <a:gd name="T27" fmla="*/ 48 h 49"/>
                        <a:gd name="T28" fmla="*/ 42 w 50"/>
                        <a:gd name="T29" fmla="*/ 42 h 49"/>
                        <a:gd name="T30" fmla="*/ 48 w 50"/>
                        <a:gd name="T31" fmla="*/ 34 h 49"/>
                        <a:gd name="T32" fmla="*/ 50 w 50"/>
                        <a:gd name="T33" fmla="*/ 24 h 49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0"/>
                        <a:gd name="T52" fmla="*/ 0 h 49"/>
                        <a:gd name="T53" fmla="*/ 50 w 50"/>
                        <a:gd name="T54" fmla="*/ 49 h 49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0" h="49">
                          <a:moveTo>
                            <a:pt x="50" y="24"/>
                          </a:moveTo>
                          <a:lnTo>
                            <a:pt x="48" y="15"/>
                          </a:lnTo>
                          <a:lnTo>
                            <a:pt x="42" y="7"/>
                          </a:lnTo>
                          <a:lnTo>
                            <a:pt x="35" y="1"/>
                          </a:lnTo>
                          <a:lnTo>
                            <a:pt x="24" y="0"/>
                          </a:lnTo>
                          <a:lnTo>
                            <a:pt x="15" y="1"/>
                          </a:lnTo>
                          <a:lnTo>
                            <a:pt x="7" y="7"/>
                          </a:lnTo>
                          <a:lnTo>
                            <a:pt x="2" y="15"/>
                          </a:lnTo>
                          <a:lnTo>
                            <a:pt x="0" y="24"/>
                          </a:lnTo>
                          <a:lnTo>
                            <a:pt x="2" y="34"/>
                          </a:lnTo>
                          <a:lnTo>
                            <a:pt x="7" y="42"/>
                          </a:lnTo>
                          <a:lnTo>
                            <a:pt x="15" y="48"/>
                          </a:lnTo>
                          <a:lnTo>
                            <a:pt x="24" y="49"/>
                          </a:lnTo>
                          <a:lnTo>
                            <a:pt x="35" y="48"/>
                          </a:lnTo>
                          <a:lnTo>
                            <a:pt x="42" y="42"/>
                          </a:lnTo>
                          <a:lnTo>
                            <a:pt x="48" y="34"/>
                          </a:lnTo>
                          <a:lnTo>
                            <a:pt x="50" y="2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5" name="Freeform 162"/>
                    <p:cNvSpPr>
                      <a:spLocks/>
                    </p:cNvSpPr>
                    <p:nvPr/>
                  </p:nvSpPr>
                  <p:spPr bwMode="auto">
                    <a:xfrm>
                      <a:off x="4253" y="2972"/>
                      <a:ext cx="50" cy="49"/>
                    </a:xfrm>
                    <a:custGeom>
                      <a:avLst/>
                      <a:gdLst>
                        <a:gd name="T0" fmla="*/ 50 w 50"/>
                        <a:gd name="T1" fmla="*/ 24 h 49"/>
                        <a:gd name="T2" fmla="*/ 48 w 50"/>
                        <a:gd name="T3" fmla="*/ 15 h 49"/>
                        <a:gd name="T4" fmla="*/ 42 w 50"/>
                        <a:gd name="T5" fmla="*/ 7 h 49"/>
                        <a:gd name="T6" fmla="*/ 35 w 50"/>
                        <a:gd name="T7" fmla="*/ 1 h 49"/>
                        <a:gd name="T8" fmla="*/ 24 w 50"/>
                        <a:gd name="T9" fmla="*/ 0 h 49"/>
                        <a:gd name="T10" fmla="*/ 15 w 50"/>
                        <a:gd name="T11" fmla="*/ 1 h 49"/>
                        <a:gd name="T12" fmla="*/ 7 w 50"/>
                        <a:gd name="T13" fmla="*/ 7 h 49"/>
                        <a:gd name="T14" fmla="*/ 2 w 50"/>
                        <a:gd name="T15" fmla="*/ 15 h 49"/>
                        <a:gd name="T16" fmla="*/ 0 w 50"/>
                        <a:gd name="T17" fmla="*/ 24 h 49"/>
                        <a:gd name="T18" fmla="*/ 2 w 50"/>
                        <a:gd name="T19" fmla="*/ 34 h 49"/>
                        <a:gd name="T20" fmla="*/ 7 w 50"/>
                        <a:gd name="T21" fmla="*/ 42 h 49"/>
                        <a:gd name="T22" fmla="*/ 15 w 50"/>
                        <a:gd name="T23" fmla="*/ 48 h 49"/>
                        <a:gd name="T24" fmla="*/ 24 w 50"/>
                        <a:gd name="T25" fmla="*/ 49 h 49"/>
                        <a:gd name="T26" fmla="*/ 35 w 50"/>
                        <a:gd name="T27" fmla="*/ 48 h 49"/>
                        <a:gd name="T28" fmla="*/ 42 w 50"/>
                        <a:gd name="T29" fmla="*/ 42 h 49"/>
                        <a:gd name="T30" fmla="*/ 48 w 50"/>
                        <a:gd name="T31" fmla="*/ 34 h 49"/>
                        <a:gd name="T32" fmla="*/ 50 w 50"/>
                        <a:gd name="T33" fmla="*/ 24 h 49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0"/>
                        <a:gd name="T52" fmla="*/ 0 h 49"/>
                        <a:gd name="T53" fmla="*/ 50 w 50"/>
                        <a:gd name="T54" fmla="*/ 49 h 49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0" h="49">
                          <a:moveTo>
                            <a:pt x="50" y="24"/>
                          </a:moveTo>
                          <a:lnTo>
                            <a:pt x="48" y="15"/>
                          </a:lnTo>
                          <a:lnTo>
                            <a:pt x="42" y="7"/>
                          </a:lnTo>
                          <a:lnTo>
                            <a:pt x="35" y="1"/>
                          </a:lnTo>
                          <a:lnTo>
                            <a:pt x="24" y="0"/>
                          </a:lnTo>
                          <a:lnTo>
                            <a:pt x="15" y="1"/>
                          </a:lnTo>
                          <a:lnTo>
                            <a:pt x="7" y="7"/>
                          </a:lnTo>
                          <a:lnTo>
                            <a:pt x="2" y="15"/>
                          </a:lnTo>
                          <a:lnTo>
                            <a:pt x="0" y="24"/>
                          </a:lnTo>
                          <a:lnTo>
                            <a:pt x="2" y="34"/>
                          </a:lnTo>
                          <a:lnTo>
                            <a:pt x="7" y="42"/>
                          </a:lnTo>
                          <a:lnTo>
                            <a:pt x="15" y="48"/>
                          </a:lnTo>
                          <a:lnTo>
                            <a:pt x="24" y="49"/>
                          </a:lnTo>
                          <a:lnTo>
                            <a:pt x="35" y="48"/>
                          </a:lnTo>
                          <a:lnTo>
                            <a:pt x="42" y="42"/>
                          </a:lnTo>
                          <a:lnTo>
                            <a:pt x="48" y="34"/>
                          </a:lnTo>
                          <a:lnTo>
                            <a:pt x="50" y="24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6" name="Freeform 163"/>
                    <p:cNvSpPr>
                      <a:spLocks/>
                    </p:cNvSpPr>
                    <p:nvPr/>
                  </p:nvSpPr>
                  <p:spPr bwMode="auto">
                    <a:xfrm>
                      <a:off x="4889" y="1255"/>
                      <a:ext cx="48" cy="50"/>
                    </a:xfrm>
                    <a:custGeom>
                      <a:avLst/>
                      <a:gdLst>
                        <a:gd name="T0" fmla="*/ 48 w 48"/>
                        <a:gd name="T1" fmla="*/ 25 h 50"/>
                        <a:gd name="T2" fmla="*/ 47 w 48"/>
                        <a:gd name="T3" fmla="*/ 15 h 50"/>
                        <a:gd name="T4" fmla="*/ 41 w 48"/>
                        <a:gd name="T5" fmla="*/ 7 h 50"/>
                        <a:gd name="T6" fmla="*/ 33 w 48"/>
                        <a:gd name="T7" fmla="*/ 2 h 50"/>
                        <a:gd name="T8" fmla="*/ 24 w 48"/>
                        <a:gd name="T9" fmla="*/ 0 h 50"/>
                        <a:gd name="T10" fmla="*/ 15 w 48"/>
                        <a:gd name="T11" fmla="*/ 2 h 50"/>
                        <a:gd name="T12" fmla="*/ 7 w 48"/>
                        <a:gd name="T13" fmla="*/ 7 h 50"/>
                        <a:gd name="T14" fmla="*/ 1 w 48"/>
                        <a:gd name="T15" fmla="*/ 15 h 50"/>
                        <a:gd name="T16" fmla="*/ 0 w 48"/>
                        <a:gd name="T17" fmla="*/ 25 h 50"/>
                        <a:gd name="T18" fmla="*/ 1 w 48"/>
                        <a:gd name="T19" fmla="*/ 35 h 50"/>
                        <a:gd name="T20" fmla="*/ 7 w 48"/>
                        <a:gd name="T21" fmla="*/ 43 h 50"/>
                        <a:gd name="T22" fmla="*/ 15 w 48"/>
                        <a:gd name="T23" fmla="*/ 48 h 50"/>
                        <a:gd name="T24" fmla="*/ 24 w 48"/>
                        <a:gd name="T25" fmla="*/ 50 h 50"/>
                        <a:gd name="T26" fmla="*/ 33 w 48"/>
                        <a:gd name="T27" fmla="*/ 48 h 50"/>
                        <a:gd name="T28" fmla="*/ 41 w 48"/>
                        <a:gd name="T29" fmla="*/ 43 h 50"/>
                        <a:gd name="T30" fmla="*/ 47 w 48"/>
                        <a:gd name="T31" fmla="*/ 35 h 50"/>
                        <a:gd name="T32" fmla="*/ 48 w 48"/>
                        <a:gd name="T33" fmla="*/ 25 h 50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8"/>
                        <a:gd name="T52" fmla="*/ 0 h 50"/>
                        <a:gd name="T53" fmla="*/ 48 w 48"/>
                        <a:gd name="T54" fmla="*/ 50 h 50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8" h="50">
                          <a:moveTo>
                            <a:pt x="48" y="25"/>
                          </a:moveTo>
                          <a:lnTo>
                            <a:pt x="47" y="15"/>
                          </a:lnTo>
                          <a:lnTo>
                            <a:pt x="41" y="7"/>
                          </a:lnTo>
                          <a:lnTo>
                            <a:pt x="33" y="2"/>
                          </a:lnTo>
                          <a:lnTo>
                            <a:pt x="24" y="0"/>
                          </a:lnTo>
                          <a:lnTo>
                            <a:pt x="15" y="2"/>
                          </a:lnTo>
                          <a:lnTo>
                            <a:pt x="7" y="7"/>
                          </a:lnTo>
                          <a:lnTo>
                            <a:pt x="1" y="15"/>
                          </a:lnTo>
                          <a:lnTo>
                            <a:pt x="0" y="25"/>
                          </a:lnTo>
                          <a:lnTo>
                            <a:pt x="1" y="35"/>
                          </a:lnTo>
                          <a:lnTo>
                            <a:pt x="7" y="43"/>
                          </a:lnTo>
                          <a:lnTo>
                            <a:pt x="15" y="48"/>
                          </a:lnTo>
                          <a:lnTo>
                            <a:pt x="24" y="50"/>
                          </a:lnTo>
                          <a:lnTo>
                            <a:pt x="33" y="48"/>
                          </a:lnTo>
                          <a:lnTo>
                            <a:pt x="41" y="43"/>
                          </a:lnTo>
                          <a:lnTo>
                            <a:pt x="47" y="35"/>
                          </a:lnTo>
                          <a:lnTo>
                            <a:pt x="48" y="2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7" name="Freeform 164"/>
                    <p:cNvSpPr>
                      <a:spLocks/>
                    </p:cNvSpPr>
                    <p:nvPr/>
                  </p:nvSpPr>
                  <p:spPr bwMode="auto">
                    <a:xfrm>
                      <a:off x="4889" y="1255"/>
                      <a:ext cx="48" cy="50"/>
                    </a:xfrm>
                    <a:custGeom>
                      <a:avLst/>
                      <a:gdLst>
                        <a:gd name="T0" fmla="*/ 48 w 48"/>
                        <a:gd name="T1" fmla="*/ 25 h 50"/>
                        <a:gd name="T2" fmla="*/ 47 w 48"/>
                        <a:gd name="T3" fmla="*/ 15 h 50"/>
                        <a:gd name="T4" fmla="*/ 41 w 48"/>
                        <a:gd name="T5" fmla="*/ 7 h 50"/>
                        <a:gd name="T6" fmla="*/ 33 w 48"/>
                        <a:gd name="T7" fmla="*/ 2 h 50"/>
                        <a:gd name="T8" fmla="*/ 24 w 48"/>
                        <a:gd name="T9" fmla="*/ 0 h 50"/>
                        <a:gd name="T10" fmla="*/ 15 w 48"/>
                        <a:gd name="T11" fmla="*/ 2 h 50"/>
                        <a:gd name="T12" fmla="*/ 7 w 48"/>
                        <a:gd name="T13" fmla="*/ 7 h 50"/>
                        <a:gd name="T14" fmla="*/ 1 w 48"/>
                        <a:gd name="T15" fmla="*/ 15 h 50"/>
                        <a:gd name="T16" fmla="*/ 0 w 48"/>
                        <a:gd name="T17" fmla="*/ 25 h 50"/>
                        <a:gd name="T18" fmla="*/ 1 w 48"/>
                        <a:gd name="T19" fmla="*/ 35 h 50"/>
                        <a:gd name="T20" fmla="*/ 7 w 48"/>
                        <a:gd name="T21" fmla="*/ 43 h 50"/>
                        <a:gd name="T22" fmla="*/ 15 w 48"/>
                        <a:gd name="T23" fmla="*/ 48 h 50"/>
                        <a:gd name="T24" fmla="*/ 24 w 48"/>
                        <a:gd name="T25" fmla="*/ 50 h 50"/>
                        <a:gd name="T26" fmla="*/ 33 w 48"/>
                        <a:gd name="T27" fmla="*/ 48 h 50"/>
                        <a:gd name="T28" fmla="*/ 41 w 48"/>
                        <a:gd name="T29" fmla="*/ 43 h 50"/>
                        <a:gd name="T30" fmla="*/ 47 w 48"/>
                        <a:gd name="T31" fmla="*/ 35 h 50"/>
                        <a:gd name="T32" fmla="*/ 48 w 48"/>
                        <a:gd name="T33" fmla="*/ 25 h 50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8"/>
                        <a:gd name="T52" fmla="*/ 0 h 50"/>
                        <a:gd name="T53" fmla="*/ 48 w 48"/>
                        <a:gd name="T54" fmla="*/ 50 h 50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8" h="50">
                          <a:moveTo>
                            <a:pt x="48" y="25"/>
                          </a:moveTo>
                          <a:lnTo>
                            <a:pt x="47" y="15"/>
                          </a:lnTo>
                          <a:lnTo>
                            <a:pt x="41" y="7"/>
                          </a:lnTo>
                          <a:lnTo>
                            <a:pt x="33" y="2"/>
                          </a:lnTo>
                          <a:lnTo>
                            <a:pt x="24" y="0"/>
                          </a:lnTo>
                          <a:lnTo>
                            <a:pt x="15" y="2"/>
                          </a:lnTo>
                          <a:lnTo>
                            <a:pt x="7" y="7"/>
                          </a:lnTo>
                          <a:lnTo>
                            <a:pt x="1" y="15"/>
                          </a:lnTo>
                          <a:lnTo>
                            <a:pt x="0" y="25"/>
                          </a:lnTo>
                          <a:lnTo>
                            <a:pt x="1" y="35"/>
                          </a:lnTo>
                          <a:lnTo>
                            <a:pt x="7" y="43"/>
                          </a:lnTo>
                          <a:lnTo>
                            <a:pt x="15" y="48"/>
                          </a:lnTo>
                          <a:lnTo>
                            <a:pt x="24" y="50"/>
                          </a:lnTo>
                          <a:lnTo>
                            <a:pt x="33" y="48"/>
                          </a:lnTo>
                          <a:lnTo>
                            <a:pt x="41" y="43"/>
                          </a:lnTo>
                          <a:lnTo>
                            <a:pt x="47" y="35"/>
                          </a:lnTo>
                          <a:lnTo>
                            <a:pt x="48" y="2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8" name="Freeform 165"/>
                    <p:cNvSpPr>
                      <a:spLocks/>
                    </p:cNvSpPr>
                    <p:nvPr/>
                  </p:nvSpPr>
                  <p:spPr bwMode="auto">
                    <a:xfrm>
                      <a:off x="4308" y="3002"/>
                      <a:ext cx="49" cy="48"/>
                    </a:xfrm>
                    <a:custGeom>
                      <a:avLst/>
                      <a:gdLst>
                        <a:gd name="T0" fmla="*/ 49 w 49"/>
                        <a:gd name="T1" fmla="*/ 23 h 48"/>
                        <a:gd name="T2" fmla="*/ 47 w 49"/>
                        <a:gd name="T3" fmla="*/ 14 h 48"/>
                        <a:gd name="T4" fmla="*/ 42 w 49"/>
                        <a:gd name="T5" fmla="*/ 7 h 48"/>
                        <a:gd name="T6" fmla="*/ 34 w 49"/>
                        <a:gd name="T7" fmla="*/ 1 h 48"/>
                        <a:gd name="T8" fmla="*/ 24 w 49"/>
                        <a:gd name="T9" fmla="*/ 0 h 48"/>
                        <a:gd name="T10" fmla="*/ 15 w 49"/>
                        <a:gd name="T11" fmla="*/ 1 h 48"/>
                        <a:gd name="T12" fmla="*/ 7 w 49"/>
                        <a:gd name="T13" fmla="*/ 7 h 48"/>
                        <a:gd name="T14" fmla="*/ 2 w 49"/>
                        <a:gd name="T15" fmla="*/ 14 h 48"/>
                        <a:gd name="T16" fmla="*/ 0 w 49"/>
                        <a:gd name="T17" fmla="*/ 23 h 48"/>
                        <a:gd name="T18" fmla="*/ 2 w 49"/>
                        <a:gd name="T19" fmla="*/ 33 h 48"/>
                        <a:gd name="T20" fmla="*/ 7 w 49"/>
                        <a:gd name="T21" fmla="*/ 41 h 48"/>
                        <a:gd name="T22" fmla="*/ 15 w 49"/>
                        <a:gd name="T23" fmla="*/ 46 h 48"/>
                        <a:gd name="T24" fmla="*/ 24 w 49"/>
                        <a:gd name="T25" fmla="*/ 48 h 48"/>
                        <a:gd name="T26" fmla="*/ 34 w 49"/>
                        <a:gd name="T27" fmla="*/ 46 h 48"/>
                        <a:gd name="T28" fmla="*/ 42 w 49"/>
                        <a:gd name="T29" fmla="*/ 41 h 48"/>
                        <a:gd name="T30" fmla="*/ 47 w 49"/>
                        <a:gd name="T31" fmla="*/ 33 h 48"/>
                        <a:gd name="T32" fmla="*/ 49 w 49"/>
                        <a:gd name="T33" fmla="*/ 23 h 48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9"/>
                        <a:gd name="T52" fmla="*/ 0 h 48"/>
                        <a:gd name="T53" fmla="*/ 49 w 49"/>
                        <a:gd name="T54" fmla="*/ 48 h 48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9" h="48">
                          <a:moveTo>
                            <a:pt x="49" y="23"/>
                          </a:moveTo>
                          <a:lnTo>
                            <a:pt x="47" y="14"/>
                          </a:lnTo>
                          <a:lnTo>
                            <a:pt x="42" y="7"/>
                          </a:lnTo>
                          <a:lnTo>
                            <a:pt x="34" y="1"/>
                          </a:lnTo>
                          <a:lnTo>
                            <a:pt x="24" y="0"/>
                          </a:lnTo>
                          <a:lnTo>
                            <a:pt x="15" y="1"/>
                          </a:lnTo>
                          <a:lnTo>
                            <a:pt x="7" y="7"/>
                          </a:lnTo>
                          <a:lnTo>
                            <a:pt x="2" y="14"/>
                          </a:lnTo>
                          <a:lnTo>
                            <a:pt x="0" y="23"/>
                          </a:lnTo>
                          <a:lnTo>
                            <a:pt x="2" y="33"/>
                          </a:lnTo>
                          <a:lnTo>
                            <a:pt x="7" y="41"/>
                          </a:lnTo>
                          <a:lnTo>
                            <a:pt x="15" y="46"/>
                          </a:lnTo>
                          <a:lnTo>
                            <a:pt x="24" y="48"/>
                          </a:lnTo>
                          <a:lnTo>
                            <a:pt x="34" y="46"/>
                          </a:lnTo>
                          <a:lnTo>
                            <a:pt x="42" y="41"/>
                          </a:lnTo>
                          <a:lnTo>
                            <a:pt x="47" y="33"/>
                          </a:lnTo>
                          <a:lnTo>
                            <a:pt x="49" y="2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09" name="Freeform 166"/>
                    <p:cNvSpPr>
                      <a:spLocks/>
                    </p:cNvSpPr>
                    <p:nvPr/>
                  </p:nvSpPr>
                  <p:spPr bwMode="auto">
                    <a:xfrm>
                      <a:off x="4308" y="3002"/>
                      <a:ext cx="49" cy="48"/>
                    </a:xfrm>
                    <a:custGeom>
                      <a:avLst/>
                      <a:gdLst>
                        <a:gd name="T0" fmla="*/ 49 w 49"/>
                        <a:gd name="T1" fmla="*/ 23 h 48"/>
                        <a:gd name="T2" fmla="*/ 47 w 49"/>
                        <a:gd name="T3" fmla="*/ 14 h 48"/>
                        <a:gd name="T4" fmla="*/ 42 w 49"/>
                        <a:gd name="T5" fmla="*/ 7 h 48"/>
                        <a:gd name="T6" fmla="*/ 34 w 49"/>
                        <a:gd name="T7" fmla="*/ 1 h 48"/>
                        <a:gd name="T8" fmla="*/ 24 w 49"/>
                        <a:gd name="T9" fmla="*/ 0 h 48"/>
                        <a:gd name="T10" fmla="*/ 15 w 49"/>
                        <a:gd name="T11" fmla="*/ 1 h 48"/>
                        <a:gd name="T12" fmla="*/ 7 w 49"/>
                        <a:gd name="T13" fmla="*/ 7 h 48"/>
                        <a:gd name="T14" fmla="*/ 2 w 49"/>
                        <a:gd name="T15" fmla="*/ 14 h 48"/>
                        <a:gd name="T16" fmla="*/ 0 w 49"/>
                        <a:gd name="T17" fmla="*/ 23 h 48"/>
                        <a:gd name="T18" fmla="*/ 2 w 49"/>
                        <a:gd name="T19" fmla="*/ 33 h 48"/>
                        <a:gd name="T20" fmla="*/ 7 w 49"/>
                        <a:gd name="T21" fmla="*/ 41 h 48"/>
                        <a:gd name="T22" fmla="*/ 15 w 49"/>
                        <a:gd name="T23" fmla="*/ 46 h 48"/>
                        <a:gd name="T24" fmla="*/ 24 w 49"/>
                        <a:gd name="T25" fmla="*/ 48 h 48"/>
                        <a:gd name="T26" fmla="*/ 34 w 49"/>
                        <a:gd name="T27" fmla="*/ 46 h 48"/>
                        <a:gd name="T28" fmla="*/ 42 w 49"/>
                        <a:gd name="T29" fmla="*/ 41 h 48"/>
                        <a:gd name="T30" fmla="*/ 47 w 49"/>
                        <a:gd name="T31" fmla="*/ 33 h 48"/>
                        <a:gd name="T32" fmla="*/ 49 w 49"/>
                        <a:gd name="T33" fmla="*/ 23 h 48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9"/>
                        <a:gd name="T52" fmla="*/ 0 h 48"/>
                        <a:gd name="T53" fmla="*/ 49 w 49"/>
                        <a:gd name="T54" fmla="*/ 48 h 48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9" h="48">
                          <a:moveTo>
                            <a:pt x="49" y="23"/>
                          </a:moveTo>
                          <a:lnTo>
                            <a:pt x="47" y="14"/>
                          </a:lnTo>
                          <a:lnTo>
                            <a:pt x="42" y="7"/>
                          </a:lnTo>
                          <a:lnTo>
                            <a:pt x="34" y="1"/>
                          </a:lnTo>
                          <a:lnTo>
                            <a:pt x="24" y="0"/>
                          </a:lnTo>
                          <a:lnTo>
                            <a:pt x="15" y="1"/>
                          </a:lnTo>
                          <a:lnTo>
                            <a:pt x="7" y="7"/>
                          </a:lnTo>
                          <a:lnTo>
                            <a:pt x="2" y="14"/>
                          </a:lnTo>
                          <a:lnTo>
                            <a:pt x="0" y="23"/>
                          </a:lnTo>
                          <a:lnTo>
                            <a:pt x="2" y="33"/>
                          </a:lnTo>
                          <a:lnTo>
                            <a:pt x="7" y="41"/>
                          </a:lnTo>
                          <a:lnTo>
                            <a:pt x="15" y="46"/>
                          </a:lnTo>
                          <a:lnTo>
                            <a:pt x="24" y="48"/>
                          </a:lnTo>
                          <a:lnTo>
                            <a:pt x="34" y="46"/>
                          </a:lnTo>
                          <a:lnTo>
                            <a:pt x="42" y="41"/>
                          </a:lnTo>
                          <a:lnTo>
                            <a:pt x="47" y="33"/>
                          </a:lnTo>
                          <a:lnTo>
                            <a:pt x="49" y="2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0" name="Freeform 167"/>
                    <p:cNvSpPr>
                      <a:spLocks/>
                    </p:cNvSpPr>
                    <p:nvPr/>
                  </p:nvSpPr>
                  <p:spPr bwMode="auto">
                    <a:xfrm>
                      <a:off x="4332" y="1257"/>
                      <a:ext cx="48" cy="48"/>
                    </a:xfrm>
                    <a:custGeom>
                      <a:avLst/>
                      <a:gdLst>
                        <a:gd name="T0" fmla="*/ 48 w 48"/>
                        <a:gd name="T1" fmla="*/ 24 h 48"/>
                        <a:gd name="T2" fmla="*/ 47 w 48"/>
                        <a:gd name="T3" fmla="*/ 15 h 48"/>
                        <a:gd name="T4" fmla="*/ 41 w 48"/>
                        <a:gd name="T5" fmla="*/ 8 h 48"/>
                        <a:gd name="T6" fmla="*/ 33 w 48"/>
                        <a:gd name="T7" fmla="*/ 2 h 48"/>
                        <a:gd name="T8" fmla="*/ 25 w 48"/>
                        <a:gd name="T9" fmla="*/ 0 h 48"/>
                        <a:gd name="T10" fmla="*/ 15 w 48"/>
                        <a:gd name="T11" fmla="*/ 2 h 48"/>
                        <a:gd name="T12" fmla="*/ 7 w 48"/>
                        <a:gd name="T13" fmla="*/ 8 h 48"/>
                        <a:gd name="T14" fmla="*/ 2 w 48"/>
                        <a:gd name="T15" fmla="*/ 15 h 48"/>
                        <a:gd name="T16" fmla="*/ 0 w 48"/>
                        <a:gd name="T17" fmla="*/ 24 h 48"/>
                        <a:gd name="T18" fmla="*/ 2 w 48"/>
                        <a:gd name="T19" fmla="*/ 33 h 48"/>
                        <a:gd name="T20" fmla="*/ 7 w 48"/>
                        <a:gd name="T21" fmla="*/ 41 h 48"/>
                        <a:gd name="T22" fmla="*/ 15 w 48"/>
                        <a:gd name="T23" fmla="*/ 46 h 48"/>
                        <a:gd name="T24" fmla="*/ 25 w 48"/>
                        <a:gd name="T25" fmla="*/ 48 h 48"/>
                        <a:gd name="T26" fmla="*/ 33 w 48"/>
                        <a:gd name="T27" fmla="*/ 46 h 48"/>
                        <a:gd name="T28" fmla="*/ 41 w 48"/>
                        <a:gd name="T29" fmla="*/ 41 h 48"/>
                        <a:gd name="T30" fmla="*/ 47 w 48"/>
                        <a:gd name="T31" fmla="*/ 33 h 48"/>
                        <a:gd name="T32" fmla="*/ 48 w 48"/>
                        <a:gd name="T33" fmla="*/ 24 h 48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8"/>
                        <a:gd name="T52" fmla="*/ 0 h 48"/>
                        <a:gd name="T53" fmla="*/ 48 w 48"/>
                        <a:gd name="T54" fmla="*/ 48 h 48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8" h="48">
                          <a:moveTo>
                            <a:pt x="48" y="24"/>
                          </a:moveTo>
                          <a:lnTo>
                            <a:pt x="47" y="15"/>
                          </a:lnTo>
                          <a:lnTo>
                            <a:pt x="41" y="8"/>
                          </a:lnTo>
                          <a:lnTo>
                            <a:pt x="33" y="2"/>
                          </a:lnTo>
                          <a:lnTo>
                            <a:pt x="25" y="0"/>
                          </a:lnTo>
                          <a:lnTo>
                            <a:pt x="15" y="2"/>
                          </a:lnTo>
                          <a:lnTo>
                            <a:pt x="7" y="8"/>
                          </a:lnTo>
                          <a:lnTo>
                            <a:pt x="2" y="15"/>
                          </a:lnTo>
                          <a:lnTo>
                            <a:pt x="0" y="24"/>
                          </a:lnTo>
                          <a:lnTo>
                            <a:pt x="2" y="33"/>
                          </a:lnTo>
                          <a:lnTo>
                            <a:pt x="7" y="41"/>
                          </a:lnTo>
                          <a:lnTo>
                            <a:pt x="15" y="46"/>
                          </a:lnTo>
                          <a:lnTo>
                            <a:pt x="25" y="48"/>
                          </a:lnTo>
                          <a:lnTo>
                            <a:pt x="33" y="46"/>
                          </a:lnTo>
                          <a:lnTo>
                            <a:pt x="41" y="41"/>
                          </a:lnTo>
                          <a:lnTo>
                            <a:pt x="47" y="33"/>
                          </a:lnTo>
                          <a:lnTo>
                            <a:pt x="48" y="24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1" name="Freeform 168"/>
                    <p:cNvSpPr>
                      <a:spLocks/>
                    </p:cNvSpPr>
                    <p:nvPr/>
                  </p:nvSpPr>
                  <p:spPr bwMode="auto">
                    <a:xfrm>
                      <a:off x="4332" y="1257"/>
                      <a:ext cx="48" cy="48"/>
                    </a:xfrm>
                    <a:custGeom>
                      <a:avLst/>
                      <a:gdLst>
                        <a:gd name="T0" fmla="*/ 48 w 48"/>
                        <a:gd name="T1" fmla="*/ 24 h 48"/>
                        <a:gd name="T2" fmla="*/ 47 w 48"/>
                        <a:gd name="T3" fmla="*/ 15 h 48"/>
                        <a:gd name="T4" fmla="*/ 41 w 48"/>
                        <a:gd name="T5" fmla="*/ 8 h 48"/>
                        <a:gd name="T6" fmla="*/ 33 w 48"/>
                        <a:gd name="T7" fmla="*/ 2 h 48"/>
                        <a:gd name="T8" fmla="*/ 25 w 48"/>
                        <a:gd name="T9" fmla="*/ 0 h 48"/>
                        <a:gd name="T10" fmla="*/ 15 w 48"/>
                        <a:gd name="T11" fmla="*/ 2 h 48"/>
                        <a:gd name="T12" fmla="*/ 7 w 48"/>
                        <a:gd name="T13" fmla="*/ 8 h 48"/>
                        <a:gd name="T14" fmla="*/ 2 w 48"/>
                        <a:gd name="T15" fmla="*/ 15 h 48"/>
                        <a:gd name="T16" fmla="*/ 0 w 48"/>
                        <a:gd name="T17" fmla="*/ 24 h 48"/>
                        <a:gd name="T18" fmla="*/ 2 w 48"/>
                        <a:gd name="T19" fmla="*/ 33 h 48"/>
                        <a:gd name="T20" fmla="*/ 7 w 48"/>
                        <a:gd name="T21" fmla="*/ 41 h 48"/>
                        <a:gd name="T22" fmla="*/ 15 w 48"/>
                        <a:gd name="T23" fmla="*/ 46 h 48"/>
                        <a:gd name="T24" fmla="*/ 25 w 48"/>
                        <a:gd name="T25" fmla="*/ 48 h 48"/>
                        <a:gd name="T26" fmla="*/ 33 w 48"/>
                        <a:gd name="T27" fmla="*/ 46 h 48"/>
                        <a:gd name="T28" fmla="*/ 41 w 48"/>
                        <a:gd name="T29" fmla="*/ 41 h 48"/>
                        <a:gd name="T30" fmla="*/ 47 w 48"/>
                        <a:gd name="T31" fmla="*/ 33 h 48"/>
                        <a:gd name="T32" fmla="*/ 48 w 48"/>
                        <a:gd name="T33" fmla="*/ 24 h 48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8"/>
                        <a:gd name="T52" fmla="*/ 0 h 48"/>
                        <a:gd name="T53" fmla="*/ 48 w 48"/>
                        <a:gd name="T54" fmla="*/ 48 h 48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8" h="48">
                          <a:moveTo>
                            <a:pt x="48" y="24"/>
                          </a:moveTo>
                          <a:lnTo>
                            <a:pt x="47" y="15"/>
                          </a:lnTo>
                          <a:lnTo>
                            <a:pt x="41" y="8"/>
                          </a:lnTo>
                          <a:lnTo>
                            <a:pt x="33" y="2"/>
                          </a:lnTo>
                          <a:lnTo>
                            <a:pt x="25" y="0"/>
                          </a:lnTo>
                          <a:lnTo>
                            <a:pt x="15" y="2"/>
                          </a:lnTo>
                          <a:lnTo>
                            <a:pt x="7" y="8"/>
                          </a:lnTo>
                          <a:lnTo>
                            <a:pt x="2" y="15"/>
                          </a:lnTo>
                          <a:lnTo>
                            <a:pt x="0" y="24"/>
                          </a:lnTo>
                          <a:lnTo>
                            <a:pt x="2" y="33"/>
                          </a:lnTo>
                          <a:lnTo>
                            <a:pt x="7" y="41"/>
                          </a:lnTo>
                          <a:lnTo>
                            <a:pt x="15" y="46"/>
                          </a:lnTo>
                          <a:lnTo>
                            <a:pt x="25" y="48"/>
                          </a:lnTo>
                          <a:lnTo>
                            <a:pt x="33" y="46"/>
                          </a:lnTo>
                          <a:lnTo>
                            <a:pt x="41" y="41"/>
                          </a:lnTo>
                          <a:lnTo>
                            <a:pt x="47" y="33"/>
                          </a:lnTo>
                          <a:lnTo>
                            <a:pt x="48" y="24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2" name="Freeform 169"/>
                    <p:cNvSpPr>
                      <a:spLocks/>
                    </p:cNvSpPr>
                    <p:nvPr/>
                  </p:nvSpPr>
                  <p:spPr bwMode="auto">
                    <a:xfrm>
                      <a:off x="4182" y="2964"/>
                      <a:ext cx="45" cy="45"/>
                    </a:xfrm>
                    <a:custGeom>
                      <a:avLst/>
                      <a:gdLst>
                        <a:gd name="T0" fmla="*/ 45 w 45"/>
                        <a:gd name="T1" fmla="*/ 22 h 45"/>
                        <a:gd name="T2" fmla="*/ 44 w 45"/>
                        <a:gd name="T3" fmla="*/ 13 h 45"/>
                        <a:gd name="T4" fmla="*/ 39 w 45"/>
                        <a:gd name="T5" fmla="*/ 6 h 45"/>
                        <a:gd name="T6" fmla="*/ 32 w 45"/>
                        <a:gd name="T7" fmla="*/ 2 h 45"/>
                        <a:gd name="T8" fmla="*/ 23 w 45"/>
                        <a:gd name="T9" fmla="*/ 0 h 45"/>
                        <a:gd name="T10" fmla="*/ 14 w 45"/>
                        <a:gd name="T11" fmla="*/ 2 h 45"/>
                        <a:gd name="T12" fmla="*/ 7 w 45"/>
                        <a:gd name="T13" fmla="*/ 6 h 45"/>
                        <a:gd name="T14" fmla="*/ 2 w 45"/>
                        <a:gd name="T15" fmla="*/ 13 h 45"/>
                        <a:gd name="T16" fmla="*/ 0 w 45"/>
                        <a:gd name="T17" fmla="*/ 22 h 45"/>
                        <a:gd name="T18" fmla="*/ 2 w 45"/>
                        <a:gd name="T19" fmla="*/ 31 h 45"/>
                        <a:gd name="T20" fmla="*/ 7 w 45"/>
                        <a:gd name="T21" fmla="*/ 39 h 45"/>
                        <a:gd name="T22" fmla="*/ 14 w 45"/>
                        <a:gd name="T23" fmla="*/ 43 h 45"/>
                        <a:gd name="T24" fmla="*/ 23 w 45"/>
                        <a:gd name="T25" fmla="*/ 45 h 45"/>
                        <a:gd name="T26" fmla="*/ 32 w 45"/>
                        <a:gd name="T27" fmla="*/ 43 h 45"/>
                        <a:gd name="T28" fmla="*/ 39 w 45"/>
                        <a:gd name="T29" fmla="*/ 39 h 45"/>
                        <a:gd name="T30" fmla="*/ 44 w 45"/>
                        <a:gd name="T31" fmla="*/ 31 h 45"/>
                        <a:gd name="T32" fmla="*/ 45 w 45"/>
                        <a:gd name="T33" fmla="*/ 22 h 45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5"/>
                        <a:gd name="T52" fmla="*/ 0 h 45"/>
                        <a:gd name="T53" fmla="*/ 45 w 45"/>
                        <a:gd name="T54" fmla="*/ 45 h 45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5" h="45">
                          <a:moveTo>
                            <a:pt x="45" y="22"/>
                          </a:moveTo>
                          <a:lnTo>
                            <a:pt x="44" y="13"/>
                          </a:lnTo>
                          <a:lnTo>
                            <a:pt x="39" y="6"/>
                          </a:lnTo>
                          <a:lnTo>
                            <a:pt x="32" y="2"/>
                          </a:lnTo>
                          <a:lnTo>
                            <a:pt x="23" y="0"/>
                          </a:lnTo>
                          <a:lnTo>
                            <a:pt x="14" y="2"/>
                          </a:lnTo>
                          <a:lnTo>
                            <a:pt x="7" y="6"/>
                          </a:lnTo>
                          <a:lnTo>
                            <a:pt x="2" y="13"/>
                          </a:lnTo>
                          <a:lnTo>
                            <a:pt x="0" y="22"/>
                          </a:lnTo>
                          <a:lnTo>
                            <a:pt x="2" y="31"/>
                          </a:lnTo>
                          <a:lnTo>
                            <a:pt x="7" y="39"/>
                          </a:lnTo>
                          <a:lnTo>
                            <a:pt x="14" y="43"/>
                          </a:lnTo>
                          <a:lnTo>
                            <a:pt x="23" y="45"/>
                          </a:lnTo>
                          <a:lnTo>
                            <a:pt x="32" y="43"/>
                          </a:lnTo>
                          <a:lnTo>
                            <a:pt x="39" y="39"/>
                          </a:lnTo>
                          <a:lnTo>
                            <a:pt x="44" y="31"/>
                          </a:lnTo>
                          <a:lnTo>
                            <a:pt x="45" y="22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3" name="Freeform 170"/>
                    <p:cNvSpPr>
                      <a:spLocks/>
                    </p:cNvSpPr>
                    <p:nvPr/>
                  </p:nvSpPr>
                  <p:spPr bwMode="auto">
                    <a:xfrm>
                      <a:off x="4182" y="2964"/>
                      <a:ext cx="45" cy="45"/>
                    </a:xfrm>
                    <a:custGeom>
                      <a:avLst/>
                      <a:gdLst>
                        <a:gd name="T0" fmla="*/ 45 w 45"/>
                        <a:gd name="T1" fmla="*/ 22 h 45"/>
                        <a:gd name="T2" fmla="*/ 44 w 45"/>
                        <a:gd name="T3" fmla="*/ 13 h 45"/>
                        <a:gd name="T4" fmla="*/ 39 w 45"/>
                        <a:gd name="T5" fmla="*/ 6 h 45"/>
                        <a:gd name="T6" fmla="*/ 32 w 45"/>
                        <a:gd name="T7" fmla="*/ 2 h 45"/>
                        <a:gd name="T8" fmla="*/ 23 w 45"/>
                        <a:gd name="T9" fmla="*/ 0 h 45"/>
                        <a:gd name="T10" fmla="*/ 14 w 45"/>
                        <a:gd name="T11" fmla="*/ 2 h 45"/>
                        <a:gd name="T12" fmla="*/ 7 w 45"/>
                        <a:gd name="T13" fmla="*/ 6 h 45"/>
                        <a:gd name="T14" fmla="*/ 2 w 45"/>
                        <a:gd name="T15" fmla="*/ 13 h 45"/>
                        <a:gd name="T16" fmla="*/ 0 w 45"/>
                        <a:gd name="T17" fmla="*/ 22 h 45"/>
                        <a:gd name="T18" fmla="*/ 2 w 45"/>
                        <a:gd name="T19" fmla="*/ 31 h 45"/>
                        <a:gd name="T20" fmla="*/ 7 w 45"/>
                        <a:gd name="T21" fmla="*/ 39 h 45"/>
                        <a:gd name="T22" fmla="*/ 14 w 45"/>
                        <a:gd name="T23" fmla="*/ 43 h 45"/>
                        <a:gd name="T24" fmla="*/ 23 w 45"/>
                        <a:gd name="T25" fmla="*/ 45 h 45"/>
                        <a:gd name="T26" fmla="*/ 32 w 45"/>
                        <a:gd name="T27" fmla="*/ 43 h 45"/>
                        <a:gd name="T28" fmla="*/ 39 w 45"/>
                        <a:gd name="T29" fmla="*/ 39 h 45"/>
                        <a:gd name="T30" fmla="*/ 44 w 45"/>
                        <a:gd name="T31" fmla="*/ 31 h 45"/>
                        <a:gd name="T32" fmla="*/ 45 w 45"/>
                        <a:gd name="T33" fmla="*/ 22 h 45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5"/>
                        <a:gd name="T52" fmla="*/ 0 h 45"/>
                        <a:gd name="T53" fmla="*/ 45 w 45"/>
                        <a:gd name="T54" fmla="*/ 45 h 45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5" h="45">
                          <a:moveTo>
                            <a:pt x="45" y="22"/>
                          </a:moveTo>
                          <a:lnTo>
                            <a:pt x="44" y="13"/>
                          </a:lnTo>
                          <a:lnTo>
                            <a:pt x="39" y="6"/>
                          </a:lnTo>
                          <a:lnTo>
                            <a:pt x="32" y="2"/>
                          </a:lnTo>
                          <a:lnTo>
                            <a:pt x="23" y="0"/>
                          </a:lnTo>
                          <a:lnTo>
                            <a:pt x="14" y="2"/>
                          </a:lnTo>
                          <a:lnTo>
                            <a:pt x="7" y="6"/>
                          </a:lnTo>
                          <a:lnTo>
                            <a:pt x="2" y="13"/>
                          </a:lnTo>
                          <a:lnTo>
                            <a:pt x="0" y="22"/>
                          </a:lnTo>
                          <a:lnTo>
                            <a:pt x="2" y="31"/>
                          </a:lnTo>
                          <a:lnTo>
                            <a:pt x="7" y="39"/>
                          </a:lnTo>
                          <a:lnTo>
                            <a:pt x="14" y="43"/>
                          </a:lnTo>
                          <a:lnTo>
                            <a:pt x="23" y="45"/>
                          </a:lnTo>
                          <a:lnTo>
                            <a:pt x="32" y="43"/>
                          </a:lnTo>
                          <a:lnTo>
                            <a:pt x="39" y="39"/>
                          </a:lnTo>
                          <a:lnTo>
                            <a:pt x="44" y="31"/>
                          </a:lnTo>
                          <a:lnTo>
                            <a:pt x="45" y="22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4" name="Freeform 171"/>
                    <p:cNvSpPr>
                      <a:spLocks/>
                    </p:cNvSpPr>
                    <p:nvPr/>
                  </p:nvSpPr>
                  <p:spPr bwMode="auto">
                    <a:xfrm>
                      <a:off x="4410" y="2956"/>
                      <a:ext cx="43" cy="43"/>
                    </a:xfrm>
                    <a:custGeom>
                      <a:avLst/>
                      <a:gdLst>
                        <a:gd name="T0" fmla="*/ 43 w 43"/>
                        <a:gd name="T1" fmla="*/ 21 h 43"/>
                        <a:gd name="T2" fmla="*/ 42 w 43"/>
                        <a:gd name="T3" fmla="*/ 13 h 43"/>
                        <a:gd name="T4" fmla="*/ 37 w 43"/>
                        <a:gd name="T5" fmla="*/ 6 h 43"/>
                        <a:gd name="T6" fmla="*/ 30 w 43"/>
                        <a:gd name="T7" fmla="*/ 2 h 43"/>
                        <a:gd name="T8" fmla="*/ 21 w 43"/>
                        <a:gd name="T9" fmla="*/ 0 h 43"/>
                        <a:gd name="T10" fmla="*/ 13 w 43"/>
                        <a:gd name="T11" fmla="*/ 2 h 43"/>
                        <a:gd name="T12" fmla="*/ 6 w 43"/>
                        <a:gd name="T13" fmla="*/ 6 h 43"/>
                        <a:gd name="T14" fmla="*/ 2 w 43"/>
                        <a:gd name="T15" fmla="*/ 13 h 43"/>
                        <a:gd name="T16" fmla="*/ 0 w 43"/>
                        <a:gd name="T17" fmla="*/ 21 h 43"/>
                        <a:gd name="T18" fmla="*/ 2 w 43"/>
                        <a:gd name="T19" fmla="*/ 30 h 43"/>
                        <a:gd name="T20" fmla="*/ 6 w 43"/>
                        <a:gd name="T21" fmla="*/ 37 h 43"/>
                        <a:gd name="T22" fmla="*/ 13 w 43"/>
                        <a:gd name="T23" fmla="*/ 42 h 43"/>
                        <a:gd name="T24" fmla="*/ 21 w 43"/>
                        <a:gd name="T25" fmla="*/ 43 h 43"/>
                        <a:gd name="T26" fmla="*/ 30 w 43"/>
                        <a:gd name="T27" fmla="*/ 42 h 43"/>
                        <a:gd name="T28" fmla="*/ 37 w 43"/>
                        <a:gd name="T29" fmla="*/ 37 h 43"/>
                        <a:gd name="T30" fmla="*/ 42 w 43"/>
                        <a:gd name="T31" fmla="*/ 30 h 43"/>
                        <a:gd name="T32" fmla="*/ 43 w 43"/>
                        <a:gd name="T33" fmla="*/ 21 h 4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3"/>
                        <a:gd name="T52" fmla="*/ 0 h 43"/>
                        <a:gd name="T53" fmla="*/ 43 w 43"/>
                        <a:gd name="T54" fmla="*/ 43 h 4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3" h="43">
                          <a:moveTo>
                            <a:pt x="43" y="21"/>
                          </a:moveTo>
                          <a:lnTo>
                            <a:pt x="42" y="13"/>
                          </a:lnTo>
                          <a:lnTo>
                            <a:pt x="37" y="6"/>
                          </a:lnTo>
                          <a:lnTo>
                            <a:pt x="30" y="2"/>
                          </a:lnTo>
                          <a:lnTo>
                            <a:pt x="21" y="0"/>
                          </a:lnTo>
                          <a:lnTo>
                            <a:pt x="13" y="2"/>
                          </a:lnTo>
                          <a:lnTo>
                            <a:pt x="6" y="6"/>
                          </a:lnTo>
                          <a:lnTo>
                            <a:pt x="2" y="13"/>
                          </a:lnTo>
                          <a:lnTo>
                            <a:pt x="0" y="21"/>
                          </a:lnTo>
                          <a:lnTo>
                            <a:pt x="2" y="30"/>
                          </a:lnTo>
                          <a:lnTo>
                            <a:pt x="6" y="37"/>
                          </a:lnTo>
                          <a:lnTo>
                            <a:pt x="13" y="42"/>
                          </a:lnTo>
                          <a:lnTo>
                            <a:pt x="21" y="43"/>
                          </a:lnTo>
                          <a:lnTo>
                            <a:pt x="30" y="42"/>
                          </a:lnTo>
                          <a:lnTo>
                            <a:pt x="37" y="37"/>
                          </a:lnTo>
                          <a:lnTo>
                            <a:pt x="42" y="30"/>
                          </a:lnTo>
                          <a:lnTo>
                            <a:pt x="43" y="21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5" name="Freeform 172"/>
                    <p:cNvSpPr>
                      <a:spLocks/>
                    </p:cNvSpPr>
                    <p:nvPr/>
                  </p:nvSpPr>
                  <p:spPr bwMode="auto">
                    <a:xfrm>
                      <a:off x="4410" y="2956"/>
                      <a:ext cx="43" cy="43"/>
                    </a:xfrm>
                    <a:custGeom>
                      <a:avLst/>
                      <a:gdLst>
                        <a:gd name="T0" fmla="*/ 43 w 43"/>
                        <a:gd name="T1" fmla="*/ 21 h 43"/>
                        <a:gd name="T2" fmla="*/ 42 w 43"/>
                        <a:gd name="T3" fmla="*/ 13 h 43"/>
                        <a:gd name="T4" fmla="*/ 37 w 43"/>
                        <a:gd name="T5" fmla="*/ 6 h 43"/>
                        <a:gd name="T6" fmla="*/ 30 w 43"/>
                        <a:gd name="T7" fmla="*/ 2 h 43"/>
                        <a:gd name="T8" fmla="*/ 21 w 43"/>
                        <a:gd name="T9" fmla="*/ 0 h 43"/>
                        <a:gd name="T10" fmla="*/ 13 w 43"/>
                        <a:gd name="T11" fmla="*/ 2 h 43"/>
                        <a:gd name="T12" fmla="*/ 6 w 43"/>
                        <a:gd name="T13" fmla="*/ 6 h 43"/>
                        <a:gd name="T14" fmla="*/ 2 w 43"/>
                        <a:gd name="T15" fmla="*/ 13 h 43"/>
                        <a:gd name="T16" fmla="*/ 0 w 43"/>
                        <a:gd name="T17" fmla="*/ 21 h 43"/>
                        <a:gd name="T18" fmla="*/ 2 w 43"/>
                        <a:gd name="T19" fmla="*/ 30 h 43"/>
                        <a:gd name="T20" fmla="*/ 6 w 43"/>
                        <a:gd name="T21" fmla="*/ 37 h 43"/>
                        <a:gd name="T22" fmla="*/ 13 w 43"/>
                        <a:gd name="T23" fmla="*/ 42 h 43"/>
                        <a:gd name="T24" fmla="*/ 21 w 43"/>
                        <a:gd name="T25" fmla="*/ 43 h 43"/>
                        <a:gd name="T26" fmla="*/ 30 w 43"/>
                        <a:gd name="T27" fmla="*/ 42 h 43"/>
                        <a:gd name="T28" fmla="*/ 37 w 43"/>
                        <a:gd name="T29" fmla="*/ 37 h 43"/>
                        <a:gd name="T30" fmla="*/ 42 w 43"/>
                        <a:gd name="T31" fmla="*/ 30 h 43"/>
                        <a:gd name="T32" fmla="*/ 43 w 43"/>
                        <a:gd name="T33" fmla="*/ 21 h 4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3"/>
                        <a:gd name="T52" fmla="*/ 0 h 43"/>
                        <a:gd name="T53" fmla="*/ 43 w 43"/>
                        <a:gd name="T54" fmla="*/ 43 h 4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3" h="43">
                          <a:moveTo>
                            <a:pt x="43" y="21"/>
                          </a:moveTo>
                          <a:lnTo>
                            <a:pt x="42" y="13"/>
                          </a:lnTo>
                          <a:lnTo>
                            <a:pt x="37" y="6"/>
                          </a:lnTo>
                          <a:lnTo>
                            <a:pt x="30" y="2"/>
                          </a:lnTo>
                          <a:lnTo>
                            <a:pt x="21" y="0"/>
                          </a:lnTo>
                          <a:lnTo>
                            <a:pt x="13" y="2"/>
                          </a:lnTo>
                          <a:lnTo>
                            <a:pt x="6" y="6"/>
                          </a:lnTo>
                          <a:lnTo>
                            <a:pt x="2" y="13"/>
                          </a:lnTo>
                          <a:lnTo>
                            <a:pt x="0" y="21"/>
                          </a:lnTo>
                          <a:lnTo>
                            <a:pt x="2" y="30"/>
                          </a:lnTo>
                          <a:lnTo>
                            <a:pt x="6" y="37"/>
                          </a:lnTo>
                          <a:lnTo>
                            <a:pt x="13" y="42"/>
                          </a:lnTo>
                          <a:lnTo>
                            <a:pt x="21" y="43"/>
                          </a:lnTo>
                          <a:lnTo>
                            <a:pt x="30" y="42"/>
                          </a:lnTo>
                          <a:lnTo>
                            <a:pt x="37" y="37"/>
                          </a:lnTo>
                          <a:lnTo>
                            <a:pt x="42" y="30"/>
                          </a:lnTo>
                          <a:lnTo>
                            <a:pt x="43" y="21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6" name="Freeform 173"/>
                    <p:cNvSpPr>
                      <a:spLocks/>
                    </p:cNvSpPr>
                    <p:nvPr/>
                  </p:nvSpPr>
                  <p:spPr bwMode="auto">
                    <a:xfrm>
                      <a:off x="4159" y="2965"/>
                      <a:ext cx="43" cy="43"/>
                    </a:xfrm>
                    <a:custGeom>
                      <a:avLst/>
                      <a:gdLst>
                        <a:gd name="T0" fmla="*/ 43 w 43"/>
                        <a:gd name="T1" fmla="*/ 22 h 43"/>
                        <a:gd name="T2" fmla="*/ 41 w 43"/>
                        <a:gd name="T3" fmla="*/ 13 h 43"/>
                        <a:gd name="T4" fmla="*/ 37 w 43"/>
                        <a:gd name="T5" fmla="*/ 6 h 43"/>
                        <a:gd name="T6" fmla="*/ 30 w 43"/>
                        <a:gd name="T7" fmla="*/ 1 h 43"/>
                        <a:gd name="T8" fmla="*/ 22 w 43"/>
                        <a:gd name="T9" fmla="*/ 0 h 43"/>
                        <a:gd name="T10" fmla="*/ 13 w 43"/>
                        <a:gd name="T11" fmla="*/ 1 h 43"/>
                        <a:gd name="T12" fmla="*/ 6 w 43"/>
                        <a:gd name="T13" fmla="*/ 6 h 43"/>
                        <a:gd name="T14" fmla="*/ 1 w 43"/>
                        <a:gd name="T15" fmla="*/ 13 h 43"/>
                        <a:gd name="T16" fmla="*/ 0 w 43"/>
                        <a:gd name="T17" fmla="*/ 22 h 43"/>
                        <a:gd name="T18" fmla="*/ 1 w 43"/>
                        <a:gd name="T19" fmla="*/ 30 h 43"/>
                        <a:gd name="T20" fmla="*/ 6 w 43"/>
                        <a:gd name="T21" fmla="*/ 37 h 43"/>
                        <a:gd name="T22" fmla="*/ 13 w 43"/>
                        <a:gd name="T23" fmla="*/ 41 h 43"/>
                        <a:gd name="T24" fmla="*/ 22 w 43"/>
                        <a:gd name="T25" fmla="*/ 43 h 43"/>
                        <a:gd name="T26" fmla="*/ 30 w 43"/>
                        <a:gd name="T27" fmla="*/ 41 h 43"/>
                        <a:gd name="T28" fmla="*/ 37 w 43"/>
                        <a:gd name="T29" fmla="*/ 37 h 43"/>
                        <a:gd name="T30" fmla="*/ 41 w 43"/>
                        <a:gd name="T31" fmla="*/ 30 h 43"/>
                        <a:gd name="T32" fmla="*/ 43 w 43"/>
                        <a:gd name="T33" fmla="*/ 22 h 4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3"/>
                        <a:gd name="T52" fmla="*/ 0 h 43"/>
                        <a:gd name="T53" fmla="*/ 43 w 43"/>
                        <a:gd name="T54" fmla="*/ 43 h 4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3" h="43">
                          <a:moveTo>
                            <a:pt x="43" y="22"/>
                          </a:moveTo>
                          <a:lnTo>
                            <a:pt x="41" y="13"/>
                          </a:lnTo>
                          <a:lnTo>
                            <a:pt x="37" y="6"/>
                          </a:lnTo>
                          <a:lnTo>
                            <a:pt x="30" y="1"/>
                          </a:lnTo>
                          <a:lnTo>
                            <a:pt x="22" y="0"/>
                          </a:lnTo>
                          <a:lnTo>
                            <a:pt x="13" y="1"/>
                          </a:lnTo>
                          <a:lnTo>
                            <a:pt x="6" y="6"/>
                          </a:lnTo>
                          <a:lnTo>
                            <a:pt x="1" y="13"/>
                          </a:lnTo>
                          <a:lnTo>
                            <a:pt x="0" y="22"/>
                          </a:lnTo>
                          <a:lnTo>
                            <a:pt x="1" y="30"/>
                          </a:lnTo>
                          <a:lnTo>
                            <a:pt x="6" y="37"/>
                          </a:lnTo>
                          <a:lnTo>
                            <a:pt x="13" y="41"/>
                          </a:lnTo>
                          <a:lnTo>
                            <a:pt x="22" y="43"/>
                          </a:lnTo>
                          <a:lnTo>
                            <a:pt x="30" y="41"/>
                          </a:lnTo>
                          <a:lnTo>
                            <a:pt x="37" y="37"/>
                          </a:lnTo>
                          <a:lnTo>
                            <a:pt x="41" y="30"/>
                          </a:lnTo>
                          <a:lnTo>
                            <a:pt x="43" y="22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7" name="Freeform 174"/>
                    <p:cNvSpPr>
                      <a:spLocks/>
                    </p:cNvSpPr>
                    <p:nvPr/>
                  </p:nvSpPr>
                  <p:spPr bwMode="auto">
                    <a:xfrm>
                      <a:off x="4159" y="2965"/>
                      <a:ext cx="43" cy="43"/>
                    </a:xfrm>
                    <a:custGeom>
                      <a:avLst/>
                      <a:gdLst>
                        <a:gd name="T0" fmla="*/ 43 w 43"/>
                        <a:gd name="T1" fmla="*/ 22 h 43"/>
                        <a:gd name="T2" fmla="*/ 41 w 43"/>
                        <a:gd name="T3" fmla="*/ 13 h 43"/>
                        <a:gd name="T4" fmla="*/ 37 w 43"/>
                        <a:gd name="T5" fmla="*/ 6 h 43"/>
                        <a:gd name="T6" fmla="*/ 30 w 43"/>
                        <a:gd name="T7" fmla="*/ 1 h 43"/>
                        <a:gd name="T8" fmla="*/ 22 w 43"/>
                        <a:gd name="T9" fmla="*/ 0 h 43"/>
                        <a:gd name="T10" fmla="*/ 13 w 43"/>
                        <a:gd name="T11" fmla="*/ 1 h 43"/>
                        <a:gd name="T12" fmla="*/ 6 w 43"/>
                        <a:gd name="T13" fmla="*/ 6 h 43"/>
                        <a:gd name="T14" fmla="*/ 1 w 43"/>
                        <a:gd name="T15" fmla="*/ 13 h 43"/>
                        <a:gd name="T16" fmla="*/ 0 w 43"/>
                        <a:gd name="T17" fmla="*/ 22 h 43"/>
                        <a:gd name="T18" fmla="*/ 1 w 43"/>
                        <a:gd name="T19" fmla="*/ 30 h 43"/>
                        <a:gd name="T20" fmla="*/ 6 w 43"/>
                        <a:gd name="T21" fmla="*/ 37 h 43"/>
                        <a:gd name="T22" fmla="*/ 13 w 43"/>
                        <a:gd name="T23" fmla="*/ 41 h 43"/>
                        <a:gd name="T24" fmla="*/ 22 w 43"/>
                        <a:gd name="T25" fmla="*/ 43 h 43"/>
                        <a:gd name="T26" fmla="*/ 30 w 43"/>
                        <a:gd name="T27" fmla="*/ 41 h 43"/>
                        <a:gd name="T28" fmla="*/ 37 w 43"/>
                        <a:gd name="T29" fmla="*/ 37 h 43"/>
                        <a:gd name="T30" fmla="*/ 41 w 43"/>
                        <a:gd name="T31" fmla="*/ 30 h 43"/>
                        <a:gd name="T32" fmla="*/ 43 w 43"/>
                        <a:gd name="T33" fmla="*/ 22 h 4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3"/>
                        <a:gd name="T52" fmla="*/ 0 h 43"/>
                        <a:gd name="T53" fmla="*/ 43 w 43"/>
                        <a:gd name="T54" fmla="*/ 43 h 4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3" h="43">
                          <a:moveTo>
                            <a:pt x="43" y="22"/>
                          </a:moveTo>
                          <a:lnTo>
                            <a:pt x="41" y="13"/>
                          </a:lnTo>
                          <a:lnTo>
                            <a:pt x="37" y="6"/>
                          </a:lnTo>
                          <a:lnTo>
                            <a:pt x="30" y="1"/>
                          </a:lnTo>
                          <a:lnTo>
                            <a:pt x="22" y="0"/>
                          </a:lnTo>
                          <a:lnTo>
                            <a:pt x="13" y="1"/>
                          </a:lnTo>
                          <a:lnTo>
                            <a:pt x="6" y="6"/>
                          </a:lnTo>
                          <a:lnTo>
                            <a:pt x="1" y="13"/>
                          </a:lnTo>
                          <a:lnTo>
                            <a:pt x="0" y="22"/>
                          </a:lnTo>
                          <a:lnTo>
                            <a:pt x="1" y="30"/>
                          </a:lnTo>
                          <a:lnTo>
                            <a:pt x="6" y="37"/>
                          </a:lnTo>
                          <a:lnTo>
                            <a:pt x="13" y="41"/>
                          </a:lnTo>
                          <a:lnTo>
                            <a:pt x="22" y="43"/>
                          </a:lnTo>
                          <a:lnTo>
                            <a:pt x="30" y="41"/>
                          </a:lnTo>
                          <a:lnTo>
                            <a:pt x="37" y="37"/>
                          </a:lnTo>
                          <a:lnTo>
                            <a:pt x="41" y="30"/>
                          </a:lnTo>
                          <a:lnTo>
                            <a:pt x="43" y="22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8" name="Freeform 175"/>
                    <p:cNvSpPr>
                      <a:spLocks/>
                    </p:cNvSpPr>
                    <p:nvPr/>
                  </p:nvSpPr>
                  <p:spPr bwMode="auto">
                    <a:xfrm>
                      <a:off x="4281" y="2984"/>
                      <a:ext cx="43" cy="42"/>
                    </a:xfrm>
                    <a:custGeom>
                      <a:avLst/>
                      <a:gdLst>
                        <a:gd name="T0" fmla="*/ 43 w 43"/>
                        <a:gd name="T1" fmla="*/ 21 h 42"/>
                        <a:gd name="T2" fmla="*/ 41 w 43"/>
                        <a:gd name="T3" fmla="*/ 12 h 42"/>
                        <a:gd name="T4" fmla="*/ 36 w 43"/>
                        <a:gd name="T5" fmla="*/ 6 h 42"/>
                        <a:gd name="T6" fmla="*/ 30 w 43"/>
                        <a:gd name="T7" fmla="*/ 1 h 42"/>
                        <a:gd name="T8" fmla="*/ 22 w 43"/>
                        <a:gd name="T9" fmla="*/ 0 h 42"/>
                        <a:gd name="T10" fmla="*/ 13 w 43"/>
                        <a:gd name="T11" fmla="*/ 1 h 42"/>
                        <a:gd name="T12" fmla="*/ 6 w 43"/>
                        <a:gd name="T13" fmla="*/ 6 h 42"/>
                        <a:gd name="T14" fmla="*/ 1 w 43"/>
                        <a:gd name="T15" fmla="*/ 12 h 42"/>
                        <a:gd name="T16" fmla="*/ 0 w 43"/>
                        <a:gd name="T17" fmla="*/ 21 h 42"/>
                        <a:gd name="T18" fmla="*/ 1 w 43"/>
                        <a:gd name="T19" fmla="*/ 30 h 42"/>
                        <a:gd name="T20" fmla="*/ 6 w 43"/>
                        <a:gd name="T21" fmla="*/ 36 h 42"/>
                        <a:gd name="T22" fmla="*/ 13 w 43"/>
                        <a:gd name="T23" fmla="*/ 41 h 42"/>
                        <a:gd name="T24" fmla="*/ 22 w 43"/>
                        <a:gd name="T25" fmla="*/ 42 h 42"/>
                        <a:gd name="T26" fmla="*/ 30 w 43"/>
                        <a:gd name="T27" fmla="*/ 41 h 42"/>
                        <a:gd name="T28" fmla="*/ 36 w 43"/>
                        <a:gd name="T29" fmla="*/ 36 h 42"/>
                        <a:gd name="T30" fmla="*/ 41 w 43"/>
                        <a:gd name="T31" fmla="*/ 30 h 42"/>
                        <a:gd name="T32" fmla="*/ 43 w 43"/>
                        <a:gd name="T33" fmla="*/ 21 h 42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3"/>
                        <a:gd name="T52" fmla="*/ 0 h 42"/>
                        <a:gd name="T53" fmla="*/ 43 w 43"/>
                        <a:gd name="T54" fmla="*/ 42 h 42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3" h="42">
                          <a:moveTo>
                            <a:pt x="43" y="21"/>
                          </a:moveTo>
                          <a:lnTo>
                            <a:pt x="41" y="12"/>
                          </a:lnTo>
                          <a:lnTo>
                            <a:pt x="36" y="6"/>
                          </a:lnTo>
                          <a:lnTo>
                            <a:pt x="30" y="1"/>
                          </a:lnTo>
                          <a:lnTo>
                            <a:pt x="22" y="0"/>
                          </a:lnTo>
                          <a:lnTo>
                            <a:pt x="13" y="1"/>
                          </a:lnTo>
                          <a:lnTo>
                            <a:pt x="6" y="6"/>
                          </a:lnTo>
                          <a:lnTo>
                            <a:pt x="1" y="12"/>
                          </a:lnTo>
                          <a:lnTo>
                            <a:pt x="0" y="21"/>
                          </a:lnTo>
                          <a:lnTo>
                            <a:pt x="1" y="30"/>
                          </a:lnTo>
                          <a:lnTo>
                            <a:pt x="6" y="36"/>
                          </a:lnTo>
                          <a:lnTo>
                            <a:pt x="13" y="41"/>
                          </a:lnTo>
                          <a:lnTo>
                            <a:pt x="22" y="42"/>
                          </a:lnTo>
                          <a:lnTo>
                            <a:pt x="30" y="41"/>
                          </a:lnTo>
                          <a:lnTo>
                            <a:pt x="36" y="36"/>
                          </a:lnTo>
                          <a:lnTo>
                            <a:pt x="41" y="30"/>
                          </a:lnTo>
                          <a:lnTo>
                            <a:pt x="43" y="21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19" name="Freeform 176"/>
                    <p:cNvSpPr>
                      <a:spLocks/>
                    </p:cNvSpPr>
                    <p:nvPr/>
                  </p:nvSpPr>
                  <p:spPr bwMode="auto">
                    <a:xfrm>
                      <a:off x="4281" y="2984"/>
                      <a:ext cx="43" cy="42"/>
                    </a:xfrm>
                    <a:custGeom>
                      <a:avLst/>
                      <a:gdLst>
                        <a:gd name="T0" fmla="*/ 43 w 43"/>
                        <a:gd name="T1" fmla="*/ 21 h 42"/>
                        <a:gd name="T2" fmla="*/ 41 w 43"/>
                        <a:gd name="T3" fmla="*/ 12 h 42"/>
                        <a:gd name="T4" fmla="*/ 36 w 43"/>
                        <a:gd name="T5" fmla="*/ 6 h 42"/>
                        <a:gd name="T6" fmla="*/ 30 w 43"/>
                        <a:gd name="T7" fmla="*/ 1 h 42"/>
                        <a:gd name="T8" fmla="*/ 22 w 43"/>
                        <a:gd name="T9" fmla="*/ 0 h 42"/>
                        <a:gd name="T10" fmla="*/ 13 w 43"/>
                        <a:gd name="T11" fmla="*/ 1 h 42"/>
                        <a:gd name="T12" fmla="*/ 6 w 43"/>
                        <a:gd name="T13" fmla="*/ 6 h 42"/>
                        <a:gd name="T14" fmla="*/ 1 w 43"/>
                        <a:gd name="T15" fmla="*/ 12 h 42"/>
                        <a:gd name="T16" fmla="*/ 0 w 43"/>
                        <a:gd name="T17" fmla="*/ 21 h 42"/>
                        <a:gd name="T18" fmla="*/ 1 w 43"/>
                        <a:gd name="T19" fmla="*/ 30 h 42"/>
                        <a:gd name="T20" fmla="*/ 6 w 43"/>
                        <a:gd name="T21" fmla="*/ 36 h 42"/>
                        <a:gd name="T22" fmla="*/ 13 w 43"/>
                        <a:gd name="T23" fmla="*/ 41 h 42"/>
                        <a:gd name="T24" fmla="*/ 22 w 43"/>
                        <a:gd name="T25" fmla="*/ 42 h 42"/>
                        <a:gd name="T26" fmla="*/ 30 w 43"/>
                        <a:gd name="T27" fmla="*/ 41 h 42"/>
                        <a:gd name="T28" fmla="*/ 36 w 43"/>
                        <a:gd name="T29" fmla="*/ 36 h 42"/>
                        <a:gd name="T30" fmla="*/ 41 w 43"/>
                        <a:gd name="T31" fmla="*/ 30 h 42"/>
                        <a:gd name="T32" fmla="*/ 43 w 43"/>
                        <a:gd name="T33" fmla="*/ 21 h 42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3"/>
                        <a:gd name="T52" fmla="*/ 0 h 42"/>
                        <a:gd name="T53" fmla="*/ 43 w 43"/>
                        <a:gd name="T54" fmla="*/ 42 h 42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3" h="42">
                          <a:moveTo>
                            <a:pt x="43" y="21"/>
                          </a:moveTo>
                          <a:lnTo>
                            <a:pt x="41" y="12"/>
                          </a:lnTo>
                          <a:lnTo>
                            <a:pt x="36" y="6"/>
                          </a:lnTo>
                          <a:lnTo>
                            <a:pt x="30" y="1"/>
                          </a:lnTo>
                          <a:lnTo>
                            <a:pt x="22" y="0"/>
                          </a:lnTo>
                          <a:lnTo>
                            <a:pt x="13" y="1"/>
                          </a:lnTo>
                          <a:lnTo>
                            <a:pt x="6" y="6"/>
                          </a:lnTo>
                          <a:lnTo>
                            <a:pt x="1" y="12"/>
                          </a:lnTo>
                          <a:lnTo>
                            <a:pt x="0" y="21"/>
                          </a:lnTo>
                          <a:lnTo>
                            <a:pt x="1" y="30"/>
                          </a:lnTo>
                          <a:lnTo>
                            <a:pt x="6" y="36"/>
                          </a:lnTo>
                          <a:lnTo>
                            <a:pt x="13" y="41"/>
                          </a:lnTo>
                          <a:lnTo>
                            <a:pt x="22" y="42"/>
                          </a:lnTo>
                          <a:lnTo>
                            <a:pt x="30" y="41"/>
                          </a:lnTo>
                          <a:lnTo>
                            <a:pt x="36" y="36"/>
                          </a:lnTo>
                          <a:lnTo>
                            <a:pt x="41" y="30"/>
                          </a:lnTo>
                          <a:lnTo>
                            <a:pt x="43" y="21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0" name="Freeform 177"/>
                    <p:cNvSpPr>
                      <a:spLocks/>
                    </p:cNvSpPr>
                    <p:nvPr/>
                  </p:nvSpPr>
                  <p:spPr bwMode="auto">
                    <a:xfrm>
                      <a:off x="4283" y="1059"/>
                      <a:ext cx="40" cy="40"/>
                    </a:xfrm>
                    <a:custGeom>
                      <a:avLst/>
                      <a:gdLst>
                        <a:gd name="T0" fmla="*/ 40 w 40"/>
                        <a:gd name="T1" fmla="*/ 20 h 40"/>
                        <a:gd name="T2" fmla="*/ 38 w 40"/>
                        <a:gd name="T3" fmla="*/ 12 h 40"/>
                        <a:gd name="T4" fmla="*/ 34 w 40"/>
                        <a:gd name="T5" fmla="*/ 6 h 40"/>
                        <a:gd name="T6" fmla="*/ 27 w 40"/>
                        <a:gd name="T7" fmla="*/ 2 h 40"/>
                        <a:gd name="T8" fmla="*/ 20 w 40"/>
                        <a:gd name="T9" fmla="*/ 0 h 40"/>
                        <a:gd name="T10" fmla="*/ 12 w 40"/>
                        <a:gd name="T11" fmla="*/ 2 h 40"/>
                        <a:gd name="T12" fmla="*/ 6 w 40"/>
                        <a:gd name="T13" fmla="*/ 6 h 40"/>
                        <a:gd name="T14" fmla="*/ 1 w 40"/>
                        <a:gd name="T15" fmla="*/ 12 h 40"/>
                        <a:gd name="T16" fmla="*/ 0 w 40"/>
                        <a:gd name="T17" fmla="*/ 20 h 40"/>
                        <a:gd name="T18" fmla="*/ 1 w 40"/>
                        <a:gd name="T19" fmla="*/ 28 h 40"/>
                        <a:gd name="T20" fmla="*/ 6 w 40"/>
                        <a:gd name="T21" fmla="*/ 34 h 40"/>
                        <a:gd name="T22" fmla="*/ 12 w 40"/>
                        <a:gd name="T23" fmla="*/ 38 h 40"/>
                        <a:gd name="T24" fmla="*/ 20 w 40"/>
                        <a:gd name="T25" fmla="*/ 40 h 40"/>
                        <a:gd name="T26" fmla="*/ 27 w 40"/>
                        <a:gd name="T27" fmla="*/ 38 h 40"/>
                        <a:gd name="T28" fmla="*/ 34 w 40"/>
                        <a:gd name="T29" fmla="*/ 34 h 40"/>
                        <a:gd name="T30" fmla="*/ 38 w 40"/>
                        <a:gd name="T31" fmla="*/ 28 h 40"/>
                        <a:gd name="T32" fmla="*/ 40 w 40"/>
                        <a:gd name="T33" fmla="*/ 20 h 40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0"/>
                        <a:gd name="T52" fmla="*/ 0 h 40"/>
                        <a:gd name="T53" fmla="*/ 40 w 40"/>
                        <a:gd name="T54" fmla="*/ 40 h 40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0" h="40">
                          <a:moveTo>
                            <a:pt x="40" y="20"/>
                          </a:moveTo>
                          <a:lnTo>
                            <a:pt x="38" y="12"/>
                          </a:lnTo>
                          <a:lnTo>
                            <a:pt x="34" y="6"/>
                          </a:lnTo>
                          <a:lnTo>
                            <a:pt x="27" y="2"/>
                          </a:lnTo>
                          <a:lnTo>
                            <a:pt x="20" y="0"/>
                          </a:lnTo>
                          <a:lnTo>
                            <a:pt x="12" y="2"/>
                          </a:lnTo>
                          <a:lnTo>
                            <a:pt x="6" y="6"/>
                          </a:lnTo>
                          <a:lnTo>
                            <a:pt x="1" y="12"/>
                          </a:lnTo>
                          <a:lnTo>
                            <a:pt x="0" y="20"/>
                          </a:lnTo>
                          <a:lnTo>
                            <a:pt x="1" y="28"/>
                          </a:lnTo>
                          <a:lnTo>
                            <a:pt x="6" y="34"/>
                          </a:lnTo>
                          <a:lnTo>
                            <a:pt x="12" y="38"/>
                          </a:lnTo>
                          <a:lnTo>
                            <a:pt x="20" y="40"/>
                          </a:lnTo>
                          <a:lnTo>
                            <a:pt x="27" y="38"/>
                          </a:lnTo>
                          <a:lnTo>
                            <a:pt x="34" y="34"/>
                          </a:lnTo>
                          <a:lnTo>
                            <a:pt x="38" y="28"/>
                          </a:lnTo>
                          <a:lnTo>
                            <a:pt x="40" y="2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1" name="Freeform 178"/>
                    <p:cNvSpPr>
                      <a:spLocks/>
                    </p:cNvSpPr>
                    <p:nvPr/>
                  </p:nvSpPr>
                  <p:spPr bwMode="auto">
                    <a:xfrm>
                      <a:off x="4283" y="1059"/>
                      <a:ext cx="40" cy="40"/>
                    </a:xfrm>
                    <a:custGeom>
                      <a:avLst/>
                      <a:gdLst>
                        <a:gd name="T0" fmla="*/ 40 w 40"/>
                        <a:gd name="T1" fmla="*/ 20 h 40"/>
                        <a:gd name="T2" fmla="*/ 38 w 40"/>
                        <a:gd name="T3" fmla="*/ 12 h 40"/>
                        <a:gd name="T4" fmla="*/ 34 w 40"/>
                        <a:gd name="T5" fmla="*/ 6 h 40"/>
                        <a:gd name="T6" fmla="*/ 27 w 40"/>
                        <a:gd name="T7" fmla="*/ 2 h 40"/>
                        <a:gd name="T8" fmla="*/ 20 w 40"/>
                        <a:gd name="T9" fmla="*/ 0 h 40"/>
                        <a:gd name="T10" fmla="*/ 12 w 40"/>
                        <a:gd name="T11" fmla="*/ 2 h 40"/>
                        <a:gd name="T12" fmla="*/ 6 w 40"/>
                        <a:gd name="T13" fmla="*/ 6 h 40"/>
                        <a:gd name="T14" fmla="*/ 1 w 40"/>
                        <a:gd name="T15" fmla="*/ 12 h 40"/>
                        <a:gd name="T16" fmla="*/ 0 w 40"/>
                        <a:gd name="T17" fmla="*/ 20 h 40"/>
                        <a:gd name="T18" fmla="*/ 1 w 40"/>
                        <a:gd name="T19" fmla="*/ 28 h 40"/>
                        <a:gd name="T20" fmla="*/ 6 w 40"/>
                        <a:gd name="T21" fmla="*/ 34 h 40"/>
                        <a:gd name="T22" fmla="*/ 12 w 40"/>
                        <a:gd name="T23" fmla="*/ 38 h 40"/>
                        <a:gd name="T24" fmla="*/ 20 w 40"/>
                        <a:gd name="T25" fmla="*/ 40 h 40"/>
                        <a:gd name="T26" fmla="*/ 27 w 40"/>
                        <a:gd name="T27" fmla="*/ 38 h 40"/>
                        <a:gd name="T28" fmla="*/ 34 w 40"/>
                        <a:gd name="T29" fmla="*/ 34 h 40"/>
                        <a:gd name="T30" fmla="*/ 38 w 40"/>
                        <a:gd name="T31" fmla="*/ 28 h 40"/>
                        <a:gd name="T32" fmla="*/ 40 w 40"/>
                        <a:gd name="T33" fmla="*/ 20 h 40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0"/>
                        <a:gd name="T52" fmla="*/ 0 h 40"/>
                        <a:gd name="T53" fmla="*/ 40 w 40"/>
                        <a:gd name="T54" fmla="*/ 40 h 40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0" h="40">
                          <a:moveTo>
                            <a:pt x="40" y="20"/>
                          </a:moveTo>
                          <a:lnTo>
                            <a:pt x="38" y="12"/>
                          </a:lnTo>
                          <a:lnTo>
                            <a:pt x="34" y="6"/>
                          </a:lnTo>
                          <a:lnTo>
                            <a:pt x="27" y="2"/>
                          </a:lnTo>
                          <a:lnTo>
                            <a:pt x="20" y="0"/>
                          </a:lnTo>
                          <a:lnTo>
                            <a:pt x="12" y="2"/>
                          </a:lnTo>
                          <a:lnTo>
                            <a:pt x="6" y="6"/>
                          </a:lnTo>
                          <a:lnTo>
                            <a:pt x="1" y="12"/>
                          </a:lnTo>
                          <a:lnTo>
                            <a:pt x="0" y="20"/>
                          </a:lnTo>
                          <a:lnTo>
                            <a:pt x="1" y="28"/>
                          </a:lnTo>
                          <a:lnTo>
                            <a:pt x="6" y="34"/>
                          </a:lnTo>
                          <a:lnTo>
                            <a:pt x="12" y="38"/>
                          </a:lnTo>
                          <a:lnTo>
                            <a:pt x="20" y="40"/>
                          </a:lnTo>
                          <a:lnTo>
                            <a:pt x="27" y="38"/>
                          </a:lnTo>
                          <a:lnTo>
                            <a:pt x="34" y="34"/>
                          </a:lnTo>
                          <a:lnTo>
                            <a:pt x="38" y="28"/>
                          </a:lnTo>
                          <a:lnTo>
                            <a:pt x="40" y="2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2" name="Freeform 179"/>
                    <p:cNvSpPr>
                      <a:spLocks/>
                    </p:cNvSpPr>
                    <p:nvPr/>
                  </p:nvSpPr>
                  <p:spPr bwMode="auto">
                    <a:xfrm>
                      <a:off x="4391" y="2996"/>
                      <a:ext cx="40" cy="40"/>
                    </a:xfrm>
                    <a:custGeom>
                      <a:avLst/>
                      <a:gdLst>
                        <a:gd name="T0" fmla="*/ 40 w 40"/>
                        <a:gd name="T1" fmla="*/ 20 h 40"/>
                        <a:gd name="T2" fmla="*/ 38 w 40"/>
                        <a:gd name="T3" fmla="*/ 13 h 40"/>
                        <a:gd name="T4" fmla="*/ 34 w 40"/>
                        <a:gd name="T5" fmla="*/ 7 h 40"/>
                        <a:gd name="T6" fmla="*/ 28 w 40"/>
                        <a:gd name="T7" fmla="*/ 2 h 40"/>
                        <a:gd name="T8" fmla="*/ 20 w 40"/>
                        <a:gd name="T9" fmla="*/ 0 h 40"/>
                        <a:gd name="T10" fmla="*/ 12 w 40"/>
                        <a:gd name="T11" fmla="*/ 2 h 40"/>
                        <a:gd name="T12" fmla="*/ 6 w 40"/>
                        <a:gd name="T13" fmla="*/ 7 h 40"/>
                        <a:gd name="T14" fmla="*/ 2 w 40"/>
                        <a:gd name="T15" fmla="*/ 13 h 40"/>
                        <a:gd name="T16" fmla="*/ 0 w 40"/>
                        <a:gd name="T17" fmla="*/ 20 h 40"/>
                        <a:gd name="T18" fmla="*/ 2 w 40"/>
                        <a:gd name="T19" fmla="*/ 28 h 40"/>
                        <a:gd name="T20" fmla="*/ 6 w 40"/>
                        <a:gd name="T21" fmla="*/ 34 h 40"/>
                        <a:gd name="T22" fmla="*/ 12 w 40"/>
                        <a:gd name="T23" fmla="*/ 38 h 40"/>
                        <a:gd name="T24" fmla="*/ 20 w 40"/>
                        <a:gd name="T25" fmla="*/ 40 h 40"/>
                        <a:gd name="T26" fmla="*/ 28 w 40"/>
                        <a:gd name="T27" fmla="*/ 38 h 40"/>
                        <a:gd name="T28" fmla="*/ 34 w 40"/>
                        <a:gd name="T29" fmla="*/ 34 h 40"/>
                        <a:gd name="T30" fmla="*/ 38 w 40"/>
                        <a:gd name="T31" fmla="*/ 28 h 40"/>
                        <a:gd name="T32" fmla="*/ 40 w 40"/>
                        <a:gd name="T33" fmla="*/ 20 h 40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0"/>
                        <a:gd name="T52" fmla="*/ 0 h 40"/>
                        <a:gd name="T53" fmla="*/ 40 w 40"/>
                        <a:gd name="T54" fmla="*/ 40 h 40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0" h="40">
                          <a:moveTo>
                            <a:pt x="40" y="20"/>
                          </a:moveTo>
                          <a:lnTo>
                            <a:pt x="38" y="13"/>
                          </a:lnTo>
                          <a:lnTo>
                            <a:pt x="34" y="7"/>
                          </a:lnTo>
                          <a:lnTo>
                            <a:pt x="28" y="2"/>
                          </a:lnTo>
                          <a:lnTo>
                            <a:pt x="20" y="0"/>
                          </a:lnTo>
                          <a:lnTo>
                            <a:pt x="12" y="2"/>
                          </a:lnTo>
                          <a:lnTo>
                            <a:pt x="6" y="7"/>
                          </a:lnTo>
                          <a:lnTo>
                            <a:pt x="2" y="13"/>
                          </a:lnTo>
                          <a:lnTo>
                            <a:pt x="0" y="20"/>
                          </a:lnTo>
                          <a:lnTo>
                            <a:pt x="2" y="28"/>
                          </a:lnTo>
                          <a:lnTo>
                            <a:pt x="6" y="34"/>
                          </a:lnTo>
                          <a:lnTo>
                            <a:pt x="12" y="38"/>
                          </a:lnTo>
                          <a:lnTo>
                            <a:pt x="20" y="40"/>
                          </a:lnTo>
                          <a:lnTo>
                            <a:pt x="28" y="38"/>
                          </a:lnTo>
                          <a:lnTo>
                            <a:pt x="34" y="34"/>
                          </a:lnTo>
                          <a:lnTo>
                            <a:pt x="38" y="28"/>
                          </a:lnTo>
                          <a:lnTo>
                            <a:pt x="40" y="2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3" name="Freeform 180"/>
                    <p:cNvSpPr>
                      <a:spLocks/>
                    </p:cNvSpPr>
                    <p:nvPr/>
                  </p:nvSpPr>
                  <p:spPr bwMode="auto">
                    <a:xfrm>
                      <a:off x="4391" y="2996"/>
                      <a:ext cx="40" cy="40"/>
                    </a:xfrm>
                    <a:custGeom>
                      <a:avLst/>
                      <a:gdLst>
                        <a:gd name="T0" fmla="*/ 40 w 40"/>
                        <a:gd name="T1" fmla="*/ 20 h 40"/>
                        <a:gd name="T2" fmla="*/ 38 w 40"/>
                        <a:gd name="T3" fmla="*/ 13 h 40"/>
                        <a:gd name="T4" fmla="*/ 34 w 40"/>
                        <a:gd name="T5" fmla="*/ 7 h 40"/>
                        <a:gd name="T6" fmla="*/ 28 w 40"/>
                        <a:gd name="T7" fmla="*/ 2 h 40"/>
                        <a:gd name="T8" fmla="*/ 20 w 40"/>
                        <a:gd name="T9" fmla="*/ 0 h 40"/>
                        <a:gd name="T10" fmla="*/ 12 w 40"/>
                        <a:gd name="T11" fmla="*/ 2 h 40"/>
                        <a:gd name="T12" fmla="*/ 6 w 40"/>
                        <a:gd name="T13" fmla="*/ 7 h 40"/>
                        <a:gd name="T14" fmla="*/ 2 w 40"/>
                        <a:gd name="T15" fmla="*/ 13 h 40"/>
                        <a:gd name="T16" fmla="*/ 0 w 40"/>
                        <a:gd name="T17" fmla="*/ 20 h 40"/>
                        <a:gd name="T18" fmla="*/ 2 w 40"/>
                        <a:gd name="T19" fmla="*/ 28 h 40"/>
                        <a:gd name="T20" fmla="*/ 6 w 40"/>
                        <a:gd name="T21" fmla="*/ 34 h 40"/>
                        <a:gd name="T22" fmla="*/ 12 w 40"/>
                        <a:gd name="T23" fmla="*/ 38 h 40"/>
                        <a:gd name="T24" fmla="*/ 20 w 40"/>
                        <a:gd name="T25" fmla="*/ 40 h 40"/>
                        <a:gd name="T26" fmla="*/ 28 w 40"/>
                        <a:gd name="T27" fmla="*/ 38 h 40"/>
                        <a:gd name="T28" fmla="*/ 34 w 40"/>
                        <a:gd name="T29" fmla="*/ 34 h 40"/>
                        <a:gd name="T30" fmla="*/ 38 w 40"/>
                        <a:gd name="T31" fmla="*/ 28 h 40"/>
                        <a:gd name="T32" fmla="*/ 40 w 40"/>
                        <a:gd name="T33" fmla="*/ 20 h 40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40"/>
                        <a:gd name="T52" fmla="*/ 0 h 40"/>
                        <a:gd name="T53" fmla="*/ 40 w 40"/>
                        <a:gd name="T54" fmla="*/ 40 h 40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40" h="40">
                          <a:moveTo>
                            <a:pt x="40" y="20"/>
                          </a:moveTo>
                          <a:lnTo>
                            <a:pt x="38" y="13"/>
                          </a:lnTo>
                          <a:lnTo>
                            <a:pt x="34" y="7"/>
                          </a:lnTo>
                          <a:lnTo>
                            <a:pt x="28" y="2"/>
                          </a:lnTo>
                          <a:lnTo>
                            <a:pt x="20" y="0"/>
                          </a:lnTo>
                          <a:lnTo>
                            <a:pt x="12" y="2"/>
                          </a:lnTo>
                          <a:lnTo>
                            <a:pt x="6" y="7"/>
                          </a:lnTo>
                          <a:lnTo>
                            <a:pt x="2" y="13"/>
                          </a:lnTo>
                          <a:lnTo>
                            <a:pt x="0" y="20"/>
                          </a:lnTo>
                          <a:lnTo>
                            <a:pt x="2" y="28"/>
                          </a:lnTo>
                          <a:lnTo>
                            <a:pt x="6" y="34"/>
                          </a:lnTo>
                          <a:lnTo>
                            <a:pt x="12" y="38"/>
                          </a:lnTo>
                          <a:lnTo>
                            <a:pt x="20" y="40"/>
                          </a:lnTo>
                          <a:lnTo>
                            <a:pt x="28" y="38"/>
                          </a:lnTo>
                          <a:lnTo>
                            <a:pt x="34" y="34"/>
                          </a:lnTo>
                          <a:lnTo>
                            <a:pt x="38" y="28"/>
                          </a:lnTo>
                          <a:lnTo>
                            <a:pt x="40" y="2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4" name="Freeform 181"/>
                    <p:cNvSpPr>
                      <a:spLocks/>
                    </p:cNvSpPr>
                    <p:nvPr/>
                  </p:nvSpPr>
                  <p:spPr bwMode="auto">
                    <a:xfrm>
                      <a:off x="4334" y="3025"/>
                      <a:ext cx="38" cy="37"/>
                    </a:xfrm>
                    <a:custGeom>
                      <a:avLst/>
                      <a:gdLst>
                        <a:gd name="T0" fmla="*/ 38 w 38"/>
                        <a:gd name="T1" fmla="*/ 18 h 37"/>
                        <a:gd name="T2" fmla="*/ 37 w 38"/>
                        <a:gd name="T3" fmla="*/ 11 h 37"/>
                        <a:gd name="T4" fmla="*/ 33 w 38"/>
                        <a:gd name="T5" fmla="*/ 5 h 37"/>
                        <a:gd name="T6" fmla="*/ 27 w 38"/>
                        <a:gd name="T7" fmla="*/ 1 h 37"/>
                        <a:gd name="T8" fmla="*/ 20 w 38"/>
                        <a:gd name="T9" fmla="*/ 0 h 37"/>
                        <a:gd name="T10" fmla="*/ 12 w 38"/>
                        <a:gd name="T11" fmla="*/ 1 h 37"/>
                        <a:gd name="T12" fmla="*/ 5 w 38"/>
                        <a:gd name="T13" fmla="*/ 5 h 37"/>
                        <a:gd name="T14" fmla="*/ 2 w 38"/>
                        <a:gd name="T15" fmla="*/ 11 h 37"/>
                        <a:gd name="T16" fmla="*/ 0 w 38"/>
                        <a:gd name="T17" fmla="*/ 18 h 37"/>
                        <a:gd name="T18" fmla="*/ 2 w 38"/>
                        <a:gd name="T19" fmla="*/ 25 h 37"/>
                        <a:gd name="T20" fmla="*/ 5 w 38"/>
                        <a:gd name="T21" fmla="*/ 32 h 37"/>
                        <a:gd name="T22" fmla="*/ 12 w 38"/>
                        <a:gd name="T23" fmla="*/ 36 h 37"/>
                        <a:gd name="T24" fmla="*/ 20 w 38"/>
                        <a:gd name="T25" fmla="*/ 37 h 37"/>
                        <a:gd name="T26" fmla="*/ 27 w 38"/>
                        <a:gd name="T27" fmla="*/ 36 h 37"/>
                        <a:gd name="T28" fmla="*/ 33 w 38"/>
                        <a:gd name="T29" fmla="*/ 32 h 37"/>
                        <a:gd name="T30" fmla="*/ 37 w 38"/>
                        <a:gd name="T31" fmla="*/ 25 h 37"/>
                        <a:gd name="T32" fmla="*/ 38 w 38"/>
                        <a:gd name="T33" fmla="*/ 18 h 37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8"/>
                        <a:gd name="T52" fmla="*/ 0 h 37"/>
                        <a:gd name="T53" fmla="*/ 38 w 38"/>
                        <a:gd name="T54" fmla="*/ 37 h 37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8" h="37">
                          <a:moveTo>
                            <a:pt x="38" y="18"/>
                          </a:moveTo>
                          <a:lnTo>
                            <a:pt x="37" y="11"/>
                          </a:lnTo>
                          <a:lnTo>
                            <a:pt x="33" y="5"/>
                          </a:lnTo>
                          <a:lnTo>
                            <a:pt x="27" y="1"/>
                          </a:lnTo>
                          <a:lnTo>
                            <a:pt x="20" y="0"/>
                          </a:lnTo>
                          <a:lnTo>
                            <a:pt x="12" y="1"/>
                          </a:lnTo>
                          <a:lnTo>
                            <a:pt x="5" y="5"/>
                          </a:lnTo>
                          <a:lnTo>
                            <a:pt x="2" y="11"/>
                          </a:lnTo>
                          <a:lnTo>
                            <a:pt x="0" y="18"/>
                          </a:lnTo>
                          <a:lnTo>
                            <a:pt x="2" y="25"/>
                          </a:lnTo>
                          <a:lnTo>
                            <a:pt x="5" y="32"/>
                          </a:lnTo>
                          <a:lnTo>
                            <a:pt x="12" y="36"/>
                          </a:lnTo>
                          <a:lnTo>
                            <a:pt x="20" y="37"/>
                          </a:lnTo>
                          <a:lnTo>
                            <a:pt x="27" y="36"/>
                          </a:lnTo>
                          <a:lnTo>
                            <a:pt x="33" y="32"/>
                          </a:lnTo>
                          <a:lnTo>
                            <a:pt x="37" y="25"/>
                          </a:lnTo>
                          <a:lnTo>
                            <a:pt x="38" y="1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5" name="Freeform 182"/>
                    <p:cNvSpPr>
                      <a:spLocks/>
                    </p:cNvSpPr>
                    <p:nvPr/>
                  </p:nvSpPr>
                  <p:spPr bwMode="auto">
                    <a:xfrm>
                      <a:off x="4334" y="3025"/>
                      <a:ext cx="38" cy="37"/>
                    </a:xfrm>
                    <a:custGeom>
                      <a:avLst/>
                      <a:gdLst>
                        <a:gd name="T0" fmla="*/ 38 w 38"/>
                        <a:gd name="T1" fmla="*/ 18 h 37"/>
                        <a:gd name="T2" fmla="*/ 37 w 38"/>
                        <a:gd name="T3" fmla="*/ 11 h 37"/>
                        <a:gd name="T4" fmla="*/ 33 w 38"/>
                        <a:gd name="T5" fmla="*/ 5 h 37"/>
                        <a:gd name="T6" fmla="*/ 27 w 38"/>
                        <a:gd name="T7" fmla="*/ 1 h 37"/>
                        <a:gd name="T8" fmla="*/ 20 w 38"/>
                        <a:gd name="T9" fmla="*/ 0 h 37"/>
                        <a:gd name="T10" fmla="*/ 12 w 38"/>
                        <a:gd name="T11" fmla="*/ 1 h 37"/>
                        <a:gd name="T12" fmla="*/ 5 w 38"/>
                        <a:gd name="T13" fmla="*/ 5 h 37"/>
                        <a:gd name="T14" fmla="*/ 2 w 38"/>
                        <a:gd name="T15" fmla="*/ 11 h 37"/>
                        <a:gd name="T16" fmla="*/ 0 w 38"/>
                        <a:gd name="T17" fmla="*/ 18 h 37"/>
                        <a:gd name="T18" fmla="*/ 2 w 38"/>
                        <a:gd name="T19" fmla="*/ 25 h 37"/>
                        <a:gd name="T20" fmla="*/ 5 w 38"/>
                        <a:gd name="T21" fmla="*/ 32 h 37"/>
                        <a:gd name="T22" fmla="*/ 12 w 38"/>
                        <a:gd name="T23" fmla="*/ 36 h 37"/>
                        <a:gd name="T24" fmla="*/ 20 w 38"/>
                        <a:gd name="T25" fmla="*/ 37 h 37"/>
                        <a:gd name="T26" fmla="*/ 27 w 38"/>
                        <a:gd name="T27" fmla="*/ 36 h 37"/>
                        <a:gd name="T28" fmla="*/ 33 w 38"/>
                        <a:gd name="T29" fmla="*/ 32 h 37"/>
                        <a:gd name="T30" fmla="*/ 37 w 38"/>
                        <a:gd name="T31" fmla="*/ 25 h 37"/>
                        <a:gd name="T32" fmla="*/ 38 w 38"/>
                        <a:gd name="T33" fmla="*/ 18 h 37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8"/>
                        <a:gd name="T52" fmla="*/ 0 h 37"/>
                        <a:gd name="T53" fmla="*/ 38 w 38"/>
                        <a:gd name="T54" fmla="*/ 37 h 37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8" h="37">
                          <a:moveTo>
                            <a:pt x="38" y="18"/>
                          </a:moveTo>
                          <a:lnTo>
                            <a:pt x="37" y="11"/>
                          </a:lnTo>
                          <a:lnTo>
                            <a:pt x="33" y="5"/>
                          </a:lnTo>
                          <a:lnTo>
                            <a:pt x="27" y="1"/>
                          </a:lnTo>
                          <a:lnTo>
                            <a:pt x="20" y="0"/>
                          </a:lnTo>
                          <a:lnTo>
                            <a:pt x="12" y="1"/>
                          </a:lnTo>
                          <a:lnTo>
                            <a:pt x="5" y="5"/>
                          </a:lnTo>
                          <a:lnTo>
                            <a:pt x="2" y="11"/>
                          </a:lnTo>
                          <a:lnTo>
                            <a:pt x="0" y="18"/>
                          </a:lnTo>
                          <a:lnTo>
                            <a:pt x="2" y="25"/>
                          </a:lnTo>
                          <a:lnTo>
                            <a:pt x="5" y="32"/>
                          </a:lnTo>
                          <a:lnTo>
                            <a:pt x="12" y="36"/>
                          </a:lnTo>
                          <a:lnTo>
                            <a:pt x="20" y="37"/>
                          </a:lnTo>
                          <a:lnTo>
                            <a:pt x="27" y="36"/>
                          </a:lnTo>
                          <a:lnTo>
                            <a:pt x="33" y="32"/>
                          </a:lnTo>
                          <a:lnTo>
                            <a:pt x="37" y="25"/>
                          </a:lnTo>
                          <a:lnTo>
                            <a:pt x="38" y="1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6" name="Freeform 183"/>
                    <p:cNvSpPr>
                      <a:spLocks/>
                    </p:cNvSpPr>
                    <p:nvPr/>
                  </p:nvSpPr>
                  <p:spPr bwMode="auto">
                    <a:xfrm>
                      <a:off x="4236" y="3023"/>
                      <a:ext cx="38" cy="38"/>
                    </a:xfrm>
                    <a:custGeom>
                      <a:avLst/>
                      <a:gdLst>
                        <a:gd name="T0" fmla="*/ 38 w 38"/>
                        <a:gd name="T1" fmla="*/ 20 h 38"/>
                        <a:gd name="T2" fmla="*/ 37 w 38"/>
                        <a:gd name="T3" fmla="*/ 12 h 38"/>
                        <a:gd name="T4" fmla="*/ 33 w 38"/>
                        <a:gd name="T5" fmla="*/ 5 h 38"/>
                        <a:gd name="T6" fmla="*/ 26 w 38"/>
                        <a:gd name="T7" fmla="*/ 2 h 38"/>
                        <a:gd name="T8" fmla="*/ 19 w 38"/>
                        <a:gd name="T9" fmla="*/ 0 h 38"/>
                        <a:gd name="T10" fmla="*/ 12 w 38"/>
                        <a:gd name="T11" fmla="*/ 2 h 38"/>
                        <a:gd name="T12" fmla="*/ 5 w 38"/>
                        <a:gd name="T13" fmla="*/ 5 h 38"/>
                        <a:gd name="T14" fmla="*/ 1 w 38"/>
                        <a:gd name="T15" fmla="*/ 12 h 38"/>
                        <a:gd name="T16" fmla="*/ 0 w 38"/>
                        <a:gd name="T17" fmla="*/ 20 h 38"/>
                        <a:gd name="T18" fmla="*/ 1 w 38"/>
                        <a:gd name="T19" fmla="*/ 27 h 38"/>
                        <a:gd name="T20" fmla="*/ 5 w 38"/>
                        <a:gd name="T21" fmla="*/ 33 h 38"/>
                        <a:gd name="T22" fmla="*/ 12 w 38"/>
                        <a:gd name="T23" fmla="*/ 37 h 38"/>
                        <a:gd name="T24" fmla="*/ 19 w 38"/>
                        <a:gd name="T25" fmla="*/ 38 h 38"/>
                        <a:gd name="T26" fmla="*/ 26 w 38"/>
                        <a:gd name="T27" fmla="*/ 37 h 38"/>
                        <a:gd name="T28" fmla="*/ 33 w 38"/>
                        <a:gd name="T29" fmla="*/ 33 h 38"/>
                        <a:gd name="T30" fmla="*/ 37 w 38"/>
                        <a:gd name="T31" fmla="*/ 27 h 38"/>
                        <a:gd name="T32" fmla="*/ 38 w 38"/>
                        <a:gd name="T33" fmla="*/ 20 h 38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8"/>
                        <a:gd name="T52" fmla="*/ 0 h 38"/>
                        <a:gd name="T53" fmla="*/ 38 w 38"/>
                        <a:gd name="T54" fmla="*/ 38 h 38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8" h="38">
                          <a:moveTo>
                            <a:pt x="38" y="20"/>
                          </a:moveTo>
                          <a:lnTo>
                            <a:pt x="37" y="12"/>
                          </a:lnTo>
                          <a:lnTo>
                            <a:pt x="33" y="5"/>
                          </a:lnTo>
                          <a:lnTo>
                            <a:pt x="26" y="2"/>
                          </a:lnTo>
                          <a:lnTo>
                            <a:pt x="19" y="0"/>
                          </a:lnTo>
                          <a:lnTo>
                            <a:pt x="12" y="2"/>
                          </a:lnTo>
                          <a:lnTo>
                            <a:pt x="5" y="5"/>
                          </a:lnTo>
                          <a:lnTo>
                            <a:pt x="1" y="12"/>
                          </a:lnTo>
                          <a:lnTo>
                            <a:pt x="0" y="20"/>
                          </a:lnTo>
                          <a:lnTo>
                            <a:pt x="1" y="27"/>
                          </a:lnTo>
                          <a:lnTo>
                            <a:pt x="5" y="33"/>
                          </a:lnTo>
                          <a:lnTo>
                            <a:pt x="12" y="37"/>
                          </a:lnTo>
                          <a:lnTo>
                            <a:pt x="19" y="38"/>
                          </a:lnTo>
                          <a:lnTo>
                            <a:pt x="26" y="37"/>
                          </a:lnTo>
                          <a:lnTo>
                            <a:pt x="33" y="33"/>
                          </a:lnTo>
                          <a:lnTo>
                            <a:pt x="37" y="27"/>
                          </a:lnTo>
                          <a:lnTo>
                            <a:pt x="38" y="20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7" name="Freeform 184"/>
                    <p:cNvSpPr>
                      <a:spLocks/>
                    </p:cNvSpPr>
                    <p:nvPr/>
                  </p:nvSpPr>
                  <p:spPr bwMode="auto">
                    <a:xfrm>
                      <a:off x="4236" y="3023"/>
                      <a:ext cx="38" cy="38"/>
                    </a:xfrm>
                    <a:custGeom>
                      <a:avLst/>
                      <a:gdLst>
                        <a:gd name="T0" fmla="*/ 38 w 38"/>
                        <a:gd name="T1" fmla="*/ 20 h 38"/>
                        <a:gd name="T2" fmla="*/ 37 w 38"/>
                        <a:gd name="T3" fmla="*/ 12 h 38"/>
                        <a:gd name="T4" fmla="*/ 33 w 38"/>
                        <a:gd name="T5" fmla="*/ 5 h 38"/>
                        <a:gd name="T6" fmla="*/ 26 w 38"/>
                        <a:gd name="T7" fmla="*/ 2 h 38"/>
                        <a:gd name="T8" fmla="*/ 19 w 38"/>
                        <a:gd name="T9" fmla="*/ 0 h 38"/>
                        <a:gd name="T10" fmla="*/ 12 w 38"/>
                        <a:gd name="T11" fmla="*/ 2 h 38"/>
                        <a:gd name="T12" fmla="*/ 5 w 38"/>
                        <a:gd name="T13" fmla="*/ 5 h 38"/>
                        <a:gd name="T14" fmla="*/ 1 w 38"/>
                        <a:gd name="T15" fmla="*/ 12 h 38"/>
                        <a:gd name="T16" fmla="*/ 0 w 38"/>
                        <a:gd name="T17" fmla="*/ 20 h 38"/>
                        <a:gd name="T18" fmla="*/ 1 w 38"/>
                        <a:gd name="T19" fmla="*/ 27 h 38"/>
                        <a:gd name="T20" fmla="*/ 5 w 38"/>
                        <a:gd name="T21" fmla="*/ 33 h 38"/>
                        <a:gd name="T22" fmla="*/ 12 w 38"/>
                        <a:gd name="T23" fmla="*/ 37 h 38"/>
                        <a:gd name="T24" fmla="*/ 19 w 38"/>
                        <a:gd name="T25" fmla="*/ 38 h 38"/>
                        <a:gd name="T26" fmla="*/ 26 w 38"/>
                        <a:gd name="T27" fmla="*/ 37 h 38"/>
                        <a:gd name="T28" fmla="*/ 33 w 38"/>
                        <a:gd name="T29" fmla="*/ 33 h 38"/>
                        <a:gd name="T30" fmla="*/ 37 w 38"/>
                        <a:gd name="T31" fmla="*/ 27 h 38"/>
                        <a:gd name="T32" fmla="*/ 38 w 38"/>
                        <a:gd name="T33" fmla="*/ 20 h 38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8"/>
                        <a:gd name="T52" fmla="*/ 0 h 38"/>
                        <a:gd name="T53" fmla="*/ 38 w 38"/>
                        <a:gd name="T54" fmla="*/ 38 h 38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8" h="38">
                          <a:moveTo>
                            <a:pt x="38" y="20"/>
                          </a:moveTo>
                          <a:lnTo>
                            <a:pt x="37" y="12"/>
                          </a:lnTo>
                          <a:lnTo>
                            <a:pt x="33" y="5"/>
                          </a:lnTo>
                          <a:lnTo>
                            <a:pt x="26" y="2"/>
                          </a:lnTo>
                          <a:lnTo>
                            <a:pt x="19" y="0"/>
                          </a:lnTo>
                          <a:lnTo>
                            <a:pt x="12" y="2"/>
                          </a:lnTo>
                          <a:lnTo>
                            <a:pt x="5" y="5"/>
                          </a:lnTo>
                          <a:lnTo>
                            <a:pt x="1" y="12"/>
                          </a:lnTo>
                          <a:lnTo>
                            <a:pt x="0" y="20"/>
                          </a:lnTo>
                          <a:lnTo>
                            <a:pt x="1" y="27"/>
                          </a:lnTo>
                          <a:lnTo>
                            <a:pt x="5" y="33"/>
                          </a:lnTo>
                          <a:lnTo>
                            <a:pt x="12" y="37"/>
                          </a:lnTo>
                          <a:lnTo>
                            <a:pt x="19" y="38"/>
                          </a:lnTo>
                          <a:lnTo>
                            <a:pt x="26" y="37"/>
                          </a:lnTo>
                          <a:lnTo>
                            <a:pt x="33" y="33"/>
                          </a:lnTo>
                          <a:lnTo>
                            <a:pt x="37" y="27"/>
                          </a:lnTo>
                          <a:lnTo>
                            <a:pt x="38" y="20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8" name="Freeform 185"/>
                    <p:cNvSpPr>
                      <a:spLocks/>
                    </p:cNvSpPr>
                    <p:nvPr/>
                  </p:nvSpPr>
                  <p:spPr bwMode="auto">
                    <a:xfrm>
                      <a:off x="4049" y="2827"/>
                      <a:ext cx="35" cy="36"/>
                    </a:xfrm>
                    <a:custGeom>
                      <a:avLst/>
                      <a:gdLst>
                        <a:gd name="T0" fmla="*/ 35 w 35"/>
                        <a:gd name="T1" fmla="*/ 18 h 36"/>
                        <a:gd name="T2" fmla="*/ 34 w 35"/>
                        <a:gd name="T3" fmla="*/ 11 h 36"/>
                        <a:gd name="T4" fmla="*/ 30 w 35"/>
                        <a:gd name="T5" fmla="*/ 6 h 36"/>
                        <a:gd name="T6" fmla="*/ 24 w 35"/>
                        <a:gd name="T7" fmla="*/ 2 h 36"/>
                        <a:gd name="T8" fmla="*/ 17 w 35"/>
                        <a:gd name="T9" fmla="*/ 0 h 36"/>
                        <a:gd name="T10" fmla="*/ 10 w 35"/>
                        <a:gd name="T11" fmla="*/ 2 h 36"/>
                        <a:gd name="T12" fmla="*/ 4 w 35"/>
                        <a:gd name="T13" fmla="*/ 6 h 36"/>
                        <a:gd name="T14" fmla="*/ 1 w 35"/>
                        <a:gd name="T15" fmla="*/ 11 h 36"/>
                        <a:gd name="T16" fmla="*/ 0 w 35"/>
                        <a:gd name="T17" fmla="*/ 18 h 36"/>
                        <a:gd name="T18" fmla="*/ 1 w 35"/>
                        <a:gd name="T19" fmla="*/ 25 h 36"/>
                        <a:gd name="T20" fmla="*/ 4 w 35"/>
                        <a:gd name="T21" fmla="*/ 31 h 36"/>
                        <a:gd name="T22" fmla="*/ 10 w 35"/>
                        <a:gd name="T23" fmla="*/ 34 h 36"/>
                        <a:gd name="T24" fmla="*/ 17 w 35"/>
                        <a:gd name="T25" fmla="*/ 36 h 36"/>
                        <a:gd name="T26" fmla="*/ 24 w 35"/>
                        <a:gd name="T27" fmla="*/ 34 h 36"/>
                        <a:gd name="T28" fmla="*/ 30 w 35"/>
                        <a:gd name="T29" fmla="*/ 31 h 36"/>
                        <a:gd name="T30" fmla="*/ 34 w 35"/>
                        <a:gd name="T31" fmla="*/ 25 h 36"/>
                        <a:gd name="T32" fmla="*/ 35 w 35"/>
                        <a:gd name="T33" fmla="*/ 18 h 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5"/>
                        <a:gd name="T52" fmla="*/ 0 h 36"/>
                        <a:gd name="T53" fmla="*/ 35 w 35"/>
                        <a:gd name="T54" fmla="*/ 36 h 36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5" h="36">
                          <a:moveTo>
                            <a:pt x="35" y="18"/>
                          </a:moveTo>
                          <a:lnTo>
                            <a:pt x="34" y="11"/>
                          </a:lnTo>
                          <a:lnTo>
                            <a:pt x="30" y="6"/>
                          </a:lnTo>
                          <a:lnTo>
                            <a:pt x="24" y="2"/>
                          </a:lnTo>
                          <a:lnTo>
                            <a:pt x="17" y="0"/>
                          </a:lnTo>
                          <a:lnTo>
                            <a:pt x="10" y="2"/>
                          </a:lnTo>
                          <a:lnTo>
                            <a:pt x="4" y="6"/>
                          </a:lnTo>
                          <a:lnTo>
                            <a:pt x="1" y="11"/>
                          </a:lnTo>
                          <a:lnTo>
                            <a:pt x="0" y="18"/>
                          </a:lnTo>
                          <a:lnTo>
                            <a:pt x="1" y="25"/>
                          </a:lnTo>
                          <a:lnTo>
                            <a:pt x="4" y="31"/>
                          </a:lnTo>
                          <a:lnTo>
                            <a:pt x="10" y="34"/>
                          </a:lnTo>
                          <a:lnTo>
                            <a:pt x="17" y="36"/>
                          </a:lnTo>
                          <a:lnTo>
                            <a:pt x="24" y="34"/>
                          </a:lnTo>
                          <a:lnTo>
                            <a:pt x="30" y="31"/>
                          </a:lnTo>
                          <a:lnTo>
                            <a:pt x="34" y="25"/>
                          </a:lnTo>
                          <a:lnTo>
                            <a:pt x="35" y="18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29" name="Freeform 186"/>
                    <p:cNvSpPr>
                      <a:spLocks/>
                    </p:cNvSpPr>
                    <p:nvPr/>
                  </p:nvSpPr>
                  <p:spPr bwMode="auto">
                    <a:xfrm>
                      <a:off x="4049" y="2827"/>
                      <a:ext cx="35" cy="36"/>
                    </a:xfrm>
                    <a:custGeom>
                      <a:avLst/>
                      <a:gdLst>
                        <a:gd name="T0" fmla="*/ 35 w 35"/>
                        <a:gd name="T1" fmla="*/ 18 h 36"/>
                        <a:gd name="T2" fmla="*/ 34 w 35"/>
                        <a:gd name="T3" fmla="*/ 11 h 36"/>
                        <a:gd name="T4" fmla="*/ 30 w 35"/>
                        <a:gd name="T5" fmla="*/ 6 h 36"/>
                        <a:gd name="T6" fmla="*/ 24 w 35"/>
                        <a:gd name="T7" fmla="*/ 2 h 36"/>
                        <a:gd name="T8" fmla="*/ 17 w 35"/>
                        <a:gd name="T9" fmla="*/ 0 h 36"/>
                        <a:gd name="T10" fmla="*/ 10 w 35"/>
                        <a:gd name="T11" fmla="*/ 2 h 36"/>
                        <a:gd name="T12" fmla="*/ 4 w 35"/>
                        <a:gd name="T13" fmla="*/ 6 h 36"/>
                        <a:gd name="T14" fmla="*/ 1 w 35"/>
                        <a:gd name="T15" fmla="*/ 11 h 36"/>
                        <a:gd name="T16" fmla="*/ 0 w 35"/>
                        <a:gd name="T17" fmla="*/ 18 h 36"/>
                        <a:gd name="T18" fmla="*/ 1 w 35"/>
                        <a:gd name="T19" fmla="*/ 25 h 36"/>
                        <a:gd name="T20" fmla="*/ 4 w 35"/>
                        <a:gd name="T21" fmla="*/ 31 h 36"/>
                        <a:gd name="T22" fmla="*/ 10 w 35"/>
                        <a:gd name="T23" fmla="*/ 34 h 36"/>
                        <a:gd name="T24" fmla="*/ 17 w 35"/>
                        <a:gd name="T25" fmla="*/ 36 h 36"/>
                        <a:gd name="T26" fmla="*/ 24 w 35"/>
                        <a:gd name="T27" fmla="*/ 34 h 36"/>
                        <a:gd name="T28" fmla="*/ 30 w 35"/>
                        <a:gd name="T29" fmla="*/ 31 h 36"/>
                        <a:gd name="T30" fmla="*/ 34 w 35"/>
                        <a:gd name="T31" fmla="*/ 25 h 36"/>
                        <a:gd name="T32" fmla="*/ 35 w 35"/>
                        <a:gd name="T33" fmla="*/ 18 h 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5"/>
                        <a:gd name="T52" fmla="*/ 0 h 36"/>
                        <a:gd name="T53" fmla="*/ 35 w 35"/>
                        <a:gd name="T54" fmla="*/ 36 h 36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5" h="36">
                          <a:moveTo>
                            <a:pt x="35" y="18"/>
                          </a:moveTo>
                          <a:lnTo>
                            <a:pt x="34" y="11"/>
                          </a:lnTo>
                          <a:lnTo>
                            <a:pt x="30" y="6"/>
                          </a:lnTo>
                          <a:lnTo>
                            <a:pt x="24" y="2"/>
                          </a:lnTo>
                          <a:lnTo>
                            <a:pt x="17" y="0"/>
                          </a:lnTo>
                          <a:lnTo>
                            <a:pt x="10" y="2"/>
                          </a:lnTo>
                          <a:lnTo>
                            <a:pt x="4" y="6"/>
                          </a:lnTo>
                          <a:lnTo>
                            <a:pt x="1" y="11"/>
                          </a:lnTo>
                          <a:lnTo>
                            <a:pt x="0" y="18"/>
                          </a:lnTo>
                          <a:lnTo>
                            <a:pt x="1" y="25"/>
                          </a:lnTo>
                          <a:lnTo>
                            <a:pt x="4" y="31"/>
                          </a:lnTo>
                          <a:lnTo>
                            <a:pt x="10" y="34"/>
                          </a:lnTo>
                          <a:lnTo>
                            <a:pt x="17" y="36"/>
                          </a:lnTo>
                          <a:lnTo>
                            <a:pt x="24" y="34"/>
                          </a:lnTo>
                          <a:lnTo>
                            <a:pt x="30" y="31"/>
                          </a:lnTo>
                          <a:lnTo>
                            <a:pt x="34" y="25"/>
                          </a:lnTo>
                          <a:lnTo>
                            <a:pt x="35" y="18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0" name="Freeform 187"/>
                    <p:cNvSpPr>
                      <a:spLocks/>
                    </p:cNvSpPr>
                    <p:nvPr/>
                  </p:nvSpPr>
                  <p:spPr bwMode="auto">
                    <a:xfrm>
                      <a:off x="3799" y="2674"/>
                      <a:ext cx="34" cy="35"/>
                    </a:xfrm>
                    <a:custGeom>
                      <a:avLst/>
                      <a:gdLst>
                        <a:gd name="T0" fmla="*/ 34 w 34"/>
                        <a:gd name="T1" fmla="*/ 17 h 35"/>
                        <a:gd name="T2" fmla="*/ 33 w 34"/>
                        <a:gd name="T3" fmla="*/ 11 h 35"/>
                        <a:gd name="T4" fmla="*/ 29 w 34"/>
                        <a:gd name="T5" fmla="*/ 6 h 35"/>
                        <a:gd name="T6" fmla="*/ 23 w 34"/>
                        <a:gd name="T7" fmla="*/ 2 h 35"/>
                        <a:gd name="T8" fmla="*/ 17 w 34"/>
                        <a:gd name="T9" fmla="*/ 0 h 35"/>
                        <a:gd name="T10" fmla="*/ 10 w 34"/>
                        <a:gd name="T11" fmla="*/ 2 h 35"/>
                        <a:gd name="T12" fmla="*/ 5 w 34"/>
                        <a:gd name="T13" fmla="*/ 6 h 35"/>
                        <a:gd name="T14" fmla="*/ 1 w 34"/>
                        <a:gd name="T15" fmla="*/ 11 h 35"/>
                        <a:gd name="T16" fmla="*/ 0 w 34"/>
                        <a:gd name="T17" fmla="*/ 17 h 35"/>
                        <a:gd name="T18" fmla="*/ 1 w 34"/>
                        <a:gd name="T19" fmla="*/ 24 h 35"/>
                        <a:gd name="T20" fmla="*/ 5 w 34"/>
                        <a:gd name="T21" fmla="*/ 30 h 35"/>
                        <a:gd name="T22" fmla="*/ 10 w 34"/>
                        <a:gd name="T23" fmla="*/ 33 h 35"/>
                        <a:gd name="T24" fmla="*/ 17 w 34"/>
                        <a:gd name="T25" fmla="*/ 35 h 35"/>
                        <a:gd name="T26" fmla="*/ 23 w 34"/>
                        <a:gd name="T27" fmla="*/ 33 h 35"/>
                        <a:gd name="T28" fmla="*/ 29 w 34"/>
                        <a:gd name="T29" fmla="*/ 30 h 35"/>
                        <a:gd name="T30" fmla="*/ 33 w 34"/>
                        <a:gd name="T31" fmla="*/ 24 h 35"/>
                        <a:gd name="T32" fmla="*/ 34 w 34"/>
                        <a:gd name="T33" fmla="*/ 17 h 35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4"/>
                        <a:gd name="T52" fmla="*/ 0 h 35"/>
                        <a:gd name="T53" fmla="*/ 34 w 34"/>
                        <a:gd name="T54" fmla="*/ 35 h 35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4" h="35">
                          <a:moveTo>
                            <a:pt x="34" y="17"/>
                          </a:moveTo>
                          <a:lnTo>
                            <a:pt x="33" y="11"/>
                          </a:lnTo>
                          <a:lnTo>
                            <a:pt x="29" y="6"/>
                          </a:lnTo>
                          <a:lnTo>
                            <a:pt x="23" y="2"/>
                          </a:lnTo>
                          <a:lnTo>
                            <a:pt x="17" y="0"/>
                          </a:lnTo>
                          <a:lnTo>
                            <a:pt x="10" y="2"/>
                          </a:lnTo>
                          <a:lnTo>
                            <a:pt x="5" y="6"/>
                          </a:lnTo>
                          <a:lnTo>
                            <a:pt x="1" y="11"/>
                          </a:lnTo>
                          <a:lnTo>
                            <a:pt x="0" y="17"/>
                          </a:lnTo>
                          <a:lnTo>
                            <a:pt x="1" y="24"/>
                          </a:lnTo>
                          <a:lnTo>
                            <a:pt x="5" y="30"/>
                          </a:lnTo>
                          <a:lnTo>
                            <a:pt x="10" y="33"/>
                          </a:lnTo>
                          <a:lnTo>
                            <a:pt x="17" y="35"/>
                          </a:lnTo>
                          <a:lnTo>
                            <a:pt x="23" y="33"/>
                          </a:lnTo>
                          <a:lnTo>
                            <a:pt x="29" y="30"/>
                          </a:lnTo>
                          <a:lnTo>
                            <a:pt x="33" y="24"/>
                          </a:lnTo>
                          <a:lnTo>
                            <a:pt x="34" y="1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1" name="Freeform 188"/>
                    <p:cNvSpPr>
                      <a:spLocks/>
                    </p:cNvSpPr>
                    <p:nvPr/>
                  </p:nvSpPr>
                  <p:spPr bwMode="auto">
                    <a:xfrm>
                      <a:off x="3799" y="2674"/>
                      <a:ext cx="34" cy="35"/>
                    </a:xfrm>
                    <a:custGeom>
                      <a:avLst/>
                      <a:gdLst>
                        <a:gd name="T0" fmla="*/ 34 w 34"/>
                        <a:gd name="T1" fmla="*/ 17 h 35"/>
                        <a:gd name="T2" fmla="*/ 33 w 34"/>
                        <a:gd name="T3" fmla="*/ 11 h 35"/>
                        <a:gd name="T4" fmla="*/ 29 w 34"/>
                        <a:gd name="T5" fmla="*/ 6 h 35"/>
                        <a:gd name="T6" fmla="*/ 23 w 34"/>
                        <a:gd name="T7" fmla="*/ 2 h 35"/>
                        <a:gd name="T8" fmla="*/ 17 w 34"/>
                        <a:gd name="T9" fmla="*/ 0 h 35"/>
                        <a:gd name="T10" fmla="*/ 10 w 34"/>
                        <a:gd name="T11" fmla="*/ 2 h 35"/>
                        <a:gd name="T12" fmla="*/ 5 w 34"/>
                        <a:gd name="T13" fmla="*/ 6 h 35"/>
                        <a:gd name="T14" fmla="*/ 1 w 34"/>
                        <a:gd name="T15" fmla="*/ 11 h 35"/>
                        <a:gd name="T16" fmla="*/ 0 w 34"/>
                        <a:gd name="T17" fmla="*/ 17 h 35"/>
                        <a:gd name="T18" fmla="*/ 1 w 34"/>
                        <a:gd name="T19" fmla="*/ 24 h 35"/>
                        <a:gd name="T20" fmla="*/ 5 w 34"/>
                        <a:gd name="T21" fmla="*/ 30 h 35"/>
                        <a:gd name="T22" fmla="*/ 10 w 34"/>
                        <a:gd name="T23" fmla="*/ 33 h 35"/>
                        <a:gd name="T24" fmla="*/ 17 w 34"/>
                        <a:gd name="T25" fmla="*/ 35 h 35"/>
                        <a:gd name="T26" fmla="*/ 23 w 34"/>
                        <a:gd name="T27" fmla="*/ 33 h 35"/>
                        <a:gd name="T28" fmla="*/ 29 w 34"/>
                        <a:gd name="T29" fmla="*/ 30 h 35"/>
                        <a:gd name="T30" fmla="*/ 33 w 34"/>
                        <a:gd name="T31" fmla="*/ 24 h 35"/>
                        <a:gd name="T32" fmla="*/ 34 w 34"/>
                        <a:gd name="T33" fmla="*/ 17 h 35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4"/>
                        <a:gd name="T52" fmla="*/ 0 h 35"/>
                        <a:gd name="T53" fmla="*/ 34 w 34"/>
                        <a:gd name="T54" fmla="*/ 35 h 35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4" h="35">
                          <a:moveTo>
                            <a:pt x="34" y="17"/>
                          </a:moveTo>
                          <a:lnTo>
                            <a:pt x="33" y="11"/>
                          </a:lnTo>
                          <a:lnTo>
                            <a:pt x="29" y="6"/>
                          </a:lnTo>
                          <a:lnTo>
                            <a:pt x="23" y="2"/>
                          </a:lnTo>
                          <a:lnTo>
                            <a:pt x="17" y="0"/>
                          </a:lnTo>
                          <a:lnTo>
                            <a:pt x="10" y="2"/>
                          </a:lnTo>
                          <a:lnTo>
                            <a:pt x="5" y="6"/>
                          </a:lnTo>
                          <a:lnTo>
                            <a:pt x="1" y="11"/>
                          </a:lnTo>
                          <a:lnTo>
                            <a:pt x="0" y="17"/>
                          </a:lnTo>
                          <a:lnTo>
                            <a:pt x="1" y="24"/>
                          </a:lnTo>
                          <a:lnTo>
                            <a:pt x="5" y="30"/>
                          </a:lnTo>
                          <a:lnTo>
                            <a:pt x="10" y="33"/>
                          </a:lnTo>
                          <a:lnTo>
                            <a:pt x="17" y="35"/>
                          </a:lnTo>
                          <a:lnTo>
                            <a:pt x="23" y="33"/>
                          </a:lnTo>
                          <a:lnTo>
                            <a:pt x="29" y="30"/>
                          </a:lnTo>
                          <a:lnTo>
                            <a:pt x="33" y="24"/>
                          </a:lnTo>
                          <a:lnTo>
                            <a:pt x="34" y="1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2" name="Freeform 189"/>
                    <p:cNvSpPr>
                      <a:spLocks/>
                    </p:cNvSpPr>
                    <p:nvPr/>
                  </p:nvSpPr>
                  <p:spPr bwMode="auto">
                    <a:xfrm>
                      <a:off x="4781" y="1162"/>
                      <a:ext cx="33" cy="33"/>
                    </a:xfrm>
                    <a:custGeom>
                      <a:avLst/>
                      <a:gdLst>
                        <a:gd name="T0" fmla="*/ 33 w 33"/>
                        <a:gd name="T1" fmla="*/ 16 h 33"/>
                        <a:gd name="T2" fmla="*/ 31 w 33"/>
                        <a:gd name="T3" fmla="*/ 8 h 33"/>
                        <a:gd name="T4" fmla="*/ 24 w 33"/>
                        <a:gd name="T5" fmla="*/ 2 h 33"/>
                        <a:gd name="T6" fmla="*/ 17 w 33"/>
                        <a:gd name="T7" fmla="*/ 0 h 33"/>
                        <a:gd name="T8" fmla="*/ 10 w 33"/>
                        <a:gd name="T9" fmla="*/ 1 h 33"/>
                        <a:gd name="T10" fmla="*/ 5 w 33"/>
                        <a:gd name="T11" fmla="*/ 4 h 33"/>
                        <a:gd name="T12" fmla="*/ 2 w 33"/>
                        <a:gd name="T13" fmla="*/ 10 h 33"/>
                        <a:gd name="T14" fmla="*/ 0 w 33"/>
                        <a:gd name="T15" fmla="*/ 16 h 33"/>
                        <a:gd name="T16" fmla="*/ 2 w 33"/>
                        <a:gd name="T17" fmla="*/ 22 h 33"/>
                        <a:gd name="T18" fmla="*/ 5 w 33"/>
                        <a:gd name="T19" fmla="*/ 28 h 33"/>
                        <a:gd name="T20" fmla="*/ 10 w 33"/>
                        <a:gd name="T21" fmla="*/ 31 h 33"/>
                        <a:gd name="T22" fmla="*/ 17 w 33"/>
                        <a:gd name="T23" fmla="*/ 33 h 33"/>
                        <a:gd name="T24" fmla="*/ 23 w 33"/>
                        <a:gd name="T25" fmla="*/ 31 h 33"/>
                        <a:gd name="T26" fmla="*/ 28 w 33"/>
                        <a:gd name="T27" fmla="*/ 28 h 33"/>
                        <a:gd name="T28" fmla="*/ 31 w 33"/>
                        <a:gd name="T29" fmla="*/ 22 h 33"/>
                        <a:gd name="T30" fmla="*/ 33 w 33"/>
                        <a:gd name="T31" fmla="*/ 16 h 33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w 33"/>
                        <a:gd name="T49" fmla="*/ 0 h 33"/>
                        <a:gd name="T50" fmla="*/ 33 w 33"/>
                        <a:gd name="T51" fmla="*/ 33 h 33"/>
                      </a:gdLst>
                      <a:ahLst/>
                      <a:cxnLst>
                        <a:cxn ang="T32">
                          <a:pos x="T0" y="T1"/>
                        </a:cxn>
                        <a:cxn ang="T33">
                          <a:pos x="T2" y="T3"/>
                        </a:cxn>
                        <a:cxn ang="T34">
                          <a:pos x="T4" y="T5"/>
                        </a:cxn>
                        <a:cxn ang="T35">
                          <a:pos x="T6" y="T7"/>
                        </a:cxn>
                        <a:cxn ang="T36">
                          <a:pos x="T8" y="T9"/>
                        </a:cxn>
                        <a:cxn ang="T37">
                          <a:pos x="T10" y="T11"/>
                        </a:cxn>
                        <a:cxn ang="T38">
                          <a:pos x="T12" y="T13"/>
                        </a:cxn>
                        <a:cxn ang="T39">
                          <a:pos x="T14" y="T15"/>
                        </a:cxn>
                        <a:cxn ang="T40">
                          <a:pos x="T16" y="T17"/>
                        </a:cxn>
                        <a:cxn ang="T41">
                          <a:pos x="T18" y="T19"/>
                        </a:cxn>
                        <a:cxn ang="T42">
                          <a:pos x="T20" y="T21"/>
                        </a:cxn>
                        <a:cxn ang="T43">
                          <a:pos x="T22" y="T23"/>
                        </a:cxn>
                        <a:cxn ang="T44">
                          <a:pos x="T24" y="T25"/>
                        </a:cxn>
                        <a:cxn ang="T45">
                          <a:pos x="T26" y="T27"/>
                        </a:cxn>
                        <a:cxn ang="T46">
                          <a:pos x="T28" y="T29"/>
                        </a:cxn>
                        <a:cxn ang="T47">
                          <a:pos x="T30" y="T31"/>
                        </a:cxn>
                      </a:cxnLst>
                      <a:rect l="T48" t="T49" r="T50" b="T51"/>
                      <a:pathLst>
                        <a:path w="33" h="33">
                          <a:moveTo>
                            <a:pt x="33" y="16"/>
                          </a:moveTo>
                          <a:lnTo>
                            <a:pt x="31" y="8"/>
                          </a:lnTo>
                          <a:lnTo>
                            <a:pt x="24" y="2"/>
                          </a:lnTo>
                          <a:lnTo>
                            <a:pt x="17" y="0"/>
                          </a:lnTo>
                          <a:lnTo>
                            <a:pt x="10" y="1"/>
                          </a:lnTo>
                          <a:lnTo>
                            <a:pt x="5" y="4"/>
                          </a:lnTo>
                          <a:lnTo>
                            <a:pt x="2" y="10"/>
                          </a:lnTo>
                          <a:lnTo>
                            <a:pt x="0" y="16"/>
                          </a:lnTo>
                          <a:lnTo>
                            <a:pt x="2" y="22"/>
                          </a:lnTo>
                          <a:lnTo>
                            <a:pt x="5" y="28"/>
                          </a:lnTo>
                          <a:lnTo>
                            <a:pt x="10" y="31"/>
                          </a:lnTo>
                          <a:lnTo>
                            <a:pt x="17" y="33"/>
                          </a:lnTo>
                          <a:lnTo>
                            <a:pt x="23" y="31"/>
                          </a:lnTo>
                          <a:lnTo>
                            <a:pt x="28" y="28"/>
                          </a:lnTo>
                          <a:lnTo>
                            <a:pt x="31" y="22"/>
                          </a:lnTo>
                          <a:lnTo>
                            <a:pt x="33" y="1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3" name="Freeform 190"/>
                    <p:cNvSpPr>
                      <a:spLocks/>
                    </p:cNvSpPr>
                    <p:nvPr/>
                  </p:nvSpPr>
                  <p:spPr bwMode="auto">
                    <a:xfrm>
                      <a:off x="4781" y="1162"/>
                      <a:ext cx="33" cy="33"/>
                    </a:xfrm>
                    <a:custGeom>
                      <a:avLst/>
                      <a:gdLst>
                        <a:gd name="T0" fmla="*/ 33 w 33"/>
                        <a:gd name="T1" fmla="*/ 16 h 33"/>
                        <a:gd name="T2" fmla="*/ 31 w 33"/>
                        <a:gd name="T3" fmla="*/ 8 h 33"/>
                        <a:gd name="T4" fmla="*/ 24 w 33"/>
                        <a:gd name="T5" fmla="*/ 2 h 33"/>
                        <a:gd name="T6" fmla="*/ 17 w 33"/>
                        <a:gd name="T7" fmla="*/ 0 h 33"/>
                        <a:gd name="T8" fmla="*/ 10 w 33"/>
                        <a:gd name="T9" fmla="*/ 1 h 33"/>
                        <a:gd name="T10" fmla="*/ 5 w 33"/>
                        <a:gd name="T11" fmla="*/ 4 h 33"/>
                        <a:gd name="T12" fmla="*/ 2 w 33"/>
                        <a:gd name="T13" fmla="*/ 10 h 33"/>
                        <a:gd name="T14" fmla="*/ 0 w 33"/>
                        <a:gd name="T15" fmla="*/ 16 h 33"/>
                        <a:gd name="T16" fmla="*/ 2 w 33"/>
                        <a:gd name="T17" fmla="*/ 22 h 33"/>
                        <a:gd name="T18" fmla="*/ 5 w 33"/>
                        <a:gd name="T19" fmla="*/ 28 h 33"/>
                        <a:gd name="T20" fmla="*/ 10 w 33"/>
                        <a:gd name="T21" fmla="*/ 31 h 33"/>
                        <a:gd name="T22" fmla="*/ 17 w 33"/>
                        <a:gd name="T23" fmla="*/ 33 h 33"/>
                        <a:gd name="T24" fmla="*/ 23 w 33"/>
                        <a:gd name="T25" fmla="*/ 31 h 33"/>
                        <a:gd name="T26" fmla="*/ 28 w 33"/>
                        <a:gd name="T27" fmla="*/ 28 h 33"/>
                        <a:gd name="T28" fmla="*/ 31 w 33"/>
                        <a:gd name="T29" fmla="*/ 22 h 33"/>
                        <a:gd name="T30" fmla="*/ 33 w 33"/>
                        <a:gd name="T31" fmla="*/ 16 h 33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w 33"/>
                        <a:gd name="T49" fmla="*/ 0 h 33"/>
                        <a:gd name="T50" fmla="*/ 33 w 33"/>
                        <a:gd name="T51" fmla="*/ 33 h 33"/>
                      </a:gdLst>
                      <a:ahLst/>
                      <a:cxnLst>
                        <a:cxn ang="T32">
                          <a:pos x="T0" y="T1"/>
                        </a:cxn>
                        <a:cxn ang="T33">
                          <a:pos x="T2" y="T3"/>
                        </a:cxn>
                        <a:cxn ang="T34">
                          <a:pos x="T4" y="T5"/>
                        </a:cxn>
                        <a:cxn ang="T35">
                          <a:pos x="T6" y="T7"/>
                        </a:cxn>
                        <a:cxn ang="T36">
                          <a:pos x="T8" y="T9"/>
                        </a:cxn>
                        <a:cxn ang="T37">
                          <a:pos x="T10" y="T11"/>
                        </a:cxn>
                        <a:cxn ang="T38">
                          <a:pos x="T12" y="T13"/>
                        </a:cxn>
                        <a:cxn ang="T39">
                          <a:pos x="T14" y="T15"/>
                        </a:cxn>
                        <a:cxn ang="T40">
                          <a:pos x="T16" y="T17"/>
                        </a:cxn>
                        <a:cxn ang="T41">
                          <a:pos x="T18" y="T19"/>
                        </a:cxn>
                        <a:cxn ang="T42">
                          <a:pos x="T20" y="T21"/>
                        </a:cxn>
                        <a:cxn ang="T43">
                          <a:pos x="T22" y="T23"/>
                        </a:cxn>
                        <a:cxn ang="T44">
                          <a:pos x="T24" y="T25"/>
                        </a:cxn>
                        <a:cxn ang="T45">
                          <a:pos x="T26" y="T27"/>
                        </a:cxn>
                        <a:cxn ang="T46">
                          <a:pos x="T28" y="T29"/>
                        </a:cxn>
                        <a:cxn ang="T47">
                          <a:pos x="T30" y="T31"/>
                        </a:cxn>
                      </a:cxnLst>
                      <a:rect l="T48" t="T49" r="T50" b="T51"/>
                      <a:pathLst>
                        <a:path w="33" h="33">
                          <a:moveTo>
                            <a:pt x="33" y="16"/>
                          </a:moveTo>
                          <a:lnTo>
                            <a:pt x="31" y="8"/>
                          </a:lnTo>
                          <a:lnTo>
                            <a:pt x="24" y="2"/>
                          </a:lnTo>
                          <a:lnTo>
                            <a:pt x="17" y="0"/>
                          </a:lnTo>
                          <a:lnTo>
                            <a:pt x="10" y="1"/>
                          </a:lnTo>
                          <a:lnTo>
                            <a:pt x="5" y="4"/>
                          </a:lnTo>
                          <a:lnTo>
                            <a:pt x="2" y="10"/>
                          </a:lnTo>
                          <a:lnTo>
                            <a:pt x="0" y="16"/>
                          </a:lnTo>
                          <a:lnTo>
                            <a:pt x="2" y="22"/>
                          </a:lnTo>
                          <a:lnTo>
                            <a:pt x="5" y="28"/>
                          </a:lnTo>
                          <a:lnTo>
                            <a:pt x="10" y="31"/>
                          </a:lnTo>
                          <a:lnTo>
                            <a:pt x="17" y="33"/>
                          </a:lnTo>
                          <a:lnTo>
                            <a:pt x="23" y="31"/>
                          </a:lnTo>
                          <a:lnTo>
                            <a:pt x="28" y="28"/>
                          </a:lnTo>
                          <a:lnTo>
                            <a:pt x="31" y="22"/>
                          </a:lnTo>
                          <a:lnTo>
                            <a:pt x="33" y="1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4" name="Freeform 191"/>
                    <p:cNvSpPr>
                      <a:spLocks/>
                    </p:cNvSpPr>
                    <p:nvPr/>
                  </p:nvSpPr>
                  <p:spPr bwMode="auto">
                    <a:xfrm>
                      <a:off x="4892" y="1651"/>
                      <a:ext cx="33" cy="33"/>
                    </a:xfrm>
                    <a:custGeom>
                      <a:avLst/>
                      <a:gdLst>
                        <a:gd name="T0" fmla="*/ 33 w 33"/>
                        <a:gd name="T1" fmla="*/ 17 h 33"/>
                        <a:gd name="T2" fmla="*/ 30 w 33"/>
                        <a:gd name="T3" fmla="*/ 9 h 33"/>
                        <a:gd name="T4" fmla="*/ 24 w 33"/>
                        <a:gd name="T5" fmla="*/ 2 h 33"/>
                        <a:gd name="T6" fmla="*/ 16 w 33"/>
                        <a:gd name="T7" fmla="*/ 0 h 33"/>
                        <a:gd name="T8" fmla="*/ 8 w 33"/>
                        <a:gd name="T9" fmla="*/ 2 h 33"/>
                        <a:gd name="T10" fmla="*/ 2 w 33"/>
                        <a:gd name="T11" fmla="*/ 9 h 33"/>
                        <a:gd name="T12" fmla="*/ 0 w 33"/>
                        <a:gd name="T13" fmla="*/ 17 h 33"/>
                        <a:gd name="T14" fmla="*/ 1 w 33"/>
                        <a:gd name="T15" fmla="*/ 23 h 33"/>
                        <a:gd name="T16" fmla="*/ 5 w 33"/>
                        <a:gd name="T17" fmla="*/ 28 h 33"/>
                        <a:gd name="T18" fmla="*/ 10 w 33"/>
                        <a:gd name="T19" fmla="*/ 32 h 33"/>
                        <a:gd name="T20" fmla="*/ 16 w 33"/>
                        <a:gd name="T21" fmla="*/ 33 h 33"/>
                        <a:gd name="T22" fmla="*/ 23 w 33"/>
                        <a:gd name="T23" fmla="*/ 32 h 33"/>
                        <a:gd name="T24" fmla="*/ 28 w 33"/>
                        <a:gd name="T25" fmla="*/ 28 h 33"/>
                        <a:gd name="T26" fmla="*/ 31 w 33"/>
                        <a:gd name="T27" fmla="*/ 23 h 33"/>
                        <a:gd name="T28" fmla="*/ 33 w 33"/>
                        <a:gd name="T29" fmla="*/ 17 h 33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w 33"/>
                        <a:gd name="T46" fmla="*/ 0 h 33"/>
                        <a:gd name="T47" fmla="*/ 33 w 33"/>
                        <a:gd name="T48" fmla="*/ 33 h 33"/>
                      </a:gdLst>
                      <a:ahLst/>
                      <a:cxnLst>
                        <a:cxn ang="T30">
                          <a:pos x="T0" y="T1"/>
                        </a:cxn>
                        <a:cxn ang="T31">
                          <a:pos x="T2" y="T3"/>
                        </a:cxn>
                        <a:cxn ang="T32">
                          <a:pos x="T4" y="T5"/>
                        </a:cxn>
                        <a:cxn ang="T33">
                          <a:pos x="T6" y="T7"/>
                        </a:cxn>
                        <a:cxn ang="T34">
                          <a:pos x="T8" y="T9"/>
                        </a:cxn>
                        <a:cxn ang="T35">
                          <a:pos x="T10" y="T11"/>
                        </a:cxn>
                        <a:cxn ang="T36">
                          <a:pos x="T12" y="T13"/>
                        </a:cxn>
                        <a:cxn ang="T37">
                          <a:pos x="T14" y="T15"/>
                        </a:cxn>
                        <a:cxn ang="T38">
                          <a:pos x="T16" y="T17"/>
                        </a:cxn>
                        <a:cxn ang="T39">
                          <a:pos x="T18" y="T19"/>
                        </a:cxn>
                        <a:cxn ang="T40">
                          <a:pos x="T20" y="T21"/>
                        </a:cxn>
                        <a:cxn ang="T41">
                          <a:pos x="T22" y="T23"/>
                        </a:cxn>
                        <a:cxn ang="T42">
                          <a:pos x="T24" y="T25"/>
                        </a:cxn>
                        <a:cxn ang="T43">
                          <a:pos x="T26" y="T27"/>
                        </a:cxn>
                        <a:cxn ang="T44">
                          <a:pos x="T28" y="T29"/>
                        </a:cxn>
                      </a:cxnLst>
                      <a:rect l="T45" t="T46" r="T47" b="T48"/>
                      <a:pathLst>
                        <a:path w="33" h="33">
                          <a:moveTo>
                            <a:pt x="33" y="17"/>
                          </a:moveTo>
                          <a:lnTo>
                            <a:pt x="30" y="9"/>
                          </a:lnTo>
                          <a:lnTo>
                            <a:pt x="24" y="2"/>
                          </a:lnTo>
                          <a:lnTo>
                            <a:pt x="16" y="0"/>
                          </a:lnTo>
                          <a:lnTo>
                            <a:pt x="8" y="2"/>
                          </a:lnTo>
                          <a:lnTo>
                            <a:pt x="2" y="9"/>
                          </a:lnTo>
                          <a:lnTo>
                            <a:pt x="0" y="17"/>
                          </a:lnTo>
                          <a:lnTo>
                            <a:pt x="1" y="23"/>
                          </a:lnTo>
                          <a:lnTo>
                            <a:pt x="5" y="28"/>
                          </a:lnTo>
                          <a:lnTo>
                            <a:pt x="10" y="32"/>
                          </a:lnTo>
                          <a:lnTo>
                            <a:pt x="16" y="33"/>
                          </a:lnTo>
                          <a:lnTo>
                            <a:pt x="23" y="32"/>
                          </a:lnTo>
                          <a:lnTo>
                            <a:pt x="28" y="28"/>
                          </a:lnTo>
                          <a:lnTo>
                            <a:pt x="31" y="23"/>
                          </a:lnTo>
                          <a:lnTo>
                            <a:pt x="33" y="1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5" name="Freeform 192"/>
                    <p:cNvSpPr>
                      <a:spLocks/>
                    </p:cNvSpPr>
                    <p:nvPr/>
                  </p:nvSpPr>
                  <p:spPr bwMode="auto">
                    <a:xfrm>
                      <a:off x="4892" y="1651"/>
                      <a:ext cx="33" cy="33"/>
                    </a:xfrm>
                    <a:custGeom>
                      <a:avLst/>
                      <a:gdLst>
                        <a:gd name="T0" fmla="*/ 33 w 33"/>
                        <a:gd name="T1" fmla="*/ 17 h 33"/>
                        <a:gd name="T2" fmla="*/ 30 w 33"/>
                        <a:gd name="T3" fmla="*/ 9 h 33"/>
                        <a:gd name="T4" fmla="*/ 24 w 33"/>
                        <a:gd name="T5" fmla="*/ 2 h 33"/>
                        <a:gd name="T6" fmla="*/ 16 w 33"/>
                        <a:gd name="T7" fmla="*/ 0 h 33"/>
                        <a:gd name="T8" fmla="*/ 8 w 33"/>
                        <a:gd name="T9" fmla="*/ 2 h 33"/>
                        <a:gd name="T10" fmla="*/ 2 w 33"/>
                        <a:gd name="T11" fmla="*/ 9 h 33"/>
                        <a:gd name="T12" fmla="*/ 0 w 33"/>
                        <a:gd name="T13" fmla="*/ 17 h 33"/>
                        <a:gd name="T14" fmla="*/ 1 w 33"/>
                        <a:gd name="T15" fmla="*/ 23 h 33"/>
                        <a:gd name="T16" fmla="*/ 5 w 33"/>
                        <a:gd name="T17" fmla="*/ 28 h 33"/>
                        <a:gd name="T18" fmla="*/ 10 w 33"/>
                        <a:gd name="T19" fmla="*/ 32 h 33"/>
                        <a:gd name="T20" fmla="*/ 16 w 33"/>
                        <a:gd name="T21" fmla="*/ 33 h 33"/>
                        <a:gd name="T22" fmla="*/ 23 w 33"/>
                        <a:gd name="T23" fmla="*/ 32 h 33"/>
                        <a:gd name="T24" fmla="*/ 28 w 33"/>
                        <a:gd name="T25" fmla="*/ 28 h 33"/>
                        <a:gd name="T26" fmla="*/ 31 w 33"/>
                        <a:gd name="T27" fmla="*/ 23 h 33"/>
                        <a:gd name="T28" fmla="*/ 33 w 33"/>
                        <a:gd name="T29" fmla="*/ 17 h 33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w 33"/>
                        <a:gd name="T46" fmla="*/ 0 h 33"/>
                        <a:gd name="T47" fmla="*/ 33 w 33"/>
                        <a:gd name="T48" fmla="*/ 33 h 33"/>
                      </a:gdLst>
                      <a:ahLst/>
                      <a:cxnLst>
                        <a:cxn ang="T30">
                          <a:pos x="T0" y="T1"/>
                        </a:cxn>
                        <a:cxn ang="T31">
                          <a:pos x="T2" y="T3"/>
                        </a:cxn>
                        <a:cxn ang="T32">
                          <a:pos x="T4" y="T5"/>
                        </a:cxn>
                        <a:cxn ang="T33">
                          <a:pos x="T6" y="T7"/>
                        </a:cxn>
                        <a:cxn ang="T34">
                          <a:pos x="T8" y="T9"/>
                        </a:cxn>
                        <a:cxn ang="T35">
                          <a:pos x="T10" y="T11"/>
                        </a:cxn>
                        <a:cxn ang="T36">
                          <a:pos x="T12" y="T13"/>
                        </a:cxn>
                        <a:cxn ang="T37">
                          <a:pos x="T14" y="T15"/>
                        </a:cxn>
                        <a:cxn ang="T38">
                          <a:pos x="T16" y="T17"/>
                        </a:cxn>
                        <a:cxn ang="T39">
                          <a:pos x="T18" y="T19"/>
                        </a:cxn>
                        <a:cxn ang="T40">
                          <a:pos x="T20" y="T21"/>
                        </a:cxn>
                        <a:cxn ang="T41">
                          <a:pos x="T22" y="T23"/>
                        </a:cxn>
                        <a:cxn ang="T42">
                          <a:pos x="T24" y="T25"/>
                        </a:cxn>
                        <a:cxn ang="T43">
                          <a:pos x="T26" y="T27"/>
                        </a:cxn>
                        <a:cxn ang="T44">
                          <a:pos x="T28" y="T29"/>
                        </a:cxn>
                      </a:cxnLst>
                      <a:rect l="T45" t="T46" r="T47" b="T48"/>
                      <a:pathLst>
                        <a:path w="33" h="33">
                          <a:moveTo>
                            <a:pt x="33" y="17"/>
                          </a:moveTo>
                          <a:lnTo>
                            <a:pt x="30" y="9"/>
                          </a:lnTo>
                          <a:lnTo>
                            <a:pt x="24" y="2"/>
                          </a:lnTo>
                          <a:lnTo>
                            <a:pt x="16" y="0"/>
                          </a:lnTo>
                          <a:lnTo>
                            <a:pt x="8" y="2"/>
                          </a:lnTo>
                          <a:lnTo>
                            <a:pt x="2" y="9"/>
                          </a:lnTo>
                          <a:lnTo>
                            <a:pt x="0" y="17"/>
                          </a:lnTo>
                          <a:lnTo>
                            <a:pt x="1" y="23"/>
                          </a:lnTo>
                          <a:lnTo>
                            <a:pt x="5" y="28"/>
                          </a:lnTo>
                          <a:lnTo>
                            <a:pt x="10" y="32"/>
                          </a:lnTo>
                          <a:lnTo>
                            <a:pt x="16" y="33"/>
                          </a:lnTo>
                          <a:lnTo>
                            <a:pt x="23" y="32"/>
                          </a:lnTo>
                          <a:lnTo>
                            <a:pt x="28" y="28"/>
                          </a:lnTo>
                          <a:lnTo>
                            <a:pt x="31" y="23"/>
                          </a:lnTo>
                          <a:lnTo>
                            <a:pt x="33" y="1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6" name="Freeform 193"/>
                    <p:cNvSpPr>
                      <a:spLocks/>
                    </p:cNvSpPr>
                    <p:nvPr/>
                  </p:nvSpPr>
                  <p:spPr bwMode="auto">
                    <a:xfrm>
                      <a:off x="3716" y="2689"/>
                      <a:ext cx="33" cy="32"/>
                    </a:xfrm>
                    <a:custGeom>
                      <a:avLst/>
                      <a:gdLst>
                        <a:gd name="T0" fmla="*/ 33 w 33"/>
                        <a:gd name="T1" fmla="*/ 17 h 32"/>
                        <a:gd name="T2" fmla="*/ 32 w 33"/>
                        <a:gd name="T3" fmla="*/ 10 h 32"/>
                        <a:gd name="T4" fmla="*/ 29 w 33"/>
                        <a:gd name="T5" fmla="*/ 5 h 32"/>
                        <a:gd name="T6" fmla="*/ 23 w 33"/>
                        <a:gd name="T7" fmla="*/ 2 h 32"/>
                        <a:gd name="T8" fmla="*/ 17 w 33"/>
                        <a:gd name="T9" fmla="*/ 0 h 32"/>
                        <a:gd name="T10" fmla="*/ 11 w 33"/>
                        <a:gd name="T11" fmla="*/ 2 h 32"/>
                        <a:gd name="T12" fmla="*/ 5 w 33"/>
                        <a:gd name="T13" fmla="*/ 5 h 32"/>
                        <a:gd name="T14" fmla="*/ 2 w 33"/>
                        <a:gd name="T15" fmla="*/ 10 h 32"/>
                        <a:gd name="T16" fmla="*/ 0 w 33"/>
                        <a:gd name="T17" fmla="*/ 17 h 32"/>
                        <a:gd name="T18" fmla="*/ 2 w 33"/>
                        <a:gd name="T19" fmla="*/ 23 h 32"/>
                        <a:gd name="T20" fmla="*/ 5 w 33"/>
                        <a:gd name="T21" fmla="*/ 28 h 32"/>
                        <a:gd name="T22" fmla="*/ 11 w 33"/>
                        <a:gd name="T23" fmla="*/ 31 h 32"/>
                        <a:gd name="T24" fmla="*/ 17 w 33"/>
                        <a:gd name="T25" fmla="*/ 32 h 32"/>
                        <a:gd name="T26" fmla="*/ 23 w 33"/>
                        <a:gd name="T27" fmla="*/ 31 h 32"/>
                        <a:gd name="T28" fmla="*/ 29 w 33"/>
                        <a:gd name="T29" fmla="*/ 28 h 32"/>
                        <a:gd name="T30" fmla="*/ 32 w 33"/>
                        <a:gd name="T31" fmla="*/ 23 h 32"/>
                        <a:gd name="T32" fmla="*/ 33 w 33"/>
                        <a:gd name="T33" fmla="*/ 17 h 32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3"/>
                        <a:gd name="T52" fmla="*/ 0 h 32"/>
                        <a:gd name="T53" fmla="*/ 33 w 33"/>
                        <a:gd name="T54" fmla="*/ 32 h 32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3" h="32">
                          <a:moveTo>
                            <a:pt x="33" y="17"/>
                          </a:moveTo>
                          <a:lnTo>
                            <a:pt x="32" y="10"/>
                          </a:lnTo>
                          <a:lnTo>
                            <a:pt x="29" y="5"/>
                          </a:lnTo>
                          <a:lnTo>
                            <a:pt x="23" y="2"/>
                          </a:lnTo>
                          <a:lnTo>
                            <a:pt x="17" y="0"/>
                          </a:lnTo>
                          <a:lnTo>
                            <a:pt x="11" y="2"/>
                          </a:lnTo>
                          <a:lnTo>
                            <a:pt x="5" y="5"/>
                          </a:lnTo>
                          <a:lnTo>
                            <a:pt x="2" y="10"/>
                          </a:lnTo>
                          <a:lnTo>
                            <a:pt x="0" y="17"/>
                          </a:lnTo>
                          <a:lnTo>
                            <a:pt x="2" y="23"/>
                          </a:lnTo>
                          <a:lnTo>
                            <a:pt x="5" y="28"/>
                          </a:lnTo>
                          <a:lnTo>
                            <a:pt x="11" y="31"/>
                          </a:lnTo>
                          <a:lnTo>
                            <a:pt x="17" y="32"/>
                          </a:lnTo>
                          <a:lnTo>
                            <a:pt x="23" y="31"/>
                          </a:lnTo>
                          <a:lnTo>
                            <a:pt x="29" y="28"/>
                          </a:lnTo>
                          <a:lnTo>
                            <a:pt x="32" y="23"/>
                          </a:lnTo>
                          <a:lnTo>
                            <a:pt x="33" y="1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7" name="Freeform 194"/>
                    <p:cNvSpPr>
                      <a:spLocks/>
                    </p:cNvSpPr>
                    <p:nvPr/>
                  </p:nvSpPr>
                  <p:spPr bwMode="auto">
                    <a:xfrm>
                      <a:off x="3716" y="2689"/>
                      <a:ext cx="33" cy="32"/>
                    </a:xfrm>
                    <a:custGeom>
                      <a:avLst/>
                      <a:gdLst>
                        <a:gd name="T0" fmla="*/ 33 w 33"/>
                        <a:gd name="T1" fmla="*/ 17 h 32"/>
                        <a:gd name="T2" fmla="*/ 32 w 33"/>
                        <a:gd name="T3" fmla="*/ 10 h 32"/>
                        <a:gd name="T4" fmla="*/ 29 w 33"/>
                        <a:gd name="T5" fmla="*/ 5 h 32"/>
                        <a:gd name="T6" fmla="*/ 23 w 33"/>
                        <a:gd name="T7" fmla="*/ 2 h 32"/>
                        <a:gd name="T8" fmla="*/ 17 w 33"/>
                        <a:gd name="T9" fmla="*/ 0 h 32"/>
                        <a:gd name="T10" fmla="*/ 11 w 33"/>
                        <a:gd name="T11" fmla="*/ 2 h 32"/>
                        <a:gd name="T12" fmla="*/ 5 w 33"/>
                        <a:gd name="T13" fmla="*/ 5 h 32"/>
                        <a:gd name="T14" fmla="*/ 2 w 33"/>
                        <a:gd name="T15" fmla="*/ 10 h 32"/>
                        <a:gd name="T16" fmla="*/ 0 w 33"/>
                        <a:gd name="T17" fmla="*/ 17 h 32"/>
                        <a:gd name="T18" fmla="*/ 2 w 33"/>
                        <a:gd name="T19" fmla="*/ 23 h 32"/>
                        <a:gd name="T20" fmla="*/ 5 w 33"/>
                        <a:gd name="T21" fmla="*/ 28 h 32"/>
                        <a:gd name="T22" fmla="*/ 11 w 33"/>
                        <a:gd name="T23" fmla="*/ 31 h 32"/>
                        <a:gd name="T24" fmla="*/ 17 w 33"/>
                        <a:gd name="T25" fmla="*/ 32 h 32"/>
                        <a:gd name="T26" fmla="*/ 23 w 33"/>
                        <a:gd name="T27" fmla="*/ 31 h 32"/>
                        <a:gd name="T28" fmla="*/ 29 w 33"/>
                        <a:gd name="T29" fmla="*/ 28 h 32"/>
                        <a:gd name="T30" fmla="*/ 32 w 33"/>
                        <a:gd name="T31" fmla="*/ 23 h 32"/>
                        <a:gd name="T32" fmla="*/ 33 w 33"/>
                        <a:gd name="T33" fmla="*/ 17 h 32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33"/>
                        <a:gd name="T52" fmla="*/ 0 h 32"/>
                        <a:gd name="T53" fmla="*/ 33 w 33"/>
                        <a:gd name="T54" fmla="*/ 32 h 32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33" h="32">
                          <a:moveTo>
                            <a:pt x="33" y="17"/>
                          </a:moveTo>
                          <a:lnTo>
                            <a:pt x="32" y="10"/>
                          </a:lnTo>
                          <a:lnTo>
                            <a:pt x="29" y="5"/>
                          </a:lnTo>
                          <a:lnTo>
                            <a:pt x="23" y="2"/>
                          </a:lnTo>
                          <a:lnTo>
                            <a:pt x="17" y="0"/>
                          </a:lnTo>
                          <a:lnTo>
                            <a:pt x="11" y="2"/>
                          </a:lnTo>
                          <a:lnTo>
                            <a:pt x="5" y="5"/>
                          </a:lnTo>
                          <a:lnTo>
                            <a:pt x="2" y="10"/>
                          </a:lnTo>
                          <a:lnTo>
                            <a:pt x="0" y="17"/>
                          </a:lnTo>
                          <a:lnTo>
                            <a:pt x="2" y="23"/>
                          </a:lnTo>
                          <a:lnTo>
                            <a:pt x="5" y="28"/>
                          </a:lnTo>
                          <a:lnTo>
                            <a:pt x="11" y="31"/>
                          </a:lnTo>
                          <a:lnTo>
                            <a:pt x="17" y="32"/>
                          </a:lnTo>
                          <a:lnTo>
                            <a:pt x="23" y="31"/>
                          </a:lnTo>
                          <a:lnTo>
                            <a:pt x="29" y="28"/>
                          </a:lnTo>
                          <a:lnTo>
                            <a:pt x="32" y="23"/>
                          </a:lnTo>
                          <a:lnTo>
                            <a:pt x="33" y="1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8" name="Freeform 195"/>
                    <p:cNvSpPr>
                      <a:spLocks/>
                    </p:cNvSpPr>
                    <p:nvPr/>
                  </p:nvSpPr>
                  <p:spPr bwMode="auto">
                    <a:xfrm>
                      <a:off x="4451" y="2998"/>
                      <a:ext cx="31" cy="31"/>
                    </a:xfrm>
                    <a:custGeom>
                      <a:avLst/>
                      <a:gdLst>
                        <a:gd name="T0" fmla="*/ 31 w 31"/>
                        <a:gd name="T1" fmla="*/ 16 h 31"/>
                        <a:gd name="T2" fmla="*/ 29 w 31"/>
                        <a:gd name="T3" fmla="*/ 8 h 31"/>
                        <a:gd name="T4" fmla="*/ 24 w 31"/>
                        <a:gd name="T5" fmla="*/ 2 h 31"/>
                        <a:gd name="T6" fmla="*/ 16 w 31"/>
                        <a:gd name="T7" fmla="*/ 0 h 31"/>
                        <a:gd name="T8" fmla="*/ 8 w 31"/>
                        <a:gd name="T9" fmla="*/ 2 h 31"/>
                        <a:gd name="T10" fmla="*/ 2 w 31"/>
                        <a:gd name="T11" fmla="*/ 8 h 31"/>
                        <a:gd name="T12" fmla="*/ 0 w 31"/>
                        <a:gd name="T13" fmla="*/ 16 h 31"/>
                        <a:gd name="T14" fmla="*/ 2 w 31"/>
                        <a:gd name="T15" fmla="*/ 23 h 31"/>
                        <a:gd name="T16" fmla="*/ 8 w 31"/>
                        <a:gd name="T17" fmla="*/ 29 h 31"/>
                        <a:gd name="T18" fmla="*/ 16 w 31"/>
                        <a:gd name="T19" fmla="*/ 31 h 31"/>
                        <a:gd name="T20" fmla="*/ 24 w 31"/>
                        <a:gd name="T21" fmla="*/ 29 h 31"/>
                        <a:gd name="T22" fmla="*/ 29 w 31"/>
                        <a:gd name="T23" fmla="*/ 23 h 31"/>
                        <a:gd name="T24" fmla="*/ 31 w 31"/>
                        <a:gd name="T25" fmla="*/ 16 h 31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31"/>
                        <a:gd name="T40" fmla="*/ 0 h 31"/>
                        <a:gd name="T41" fmla="*/ 31 w 31"/>
                        <a:gd name="T42" fmla="*/ 31 h 31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31" h="31">
                          <a:moveTo>
                            <a:pt x="31" y="16"/>
                          </a:moveTo>
                          <a:lnTo>
                            <a:pt x="29" y="8"/>
                          </a:lnTo>
                          <a:lnTo>
                            <a:pt x="24" y="2"/>
                          </a:lnTo>
                          <a:lnTo>
                            <a:pt x="16" y="0"/>
                          </a:lnTo>
                          <a:lnTo>
                            <a:pt x="8" y="2"/>
                          </a:lnTo>
                          <a:lnTo>
                            <a:pt x="2" y="8"/>
                          </a:lnTo>
                          <a:lnTo>
                            <a:pt x="0" y="16"/>
                          </a:lnTo>
                          <a:lnTo>
                            <a:pt x="2" y="23"/>
                          </a:lnTo>
                          <a:lnTo>
                            <a:pt x="8" y="29"/>
                          </a:lnTo>
                          <a:lnTo>
                            <a:pt x="16" y="31"/>
                          </a:lnTo>
                          <a:lnTo>
                            <a:pt x="24" y="29"/>
                          </a:lnTo>
                          <a:lnTo>
                            <a:pt x="29" y="23"/>
                          </a:lnTo>
                          <a:lnTo>
                            <a:pt x="31" y="1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39" name="Freeform 196"/>
                    <p:cNvSpPr>
                      <a:spLocks/>
                    </p:cNvSpPr>
                    <p:nvPr/>
                  </p:nvSpPr>
                  <p:spPr bwMode="auto">
                    <a:xfrm>
                      <a:off x="4451" y="2998"/>
                      <a:ext cx="31" cy="31"/>
                    </a:xfrm>
                    <a:custGeom>
                      <a:avLst/>
                      <a:gdLst>
                        <a:gd name="T0" fmla="*/ 31 w 31"/>
                        <a:gd name="T1" fmla="*/ 16 h 31"/>
                        <a:gd name="T2" fmla="*/ 29 w 31"/>
                        <a:gd name="T3" fmla="*/ 8 h 31"/>
                        <a:gd name="T4" fmla="*/ 24 w 31"/>
                        <a:gd name="T5" fmla="*/ 2 h 31"/>
                        <a:gd name="T6" fmla="*/ 16 w 31"/>
                        <a:gd name="T7" fmla="*/ 0 h 31"/>
                        <a:gd name="T8" fmla="*/ 8 w 31"/>
                        <a:gd name="T9" fmla="*/ 2 h 31"/>
                        <a:gd name="T10" fmla="*/ 2 w 31"/>
                        <a:gd name="T11" fmla="*/ 8 h 31"/>
                        <a:gd name="T12" fmla="*/ 0 w 31"/>
                        <a:gd name="T13" fmla="*/ 16 h 31"/>
                        <a:gd name="T14" fmla="*/ 2 w 31"/>
                        <a:gd name="T15" fmla="*/ 23 h 31"/>
                        <a:gd name="T16" fmla="*/ 8 w 31"/>
                        <a:gd name="T17" fmla="*/ 29 h 31"/>
                        <a:gd name="T18" fmla="*/ 16 w 31"/>
                        <a:gd name="T19" fmla="*/ 31 h 31"/>
                        <a:gd name="T20" fmla="*/ 24 w 31"/>
                        <a:gd name="T21" fmla="*/ 29 h 31"/>
                        <a:gd name="T22" fmla="*/ 29 w 31"/>
                        <a:gd name="T23" fmla="*/ 23 h 31"/>
                        <a:gd name="T24" fmla="*/ 31 w 31"/>
                        <a:gd name="T25" fmla="*/ 16 h 31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31"/>
                        <a:gd name="T40" fmla="*/ 0 h 31"/>
                        <a:gd name="T41" fmla="*/ 31 w 31"/>
                        <a:gd name="T42" fmla="*/ 31 h 31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31" h="31">
                          <a:moveTo>
                            <a:pt x="31" y="16"/>
                          </a:moveTo>
                          <a:lnTo>
                            <a:pt x="29" y="8"/>
                          </a:lnTo>
                          <a:lnTo>
                            <a:pt x="24" y="2"/>
                          </a:lnTo>
                          <a:lnTo>
                            <a:pt x="16" y="0"/>
                          </a:lnTo>
                          <a:lnTo>
                            <a:pt x="8" y="2"/>
                          </a:lnTo>
                          <a:lnTo>
                            <a:pt x="2" y="8"/>
                          </a:lnTo>
                          <a:lnTo>
                            <a:pt x="0" y="16"/>
                          </a:lnTo>
                          <a:lnTo>
                            <a:pt x="2" y="23"/>
                          </a:lnTo>
                          <a:lnTo>
                            <a:pt x="8" y="29"/>
                          </a:lnTo>
                          <a:lnTo>
                            <a:pt x="16" y="31"/>
                          </a:lnTo>
                          <a:lnTo>
                            <a:pt x="24" y="29"/>
                          </a:lnTo>
                          <a:lnTo>
                            <a:pt x="29" y="23"/>
                          </a:lnTo>
                          <a:lnTo>
                            <a:pt x="31" y="1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0" name="Freeform 197"/>
                    <p:cNvSpPr>
                      <a:spLocks/>
                    </p:cNvSpPr>
                    <p:nvPr/>
                  </p:nvSpPr>
                  <p:spPr bwMode="auto">
                    <a:xfrm>
                      <a:off x="4670" y="1093"/>
                      <a:ext cx="32" cy="31"/>
                    </a:xfrm>
                    <a:custGeom>
                      <a:avLst/>
                      <a:gdLst>
                        <a:gd name="T0" fmla="*/ 32 w 32"/>
                        <a:gd name="T1" fmla="*/ 16 h 31"/>
                        <a:gd name="T2" fmla="*/ 29 w 32"/>
                        <a:gd name="T3" fmla="*/ 8 h 31"/>
                        <a:gd name="T4" fmla="*/ 24 w 32"/>
                        <a:gd name="T5" fmla="*/ 3 h 31"/>
                        <a:gd name="T6" fmla="*/ 16 w 32"/>
                        <a:gd name="T7" fmla="*/ 0 h 31"/>
                        <a:gd name="T8" fmla="*/ 8 w 32"/>
                        <a:gd name="T9" fmla="*/ 3 h 31"/>
                        <a:gd name="T10" fmla="*/ 3 w 32"/>
                        <a:gd name="T11" fmla="*/ 8 h 31"/>
                        <a:gd name="T12" fmla="*/ 0 w 32"/>
                        <a:gd name="T13" fmla="*/ 16 h 31"/>
                        <a:gd name="T14" fmla="*/ 2 w 32"/>
                        <a:gd name="T15" fmla="*/ 22 h 31"/>
                        <a:gd name="T16" fmla="*/ 5 w 32"/>
                        <a:gd name="T17" fmla="*/ 27 h 31"/>
                        <a:gd name="T18" fmla="*/ 10 w 32"/>
                        <a:gd name="T19" fmla="*/ 30 h 31"/>
                        <a:gd name="T20" fmla="*/ 16 w 32"/>
                        <a:gd name="T21" fmla="*/ 31 h 31"/>
                        <a:gd name="T22" fmla="*/ 22 w 32"/>
                        <a:gd name="T23" fmla="*/ 30 h 31"/>
                        <a:gd name="T24" fmla="*/ 27 w 32"/>
                        <a:gd name="T25" fmla="*/ 27 h 31"/>
                        <a:gd name="T26" fmla="*/ 30 w 32"/>
                        <a:gd name="T27" fmla="*/ 22 h 31"/>
                        <a:gd name="T28" fmla="*/ 32 w 32"/>
                        <a:gd name="T29" fmla="*/ 16 h 31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w 32"/>
                        <a:gd name="T46" fmla="*/ 0 h 31"/>
                        <a:gd name="T47" fmla="*/ 32 w 32"/>
                        <a:gd name="T48" fmla="*/ 31 h 31"/>
                      </a:gdLst>
                      <a:ahLst/>
                      <a:cxnLst>
                        <a:cxn ang="T30">
                          <a:pos x="T0" y="T1"/>
                        </a:cxn>
                        <a:cxn ang="T31">
                          <a:pos x="T2" y="T3"/>
                        </a:cxn>
                        <a:cxn ang="T32">
                          <a:pos x="T4" y="T5"/>
                        </a:cxn>
                        <a:cxn ang="T33">
                          <a:pos x="T6" y="T7"/>
                        </a:cxn>
                        <a:cxn ang="T34">
                          <a:pos x="T8" y="T9"/>
                        </a:cxn>
                        <a:cxn ang="T35">
                          <a:pos x="T10" y="T11"/>
                        </a:cxn>
                        <a:cxn ang="T36">
                          <a:pos x="T12" y="T13"/>
                        </a:cxn>
                        <a:cxn ang="T37">
                          <a:pos x="T14" y="T15"/>
                        </a:cxn>
                        <a:cxn ang="T38">
                          <a:pos x="T16" y="T17"/>
                        </a:cxn>
                        <a:cxn ang="T39">
                          <a:pos x="T18" y="T19"/>
                        </a:cxn>
                        <a:cxn ang="T40">
                          <a:pos x="T20" y="T21"/>
                        </a:cxn>
                        <a:cxn ang="T41">
                          <a:pos x="T22" y="T23"/>
                        </a:cxn>
                        <a:cxn ang="T42">
                          <a:pos x="T24" y="T25"/>
                        </a:cxn>
                        <a:cxn ang="T43">
                          <a:pos x="T26" y="T27"/>
                        </a:cxn>
                        <a:cxn ang="T44">
                          <a:pos x="T28" y="T29"/>
                        </a:cxn>
                      </a:cxnLst>
                      <a:rect l="T45" t="T46" r="T47" b="T48"/>
                      <a:pathLst>
                        <a:path w="32" h="31">
                          <a:moveTo>
                            <a:pt x="32" y="16"/>
                          </a:moveTo>
                          <a:lnTo>
                            <a:pt x="29" y="8"/>
                          </a:lnTo>
                          <a:lnTo>
                            <a:pt x="24" y="3"/>
                          </a:lnTo>
                          <a:lnTo>
                            <a:pt x="16" y="0"/>
                          </a:lnTo>
                          <a:lnTo>
                            <a:pt x="8" y="3"/>
                          </a:lnTo>
                          <a:lnTo>
                            <a:pt x="3" y="8"/>
                          </a:lnTo>
                          <a:lnTo>
                            <a:pt x="0" y="16"/>
                          </a:lnTo>
                          <a:lnTo>
                            <a:pt x="2" y="22"/>
                          </a:lnTo>
                          <a:lnTo>
                            <a:pt x="5" y="27"/>
                          </a:lnTo>
                          <a:lnTo>
                            <a:pt x="10" y="30"/>
                          </a:lnTo>
                          <a:lnTo>
                            <a:pt x="16" y="31"/>
                          </a:lnTo>
                          <a:lnTo>
                            <a:pt x="22" y="30"/>
                          </a:lnTo>
                          <a:lnTo>
                            <a:pt x="27" y="27"/>
                          </a:lnTo>
                          <a:lnTo>
                            <a:pt x="30" y="22"/>
                          </a:lnTo>
                          <a:lnTo>
                            <a:pt x="32" y="1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1" name="Freeform 198"/>
                    <p:cNvSpPr>
                      <a:spLocks/>
                    </p:cNvSpPr>
                    <p:nvPr/>
                  </p:nvSpPr>
                  <p:spPr bwMode="auto">
                    <a:xfrm>
                      <a:off x="4670" y="1093"/>
                      <a:ext cx="32" cy="31"/>
                    </a:xfrm>
                    <a:custGeom>
                      <a:avLst/>
                      <a:gdLst>
                        <a:gd name="T0" fmla="*/ 32 w 32"/>
                        <a:gd name="T1" fmla="*/ 16 h 31"/>
                        <a:gd name="T2" fmla="*/ 29 w 32"/>
                        <a:gd name="T3" fmla="*/ 8 h 31"/>
                        <a:gd name="T4" fmla="*/ 24 w 32"/>
                        <a:gd name="T5" fmla="*/ 3 h 31"/>
                        <a:gd name="T6" fmla="*/ 16 w 32"/>
                        <a:gd name="T7" fmla="*/ 0 h 31"/>
                        <a:gd name="T8" fmla="*/ 8 w 32"/>
                        <a:gd name="T9" fmla="*/ 3 h 31"/>
                        <a:gd name="T10" fmla="*/ 3 w 32"/>
                        <a:gd name="T11" fmla="*/ 8 h 31"/>
                        <a:gd name="T12" fmla="*/ 0 w 32"/>
                        <a:gd name="T13" fmla="*/ 16 h 31"/>
                        <a:gd name="T14" fmla="*/ 2 w 32"/>
                        <a:gd name="T15" fmla="*/ 22 h 31"/>
                        <a:gd name="T16" fmla="*/ 5 w 32"/>
                        <a:gd name="T17" fmla="*/ 27 h 31"/>
                        <a:gd name="T18" fmla="*/ 10 w 32"/>
                        <a:gd name="T19" fmla="*/ 30 h 31"/>
                        <a:gd name="T20" fmla="*/ 16 w 32"/>
                        <a:gd name="T21" fmla="*/ 31 h 31"/>
                        <a:gd name="T22" fmla="*/ 22 w 32"/>
                        <a:gd name="T23" fmla="*/ 30 h 31"/>
                        <a:gd name="T24" fmla="*/ 27 w 32"/>
                        <a:gd name="T25" fmla="*/ 27 h 31"/>
                        <a:gd name="T26" fmla="*/ 30 w 32"/>
                        <a:gd name="T27" fmla="*/ 22 h 31"/>
                        <a:gd name="T28" fmla="*/ 32 w 32"/>
                        <a:gd name="T29" fmla="*/ 16 h 31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w 32"/>
                        <a:gd name="T46" fmla="*/ 0 h 31"/>
                        <a:gd name="T47" fmla="*/ 32 w 32"/>
                        <a:gd name="T48" fmla="*/ 31 h 31"/>
                      </a:gdLst>
                      <a:ahLst/>
                      <a:cxnLst>
                        <a:cxn ang="T30">
                          <a:pos x="T0" y="T1"/>
                        </a:cxn>
                        <a:cxn ang="T31">
                          <a:pos x="T2" y="T3"/>
                        </a:cxn>
                        <a:cxn ang="T32">
                          <a:pos x="T4" y="T5"/>
                        </a:cxn>
                        <a:cxn ang="T33">
                          <a:pos x="T6" y="T7"/>
                        </a:cxn>
                        <a:cxn ang="T34">
                          <a:pos x="T8" y="T9"/>
                        </a:cxn>
                        <a:cxn ang="T35">
                          <a:pos x="T10" y="T11"/>
                        </a:cxn>
                        <a:cxn ang="T36">
                          <a:pos x="T12" y="T13"/>
                        </a:cxn>
                        <a:cxn ang="T37">
                          <a:pos x="T14" y="T15"/>
                        </a:cxn>
                        <a:cxn ang="T38">
                          <a:pos x="T16" y="T17"/>
                        </a:cxn>
                        <a:cxn ang="T39">
                          <a:pos x="T18" y="T19"/>
                        </a:cxn>
                        <a:cxn ang="T40">
                          <a:pos x="T20" y="T21"/>
                        </a:cxn>
                        <a:cxn ang="T41">
                          <a:pos x="T22" y="T23"/>
                        </a:cxn>
                        <a:cxn ang="T42">
                          <a:pos x="T24" y="T25"/>
                        </a:cxn>
                        <a:cxn ang="T43">
                          <a:pos x="T26" y="T27"/>
                        </a:cxn>
                        <a:cxn ang="T44">
                          <a:pos x="T28" y="T29"/>
                        </a:cxn>
                      </a:cxnLst>
                      <a:rect l="T45" t="T46" r="T47" b="T48"/>
                      <a:pathLst>
                        <a:path w="32" h="31">
                          <a:moveTo>
                            <a:pt x="32" y="16"/>
                          </a:moveTo>
                          <a:lnTo>
                            <a:pt x="29" y="8"/>
                          </a:lnTo>
                          <a:lnTo>
                            <a:pt x="24" y="3"/>
                          </a:lnTo>
                          <a:lnTo>
                            <a:pt x="16" y="0"/>
                          </a:lnTo>
                          <a:lnTo>
                            <a:pt x="8" y="3"/>
                          </a:lnTo>
                          <a:lnTo>
                            <a:pt x="3" y="8"/>
                          </a:lnTo>
                          <a:lnTo>
                            <a:pt x="0" y="16"/>
                          </a:lnTo>
                          <a:lnTo>
                            <a:pt x="2" y="22"/>
                          </a:lnTo>
                          <a:lnTo>
                            <a:pt x="5" y="27"/>
                          </a:lnTo>
                          <a:lnTo>
                            <a:pt x="10" y="30"/>
                          </a:lnTo>
                          <a:lnTo>
                            <a:pt x="16" y="31"/>
                          </a:lnTo>
                          <a:lnTo>
                            <a:pt x="22" y="30"/>
                          </a:lnTo>
                          <a:lnTo>
                            <a:pt x="27" y="27"/>
                          </a:lnTo>
                          <a:lnTo>
                            <a:pt x="30" y="22"/>
                          </a:lnTo>
                          <a:lnTo>
                            <a:pt x="32" y="1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2" name="Freeform 199"/>
                    <p:cNvSpPr>
                      <a:spLocks/>
                    </p:cNvSpPr>
                    <p:nvPr/>
                  </p:nvSpPr>
                  <p:spPr bwMode="auto">
                    <a:xfrm>
                      <a:off x="4928" y="1250"/>
                      <a:ext cx="30" cy="29"/>
                    </a:xfrm>
                    <a:custGeom>
                      <a:avLst/>
                      <a:gdLst>
                        <a:gd name="T0" fmla="*/ 30 w 30"/>
                        <a:gd name="T1" fmla="*/ 15 h 29"/>
                        <a:gd name="T2" fmla="*/ 27 w 30"/>
                        <a:gd name="T3" fmla="*/ 8 h 29"/>
                        <a:gd name="T4" fmla="*/ 22 w 30"/>
                        <a:gd name="T5" fmla="*/ 3 h 29"/>
                        <a:gd name="T6" fmla="*/ 15 w 30"/>
                        <a:gd name="T7" fmla="*/ 0 h 29"/>
                        <a:gd name="T8" fmla="*/ 8 w 30"/>
                        <a:gd name="T9" fmla="*/ 3 h 29"/>
                        <a:gd name="T10" fmla="*/ 2 w 30"/>
                        <a:gd name="T11" fmla="*/ 8 h 29"/>
                        <a:gd name="T12" fmla="*/ 0 w 30"/>
                        <a:gd name="T13" fmla="*/ 15 h 29"/>
                        <a:gd name="T14" fmla="*/ 2 w 30"/>
                        <a:gd name="T15" fmla="*/ 22 h 29"/>
                        <a:gd name="T16" fmla="*/ 8 w 30"/>
                        <a:gd name="T17" fmla="*/ 28 h 29"/>
                        <a:gd name="T18" fmla="*/ 15 w 30"/>
                        <a:gd name="T19" fmla="*/ 29 h 29"/>
                        <a:gd name="T20" fmla="*/ 22 w 30"/>
                        <a:gd name="T21" fmla="*/ 28 h 29"/>
                        <a:gd name="T22" fmla="*/ 27 w 30"/>
                        <a:gd name="T23" fmla="*/ 22 h 29"/>
                        <a:gd name="T24" fmla="*/ 30 w 30"/>
                        <a:gd name="T25" fmla="*/ 15 h 29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30"/>
                        <a:gd name="T40" fmla="*/ 0 h 29"/>
                        <a:gd name="T41" fmla="*/ 30 w 30"/>
                        <a:gd name="T42" fmla="*/ 29 h 29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30" h="29">
                          <a:moveTo>
                            <a:pt x="30" y="15"/>
                          </a:moveTo>
                          <a:lnTo>
                            <a:pt x="27" y="8"/>
                          </a:lnTo>
                          <a:lnTo>
                            <a:pt x="22" y="3"/>
                          </a:lnTo>
                          <a:lnTo>
                            <a:pt x="15" y="0"/>
                          </a:lnTo>
                          <a:lnTo>
                            <a:pt x="8" y="3"/>
                          </a:lnTo>
                          <a:lnTo>
                            <a:pt x="2" y="8"/>
                          </a:lnTo>
                          <a:lnTo>
                            <a:pt x="0" y="15"/>
                          </a:lnTo>
                          <a:lnTo>
                            <a:pt x="2" y="22"/>
                          </a:lnTo>
                          <a:lnTo>
                            <a:pt x="8" y="28"/>
                          </a:lnTo>
                          <a:lnTo>
                            <a:pt x="15" y="29"/>
                          </a:lnTo>
                          <a:lnTo>
                            <a:pt x="22" y="28"/>
                          </a:lnTo>
                          <a:lnTo>
                            <a:pt x="27" y="22"/>
                          </a:lnTo>
                          <a:lnTo>
                            <a:pt x="30" y="1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3" name="Freeform 200"/>
                    <p:cNvSpPr>
                      <a:spLocks/>
                    </p:cNvSpPr>
                    <p:nvPr/>
                  </p:nvSpPr>
                  <p:spPr bwMode="auto">
                    <a:xfrm>
                      <a:off x="4928" y="1250"/>
                      <a:ext cx="30" cy="29"/>
                    </a:xfrm>
                    <a:custGeom>
                      <a:avLst/>
                      <a:gdLst>
                        <a:gd name="T0" fmla="*/ 30 w 30"/>
                        <a:gd name="T1" fmla="*/ 15 h 29"/>
                        <a:gd name="T2" fmla="*/ 27 w 30"/>
                        <a:gd name="T3" fmla="*/ 8 h 29"/>
                        <a:gd name="T4" fmla="*/ 22 w 30"/>
                        <a:gd name="T5" fmla="*/ 3 h 29"/>
                        <a:gd name="T6" fmla="*/ 15 w 30"/>
                        <a:gd name="T7" fmla="*/ 0 h 29"/>
                        <a:gd name="T8" fmla="*/ 8 w 30"/>
                        <a:gd name="T9" fmla="*/ 3 h 29"/>
                        <a:gd name="T10" fmla="*/ 2 w 30"/>
                        <a:gd name="T11" fmla="*/ 8 h 29"/>
                        <a:gd name="T12" fmla="*/ 0 w 30"/>
                        <a:gd name="T13" fmla="*/ 15 h 29"/>
                        <a:gd name="T14" fmla="*/ 2 w 30"/>
                        <a:gd name="T15" fmla="*/ 22 h 29"/>
                        <a:gd name="T16" fmla="*/ 8 w 30"/>
                        <a:gd name="T17" fmla="*/ 28 h 29"/>
                        <a:gd name="T18" fmla="*/ 15 w 30"/>
                        <a:gd name="T19" fmla="*/ 29 h 29"/>
                        <a:gd name="T20" fmla="*/ 22 w 30"/>
                        <a:gd name="T21" fmla="*/ 28 h 29"/>
                        <a:gd name="T22" fmla="*/ 27 w 30"/>
                        <a:gd name="T23" fmla="*/ 22 h 29"/>
                        <a:gd name="T24" fmla="*/ 30 w 30"/>
                        <a:gd name="T25" fmla="*/ 15 h 29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30"/>
                        <a:gd name="T40" fmla="*/ 0 h 29"/>
                        <a:gd name="T41" fmla="*/ 30 w 30"/>
                        <a:gd name="T42" fmla="*/ 29 h 29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30" h="29">
                          <a:moveTo>
                            <a:pt x="30" y="15"/>
                          </a:moveTo>
                          <a:lnTo>
                            <a:pt x="27" y="8"/>
                          </a:lnTo>
                          <a:lnTo>
                            <a:pt x="22" y="3"/>
                          </a:lnTo>
                          <a:lnTo>
                            <a:pt x="15" y="0"/>
                          </a:lnTo>
                          <a:lnTo>
                            <a:pt x="8" y="3"/>
                          </a:lnTo>
                          <a:lnTo>
                            <a:pt x="2" y="8"/>
                          </a:lnTo>
                          <a:lnTo>
                            <a:pt x="0" y="15"/>
                          </a:lnTo>
                          <a:lnTo>
                            <a:pt x="2" y="22"/>
                          </a:lnTo>
                          <a:lnTo>
                            <a:pt x="8" y="28"/>
                          </a:lnTo>
                          <a:lnTo>
                            <a:pt x="15" y="29"/>
                          </a:lnTo>
                          <a:lnTo>
                            <a:pt x="22" y="28"/>
                          </a:lnTo>
                          <a:lnTo>
                            <a:pt x="27" y="22"/>
                          </a:lnTo>
                          <a:lnTo>
                            <a:pt x="30" y="1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4" name="Freeform 201"/>
                    <p:cNvSpPr>
                      <a:spLocks/>
                    </p:cNvSpPr>
                    <p:nvPr/>
                  </p:nvSpPr>
                  <p:spPr bwMode="auto">
                    <a:xfrm>
                      <a:off x="4281" y="2900"/>
                      <a:ext cx="29" cy="29"/>
                    </a:xfrm>
                    <a:custGeom>
                      <a:avLst/>
                      <a:gdLst>
                        <a:gd name="T0" fmla="*/ 29 w 29"/>
                        <a:gd name="T1" fmla="*/ 15 h 29"/>
                        <a:gd name="T2" fmla="*/ 27 w 29"/>
                        <a:gd name="T3" fmla="*/ 7 h 29"/>
                        <a:gd name="T4" fmla="*/ 22 w 29"/>
                        <a:gd name="T5" fmla="*/ 2 h 29"/>
                        <a:gd name="T6" fmla="*/ 14 w 29"/>
                        <a:gd name="T7" fmla="*/ 0 h 29"/>
                        <a:gd name="T8" fmla="*/ 7 w 29"/>
                        <a:gd name="T9" fmla="*/ 2 h 29"/>
                        <a:gd name="T10" fmla="*/ 2 w 29"/>
                        <a:gd name="T11" fmla="*/ 7 h 29"/>
                        <a:gd name="T12" fmla="*/ 0 w 29"/>
                        <a:gd name="T13" fmla="*/ 15 h 29"/>
                        <a:gd name="T14" fmla="*/ 2 w 29"/>
                        <a:gd name="T15" fmla="*/ 22 h 29"/>
                        <a:gd name="T16" fmla="*/ 7 w 29"/>
                        <a:gd name="T17" fmla="*/ 27 h 29"/>
                        <a:gd name="T18" fmla="*/ 14 w 29"/>
                        <a:gd name="T19" fmla="*/ 29 h 29"/>
                        <a:gd name="T20" fmla="*/ 22 w 29"/>
                        <a:gd name="T21" fmla="*/ 27 h 29"/>
                        <a:gd name="T22" fmla="*/ 27 w 29"/>
                        <a:gd name="T23" fmla="*/ 22 h 29"/>
                        <a:gd name="T24" fmla="*/ 29 w 29"/>
                        <a:gd name="T25" fmla="*/ 15 h 29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29"/>
                        <a:gd name="T40" fmla="*/ 0 h 29"/>
                        <a:gd name="T41" fmla="*/ 29 w 29"/>
                        <a:gd name="T42" fmla="*/ 29 h 29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29" h="29">
                          <a:moveTo>
                            <a:pt x="29" y="15"/>
                          </a:moveTo>
                          <a:lnTo>
                            <a:pt x="27" y="7"/>
                          </a:lnTo>
                          <a:lnTo>
                            <a:pt x="22" y="2"/>
                          </a:lnTo>
                          <a:lnTo>
                            <a:pt x="14" y="0"/>
                          </a:lnTo>
                          <a:lnTo>
                            <a:pt x="7" y="2"/>
                          </a:lnTo>
                          <a:lnTo>
                            <a:pt x="2" y="7"/>
                          </a:lnTo>
                          <a:lnTo>
                            <a:pt x="0" y="15"/>
                          </a:lnTo>
                          <a:lnTo>
                            <a:pt x="2" y="22"/>
                          </a:lnTo>
                          <a:lnTo>
                            <a:pt x="7" y="27"/>
                          </a:lnTo>
                          <a:lnTo>
                            <a:pt x="14" y="29"/>
                          </a:lnTo>
                          <a:lnTo>
                            <a:pt x="22" y="27"/>
                          </a:lnTo>
                          <a:lnTo>
                            <a:pt x="27" y="22"/>
                          </a:lnTo>
                          <a:lnTo>
                            <a:pt x="29" y="1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5" name="Freeform 202"/>
                    <p:cNvSpPr>
                      <a:spLocks/>
                    </p:cNvSpPr>
                    <p:nvPr/>
                  </p:nvSpPr>
                  <p:spPr bwMode="auto">
                    <a:xfrm>
                      <a:off x="4281" y="2900"/>
                      <a:ext cx="29" cy="29"/>
                    </a:xfrm>
                    <a:custGeom>
                      <a:avLst/>
                      <a:gdLst>
                        <a:gd name="T0" fmla="*/ 29 w 29"/>
                        <a:gd name="T1" fmla="*/ 15 h 29"/>
                        <a:gd name="T2" fmla="*/ 27 w 29"/>
                        <a:gd name="T3" fmla="*/ 7 h 29"/>
                        <a:gd name="T4" fmla="*/ 22 w 29"/>
                        <a:gd name="T5" fmla="*/ 2 h 29"/>
                        <a:gd name="T6" fmla="*/ 14 w 29"/>
                        <a:gd name="T7" fmla="*/ 0 h 29"/>
                        <a:gd name="T8" fmla="*/ 7 w 29"/>
                        <a:gd name="T9" fmla="*/ 2 h 29"/>
                        <a:gd name="T10" fmla="*/ 2 w 29"/>
                        <a:gd name="T11" fmla="*/ 7 h 29"/>
                        <a:gd name="T12" fmla="*/ 0 w 29"/>
                        <a:gd name="T13" fmla="*/ 15 h 29"/>
                        <a:gd name="T14" fmla="*/ 2 w 29"/>
                        <a:gd name="T15" fmla="*/ 22 h 29"/>
                        <a:gd name="T16" fmla="*/ 7 w 29"/>
                        <a:gd name="T17" fmla="*/ 27 h 29"/>
                        <a:gd name="T18" fmla="*/ 14 w 29"/>
                        <a:gd name="T19" fmla="*/ 29 h 29"/>
                        <a:gd name="T20" fmla="*/ 22 w 29"/>
                        <a:gd name="T21" fmla="*/ 27 h 29"/>
                        <a:gd name="T22" fmla="*/ 27 w 29"/>
                        <a:gd name="T23" fmla="*/ 22 h 29"/>
                        <a:gd name="T24" fmla="*/ 29 w 29"/>
                        <a:gd name="T25" fmla="*/ 15 h 29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29"/>
                        <a:gd name="T40" fmla="*/ 0 h 29"/>
                        <a:gd name="T41" fmla="*/ 29 w 29"/>
                        <a:gd name="T42" fmla="*/ 29 h 29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29" h="29">
                          <a:moveTo>
                            <a:pt x="29" y="15"/>
                          </a:moveTo>
                          <a:lnTo>
                            <a:pt x="27" y="7"/>
                          </a:lnTo>
                          <a:lnTo>
                            <a:pt x="22" y="2"/>
                          </a:lnTo>
                          <a:lnTo>
                            <a:pt x="14" y="0"/>
                          </a:lnTo>
                          <a:lnTo>
                            <a:pt x="7" y="2"/>
                          </a:lnTo>
                          <a:lnTo>
                            <a:pt x="2" y="7"/>
                          </a:lnTo>
                          <a:lnTo>
                            <a:pt x="0" y="15"/>
                          </a:lnTo>
                          <a:lnTo>
                            <a:pt x="2" y="22"/>
                          </a:lnTo>
                          <a:lnTo>
                            <a:pt x="7" y="27"/>
                          </a:lnTo>
                          <a:lnTo>
                            <a:pt x="14" y="29"/>
                          </a:lnTo>
                          <a:lnTo>
                            <a:pt x="22" y="27"/>
                          </a:lnTo>
                          <a:lnTo>
                            <a:pt x="27" y="22"/>
                          </a:lnTo>
                          <a:lnTo>
                            <a:pt x="29" y="1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6" name="Freeform 203"/>
                    <p:cNvSpPr>
                      <a:spLocks/>
                    </p:cNvSpPr>
                    <p:nvPr/>
                  </p:nvSpPr>
                  <p:spPr bwMode="auto">
                    <a:xfrm>
                      <a:off x="4671" y="1180"/>
                      <a:ext cx="28" cy="26"/>
                    </a:xfrm>
                    <a:custGeom>
                      <a:avLst/>
                      <a:gdLst>
                        <a:gd name="T0" fmla="*/ 28 w 28"/>
                        <a:gd name="T1" fmla="*/ 13 h 26"/>
                        <a:gd name="T2" fmla="*/ 26 w 28"/>
                        <a:gd name="T3" fmla="*/ 6 h 26"/>
                        <a:gd name="T4" fmla="*/ 20 w 28"/>
                        <a:gd name="T5" fmla="*/ 1 h 26"/>
                        <a:gd name="T6" fmla="*/ 14 w 28"/>
                        <a:gd name="T7" fmla="*/ 0 h 26"/>
                        <a:gd name="T8" fmla="*/ 7 w 28"/>
                        <a:gd name="T9" fmla="*/ 1 h 26"/>
                        <a:gd name="T10" fmla="*/ 2 w 28"/>
                        <a:gd name="T11" fmla="*/ 6 h 26"/>
                        <a:gd name="T12" fmla="*/ 0 w 28"/>
                        <a:gd name="T13" fmla="*/ 13 h 26"/>
                        <a:gd name="T14" fmla="*/ 2 w 28"/>
                        <a:gd name="T15" fmla="*/ 20 h 26"/>
                        <a:gd name="T16" fmla="*/ 7 w 28"/>
                        <a:gd name="T17" fmla="*/ 25 h 26"/>
                        <a:gd name="T18" fmla="*/ 14 w 28"/>
                        <a:gd name="T19" fmla="*/ 26 h 26"/>
                        <a:gd name="T20" fmla="*/ 20 w 28"/>
                        <a:gd name="T21" fmla="*/ 25 h 26"/>
                        <a:gd name="T22" fmla="*/ 26 w 28"/>
                        <a:gd name="T23" fmla="*/ 20 h 26"/>
                        <a:gd name="T24" fmla="*/ 28 w 28"/>
                        <a:gd name="T25" fmla="*/ 13 h 2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28"/>
                        <a:gd name="T40" fmla="*/ 0 h 26"/>
                        <a:gd name="T41" fmla="*/ 28 w 28"/>
                        <a:gd name="T42" fmla="*/ 26 h 26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28" h="26">
                          <a:moveTo>
                            <a:pt x="28" y="13"/>
                          </a:moveTo>
                          <a:lnTo>
                            <a:pt x="26" y="6"/>
                          </a:lnTo>
                          <a:lnTo>
                            <a:pt x="20" y="1"/>
                          </a:lnTo>
                          <a:lnTo>
                            <a:pt x="14" y="0"/>
                          </a:lnTo>
                          <a:lnTo>
                            <a:pt x="7" y="1"/>
                          </a:lnTo>
                          <a:lnTo>
                            <a:pt x="2" y="6"/>
                          </a:lnTo>
                          <a:lnTo>
                            <a:pt x="0" y="13"/>
                          </a:lnTo>
                          <a:lnTo>
                            <a:pt x="2" y="20"/>
                          </a:lnTo>
                          <a:lnTo>
                            <a:pt x="7" y="25"/>
                          </a:lnTo>
                          <a:lnTo>
                            <a:pt x="14" y="26"/>
                          </a:lnTo>
                          <a:lnTo>
                            <a:pt x="20" y="25"/>
                          </a:lnTo>
                          <a:lnTo>
                            <a:pt x="26" y="20"/>
                          </a:lnTo>
                          <a:lnTo>
                            <a:pt x="28" y="1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7" name="Freeform 204"/>
                    <p:cNvSpPr>
                      <a:spLocks/>
                    </p:cNvSpPr>
                    <p:nvPr/>
                  </p:nvSpPr>
                  <p:spPr bwMode="auto">
                    <a:xfrm>
                      <a:off x="4671" y="1180"/>
                      <a:ext cx="28" cy="26"/>
                    </a:xfrm>
                    <a:custGeom>
                      <a:avLst/>
                      <a:gdLst>
                        <a:gd name="T0" fmla="*/ 28 w 28"/>
                        <a:gd name="T1" fmla="*/ 13 h 26"/>
                        <a:gd name="T2" fmla="*/ 26 w 28"/>
                        <a:gd name="T3" fmla="*/ 6 h 26"/>
                        <a:gd name="T4" fmla="*/ 20 w 28"/>
                        <a:gd name="T5" fmla="*/ 1 h 26"/>
                        <a:gd name="T6" fmla="*/ 14 w 28"/>
                        <a:gd name="T7" fmla="*/ 0 h 26"/>
                        <a:gd name="T8" fmla="*/ 7 w 28"/>
                        <a:gd name="T9" fmla="*/ 1 h 26"/>
                        <a:gd name="T10" fmla="*/ 2 w 28"/>
                        <a:gd name="T11" fmla="*/ 6 h 26"/>
                        <a:gd name="T12" fmla="*/ 0 w 28"/>
                        <a:gd name="T13" fmla="*/ 13 h 26"/>
                        <a:gd name="T14" fmla="*/ 2 w 28"/>
                        <a:gd name="T15" fmla="*/ 20 h 26"/>
                        <a:gd name="T16" fmla="*/ 7 w 28"/>
                        <a:gd name="T17" fmla="*/ 25 h 26"/>
                        <a:gd name="T18" fmla="*/ 14 w 28"/>
                        <a:gd name="T19" fmla="*/ 26 h 26"/>
                        <a:gd name="T20" fmla="*/ 20 w 28"/>
                        <a:gd name="T21" fmla="*/ 25 h 26"/>
                        <a:gd name="T22" fmla="*/ 26 w 28"/>
                        <a:gd name="T23" fmla="*/ 20 h 26"/>
                        <a:gd name="T24" fmla="*/ 28 w 28"/>
                        <a:gd name="T25" fmla="*/ 13 h 2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28"/>
                        <a:gd name="T40" fmla="*/ 0 h 26"/>
                        <a:gd name="T41" fmla="*/ 28 w 28"/>
                        <a:gd name="T42" fmla="*/ 26 h 26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28" h="26">
                          <a:moveTo>
                            <a:pt x="28" y="13"/>
                          </a:moveTo>
                          <a:lnTo>
                            <a:pt x="26" y="6"/>
                          </a:lnTo>
                          <a:lnTo>
                            <a:pt x="20" y="1"/>
                          </a:lnTo>
                          <a:lnTo>
                            <a:pt x="14" y="0"/>
                          </a:lnTo>
                          <a:lnTo>
                            <a:pt x="7" y="1"/>
                          </a:lnTo>
                          <a:lnTo>
                            <a:pt x="2" y="6"/>
                          </a:lnTo>
                          <a:lnTo>
                            <a:pt x="0" y="13"/>
                          </a:lnTo>
                          <a:lnTo>
                            <a:pt x="2" y="20"/>
                          </a:lnTo>
                          <a:lnTo>
                            <a:pt x="7" y="25"/>
                          </a:lnTo>
                          <a:lnTo>
                            <a:pt x="14" y="26"/>
                          </a:lnTo>
                          <a:lnTo>
                            <a:pt x="20" y="25"/>
                          </a:lnTo>
                          <a:lnTo>
                            <a:pt x="26" y="20"/>
                          </a:lnTo>
                          <a:lnTo>
                            <a:pt x="28" y="1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8" name="Freeform 205"/>
                    <p:cNvSpPr>
                      <a:spLocks/>
                    </p:cNvSpPr>
                    <p:nvPr/>
                  </p:nvSpPr>
                  <p:spPr bwMode="auto">
                    <a:xfrm>
                      <a:off x="5021" y="2805"/>
                      <a:ext cx="26" cy="26"/>
                    </a:xfrm>
                    <a:custGeom>
                      <a:avLst/>
                      <a:gdLst>
                        <a:gd name="T0" fmla="*/ 26 w 26"/>
                        <a:gd name="T1" fmla="*/ 13 h 26"/>
                        <a:gd name="T2" fmla="*/ 25 w 26"/>
                        <a:gd name="T3" fmla="*/ 7 h 26"/>
                        <a:gd name="T4" fmla="*/ 19 w 26"/>
                        <a:gd name="T5" fmla="*/ 1 h 26"/>
                        <a:gd name="T6" fmla="*/ 13 w 26"/>
                        <a:gd name="T7" fmla="*/ 0 h 26"/>
                        <a:gd name="T8" fmla="*/ 6 w 26"/>
                        <a:gd name="T9" fmla="*/ 1 h 26"/>
                        <a:gd name="T10" fmla="*/ 1 w 26"/>
                        <a:gd name="T11" fmla="*/ 7 h 26"/>
                        <a:gd name="T12" fmla="*/ 0 w 26"/>
                        <a:gd name="T13" fmla="*/ 13 h 26"/>
                        <a:gd name="T14" fmla="*/ 1 w 26"/>
                        <a:gd name="T15" fmla="*/ 19 h 26"/>
                        <a:gd name="T16" fmla="*/ 6 w 26"/>
                        <a:gd name="T17" fmla="*/ 25 h 26"/>
                        <a:gd name="T18" fmla="*/ 13 w 26"/>
                        <a:gd name="T19" fmla="*/ 26 h 26"/>
                        <a:gd name="T20" fmla="*/ 19 w 26"/>
                        <a:gd name="T21" fmla="*/ 25 h 26"/>
                        <a:gd name="T22" fmla="*/ 25 w 26"/>
                        <a:gd name="T23" fmla="*/ 19 h 26"/>
                        <a:gd name="T24" fmla="*/ 26 w 26"/>
                        <a:gd name="T25" fmla="*/ 13 h 2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26"/>
                        <a:gd name="T40" fmla="*/ 0 h 26"/>
                        <a:gd name="T41" fmla="*/ 26 w 26"/>
                        <a:gd name="T42" fmla="*/ 26 h 26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26" h="26">
                          <a:moveTo>
                            <a:pt x="26" y="13"/>
                          </a:moveTo>
                          <a:lnTo>
                            <a:pt x="25" y="7"/>
                          </a:lnTo>
                          <a:lnTo>
                            <a:pt x="19" y="1"/>
                          </a:lnTo>
                          <a:lnTo>
                            <a:pt x="13" y="0"/>
                          </a:lnTo>
                          <a:lnTo>
                            <a:pt x="6" y="1"/>
                          </a:lnTo>
                          <a:lnTo>
                            <a:pt x="1" y="7"/>
                          </a:lnTo>
                          <a:lnTo>
                            <a:pt x="0" y="13"/>
                          </a:lnTo>
                          <a:lnTo>
                            <a:pt x="1" y="19"/>
                          </a:lnTo>
                          <a:lnTo>
                            <a:pt x="6" y="25"/>
                          </a:lnTo>
                          <a:lnTo>
                            <a:pt x="13" y="26"/>
                          </a:lnTo>
                          <a:lnTo>
                            <a:pt x="19" y="25"/>
                          </a:lnTo>
                          <a:lnTo>
                            <a:pt x="25" y="19"/>
                          </a:lnTo>
                          <a:lnTo>
                            <a:pt x="26" y="13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49" name="Freeform 206"/>
                    <p:cNvSpPr>
                      <a:spLocks/>
                    </p:cNvSpPr>
                    <p:nvPr/>
                  </p:nvSpPr>
                  <p:spPr bwMode="auto">
                    <a:xfrm>
                      <a:off x="5021" y="2805"/>
                      <a:ext cx="26" cy="26"/>
                    </a:xfrm>
                    <a:custGeom>
                      <a:avLst/>
                      <a:gdLst>
                        <a:gd name="T0" fmla="*/ 26 w 26"/>
                        <a:gd name="T1" fmla="*/ 13 h 26"/>
                        <a:gd name="T2" fmla="*/ 25 w 26"/>
                        <a:gd name="T3" fmla="*/ 7 h 26"/>
                        <a:gd name="T4" fmla="*/ 19 w 26"/>
                        <a:gd name="T5" fmla="*/ 1 h 26"/>
                        <a:gd name="T6" fmla="*/ 13 w 26"/>
                        <a:gd name="T7" fmla="*/ 0 h 26"/>
                        <a:gd name="T8" fmla="*/ 6 w 26"/>
                        <a:gd name="T9" fmla="*/ 1 h 26"/>
                        <a:gd name="T10" fmla="*/ 1 w 26"/>
                        <a:gd name="T11" fmla="*/ 7 h 26"/>
                        <a:gd name="T12" fmla="*/ 0 w 26"/>
                        <a:gd name="T13" fmla="*/ 13 h 26"/>
                        <a:gd name="T14" fmla="*/ 1 w 26"/>
                        <a:gd name="T15" fmla="*/ 19 h 26"/>
                        <a:gd name="T16" fmla="*/ 6 w 26"/>
                        <a:gd name="T17" fmla="*/ 25 h 26"/>
                        <a:gd name="T18" fmla="*/ 13 w 26"/>
                        <a:gd name="T19" fmla="*/ 26 h 26"/>
                        <a:gd name="T20" fmla="*/ 19 w 26"/>
                        <a:gd name="T21" fmla="*/ 25 h 26"/>
                        <a:gd name="T22" fmla="*/ 25 w 26"/>
                        <a:gd name="T23" fmla="*/ 19 h 26"/>
                        <a:gd name="T24" fmla="*/ 26 w 26"/>
                        <a:gd name="T25" fmla="*/ 13 h 2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26"/>
                        <a:gd name="T40" fmla="*/ 0 h 26"/>
                        <a:gd name="T41" fmla="*/ 26 w 26"/>
                        <a:gd name="T42" fmla="*/ 26 h 26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26" h="26">
                          <a:moveTo>
                            <a:pt x="26" y="13"/>
                          </a:moveTo>
                          <a:lnTo>
                            <a:pt x="25" y="7"/>
                          </a:lnTo>
                          <a:lnTo>
                            <a:pt x="19" y="1"/>
                          </a:lnTo>
                          <a:lnTo>
                            <a:pt x="13" y="0"/>
                          </a:lnTo>
                          <a:lnTo>
                            <a:pt x="6" y="1"/>
                          </a:lnTo>
                          <a:lnTo>
                            <a:pt x="1" y="7"/>
                          </a:lnTo>
                          <a:lnTo>
                            <a:pt x="0" y="13"/>
                          </a:lnTo>
                          <a:lnTo>
                            <a:pt x="1" y="19"/>
                          </a:lnTo>
                          <a:lnTo>
                            <a:pt x="6" y="25"/>
                          </a:lnTo>
                          <a:lnTo>
                            <a:pt x="13" y="26"/>
                          </a:lnTo>
                          <a:lnTo>
                            <a:pt x="19" y="25"/>
                          </a:lnTo>
                          <a:lnTo>
                            <a:pt x="25" y="19"/>
                          </a:lnTo>
                          <a:lnTo>
                            <a:pt x="26" y="13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50" name="Freeform 207"/>
                    <p:cNvSpPr>
                      <a:spLocks/>
                    </p:cNvSpPr>
                    <p:nvPr/>
                  </p:nvSpPr>
                  <p:spPr bwMode="auto">
                    <a:xfrm>
                      <a:off x="4778" y="1134"/>
                      <a:ext cx="67" cy="68"/>
                    </a:xfrm>
                    <a:custGeom>
                      <a:avLst/>
                      <a:gdLst>
                        <a:gd name="T0" fmla="*/ 67 w 67"/>
                        <a:gd name="T1" fmla="*/ 35 h 68"/>
                        <a:gd name="T2" fmla="*/ 66 w 67"/>
                        <a:gd name="T3" fmla="*/ 24 h 68"/>
                        <a:gd name="T4" fmla="*/ 61 w 67"/>
                        <a:gd name="T5" fmla="*/ 14 h 68"/>
                        <a:gd name="T6" fmla="*/ 54 w 67"/>
                        <a:gd name="T7" fmla="*/ 7 h 68"/>
                        <a:gd name="T8" fmla="*/ 45 w 67"/>
                        <a:gd name="T9" fmla="*/ 2 h 68"/>
                        <a:gd name="T10" fmla="*/ 34 w 67"/>
                        <a:gd name="T11" fmla="*/ 0 h 68"/>
                        <a:gd name="T12" fmla="*/ 23 w 67"/>
                        <a:gd name="T13" fmla="*/ 2 h 68"/>
                        <a:gd name="T14" fmla="*/ 13 w 67"/>
                        <a:gd name="T15" fmla="*/ 7 h 68"/>
                        <a:gd name="T16" fmla="*/ 6 w 67"/>
                        <a:gd name="T17" fmla="*/ 14 h 68"/>
                        <a:gd name="T18" fmla="*/ 1 w 67"/>
                        <a:gd name="T19" fmla="*/ 24 h 68"/>
                        <a:gd name="T20" fmla="*/ 0 w 67"/>
                        <a:gd name="T21" fmla="*/ 35 h 68"/>
                        <a:gd name="T22" fmla="*/ 1 w 67"/>
                        <a:gd name="T23" fmla="*/ 45 h 68"/>
                        <a:gd name="T24" fmla="*/ 6 w 67"/>
                        <a:gd name="T25" fmla="*/ 54 h 68"/>
                        <a:gd name="T26" fmla="*/ 13 w 67"/>
                        <a:gd name="T27" fmla="*/ 61 h 68"/>
                        <a:gd name="T28" fmla="*/ 23 w 67"/>
                        <a:gd name="T29" fmla="*/ 67 h 68"/>
                        <a:gd name="T30" fmla="*/ 34 w 67"/>
                        <a:gd name="T31" fmla="*/ 68 h 68"/>
                        <a:gd name="T32" fmla="*/ 45 w 67"/>
                        <a:gd name="T33" fmla="*/ 67 h 68"/>
                        <a:gd name="T34" fmla="*/ 54 w 67"/>
                        <a:gd name="T35" fmla="*/ 61 h 68"/>
                        <a:gd name="T36" fmla="*/ 61 w 67"/>
                        <a:gd name="T37" fmla="*/ 54 h 68"/>
                        <a:gd name="T38" fmla="*/ 66 w 67"/>
                        <a:gd name="T39" fmla="*/ 45 h 68"/>
                        <a:gd name="T40" fmla="*/ 67 w 67"/>
                        <a:gd name="T41" fmla="*/ 35 h 68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7"/>
                        <a:gd name="T64" fmla="*/ 0 h 68"/>
                        <a:gd name="T65" fmla="*/ 67 w 67"/>
                        <a:gd name="T66" fmla="*/ 68 h 68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7" h="68">
                          <a:moveTo>
                            <a:pt x="67" y="35"/>
                          </a:moveTo>
                          <a:lnTo>
                            <a:pt x="66" y="24"/>
                          </a:lnTo>
                          <a:lnTo>
                            <a:pt x="61" y="14"/>
                          </a:lnTo>
                          <a:lnTo>
                            <a:pt x="54" y="7"/>
                          </a:lnTo>
                          <a:lnTo>
                            <a:pt x="45" y="2"/>
                          </a:lnTo>
                          <a:lnTo>
                            <a:pt x="34" y="0"/>
                          </a:lnTo>
                          <a:lnTo>
                            <a:pt x="23" y="2"/>
                          </a:lnTo>
                          <a:lnTo>
                            <a:pt x="13" y="7"/>
                          </a:lnTo>
                          <a:lnTo>
                            <a:pt x="6" y="14"/>
                          </a:lnTo>
                          <a:lnTo>
                            <a:pt x="1" y="24"/>
                          </a:lnTo>
                          <a:lnTo>
                            <a:pt x="0" y="35"/>
                          </a:lnTo>
                          <a:lnTo>
                            <a:pt x="1" y="45"/>
                          </a:lnTo>
                          <a:lnTo>
                            <a:pt x="6" y="54"/>
                          </a:lnTo>
                          <a:lnTo>
                            <a:pt x="13" y="61"/>
                          </a:lnTo>
                          <a:lnTo>
                            <a:pt x="23" y="67"/>
                          </a:lnTo>
                          <a:lnTo>
                            <a:pt x="34" y="68"/>
                          </a:lnTo>
                          <a:lnTo>
                            <a:pt x="45" y="67"/>
                          </a:lnTo>
                          <a:lnTo>
                            <a:pt x="54" y="61"/>
                          </a:lnTo>
                          <a:lnTo>
                            <a:pt x="61" y="54"/>
                          </a:lnTo>
                          <a:lnTo>
                            <a:pt x="66" y="45"/>
                          </a:lnTo>
                          <a:lnTo>
                            <a:pt x="67" y="35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51" name="Freeform 208"/>
                    <p:cNvSpPr>
                      <a:spLocks/>
                    </p:cNvSpPr>
                    <p:nvPr/>
                  </p:nvSpPr>
                  <p:spPr bwMode="auto">
                    <a:xfrm>
                      <a:off x="4778" y="1134"/>
                      <a:ext cx="67" cy="68"/>
                    </a:xfrm>
                    <a:custGeom>
                      <a:avLst/>
                      <a:gdLst>
                        <a:gd name="T0" fmla="*/ 67 w 67"/>
                        <a:gd name="T1" fmla="*/ 35 h 68"/>
                        <a:gd name="T2" fmla="*/ 66 w 67"/>
                        <a:gd name="T3" fmla="*/ 24 h 68"/>
                        <a:gd name="T4" fmla="*/ 61 w 67"/>
                        <a:gd name="T5" fmla="*/ 14 h 68"/>
                        <a:gd name="T6" fmla="*/ 54 w 67"/>
                        <a:gd name="T7" fmla="*/ 7 h 68"/>
                        <a:gd name="T8" fmla="*/ 45 w 67"/>
                        <a:gd name="T9" fmla="*/ 2 h 68"/>
                        <a:gd name="T10" fmla="*/ 34 w 67"/>
                        <a:gd name="T11" fmla="*/ 0 h 68"/>
                        <a:gd name="T12" fmla="*/ 23 w 67"/>
                        <a:gd name="T13" fmla="*/ 2 h 68"/>
                        <a:gd name="T14" fmla="*/ 13 w 67"/>
                        <a:gd name="T15" fmla="*/ 7 h 68"/>
                        <a:gd name="T16" fmla="*/ 6 w 67"/>
                        <a:gd name="T17" fmla="*/ 14 h 68"/>
                        <a:gd name="T18" fmla="*/ 1 w 67"/>
                        <a:gd name="T19" fmla="*/ 24 h 68"/>
                        <a:gd name="T20" fmla="*/ 0 w 67"/>
                        <a:gd name="T21" fmla="*/ 35 h 68"/>
                        <a:gd name="T22" fmla="*/ 1 w 67"/>
                        <a:gd name="T23" fmla="*/ 45 h 68"/>
                        <a:gd name="T24" fmla="*/ 6 w 67"/>
                        <a:gd name="T25" fmla="*/ 54 h 68"/>
                        <a:gd name="T26" fmla="*/ 13 w 67"/>
                        <a:gd name="T27" fmla="*/ 61 h 68"/>
                        <a:gd name="T28" fmla="*/ 23 w 67"/>
                        <a:gd name="T29" fmla="*/ 67 h 68"/>
                        <a:gd name="T30" fmla="*/ 34 w 67"/>
                        <a:gd name="T31" fmla="*/ 68 h 68"/>
                        <a:gd name="T32" fmla="*/ 45 w 67"/>
                        <a:gd name="T33" fmla="*/ 67 h 68"/>
                        <a:gd name="T34" fmla="*/ 54 w 67"/>
                        <a:gd name="T35" fmla="*/ 61 h 68"/>
                        <a:gd name="T36" fmla="*/ 61 w 67"/>
                        <a:gd name="T37" fmla="*/ 54 h 68"/>
                        <a:gd name="T38" fmla="*/ 66 w 67"/>
                        <a:gd name="T39" fmla="*/ 45 h 68"/>
                        <a:gd name="T40" fmla="*/ 67 w 67"/>
                        <a:gd name="T41" fmla="*/ 35 h 68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7"/>
                        <a:gd name="T64" fmla="*/ 0 h 68"/>
                        <a:gd name="T65" fmla="*/ 67 w 67"/>
                        <a:gd name="T66" fmla="*/ 68 h 68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7" h="68">
                          <a:moveTo>
                            <a:pt x="67" y="35"/>
                          </a:moveTo>
                          <a:lnTo>
                            <a:pt x="66" y="24"/>
                          </a:lnTo>
                          <a:lnTo>
                            <a:pt x="61" y="14"/>
                          </a:lnTo>
                          <a:lnTo>
                            <a:pt x="54" y="7"/>
                          </a:lnTo>
                          <a:lnTo>
                            <a:pt x="45" y="2"/>
                          </a:lnTo>
                          <a:lnTo>
                            <a:pt x="34" y="0"/>
                          </a:lnTo>
                          <a:lnTo>
                            <a:pt x="23" y="2"/>
                          </a:lnTo>
                          <a:lnTo>
                            <a:pt x="13" y="7"/>
                          </a:lnTo>
                          <a:lnTo>
                            <a:pt x="6" y="14"/>
                          </a:lnTo>
                          <a:lnTo>
                            <a:pt x="1" y="24"/>
                          </a:lnTo>
                          <a:lnTo>
                            <a:pt x="0" y="35"/>
                          </a:lnTo>
                          <a:lnTo>
                            <a:pt x="1" y="45"/>
                          </a:lnTo>
                          <a:lnTo>
                            <a:pt x="6" y="54"/>
                          </a:lnTo>
                          <a:lnTo>
                            <a:pt x="13" y="61"/>
                          </a:lnTo>
                          <a:lnTo>
                            <a:pt x="23" y="67"/>
                          </a:lnTo>
                          <a:lnTo>
                            <a:pt x="34" y="68"/>
                          </a:lnTo>
                          <a:lnTo>
                            <a:pt x="45" y="67"/>
                          </a:lnTo>
                          <a:lnTo>
                            <a:pt x="54" y="61"/>
                          </a:lnTo>
                          <a:lnTo>
                            <a:pt x="61" y="54"/>
                          </a:lnTo>
                          <a:lnTo>
                            <a:pt x="66" y="45"/>
                          </a:lnTo>
                          <a:lnTo>
                            <a:pt x="67" y="35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52" name="Freeform 209"/>
                    <p:cNvSpPr>
                      <a:spLocks/>
                    </p:cNvSpPr>
                    <p:nvPr/>
                  </p:nvSpPr>
                  <p:spPr bwMode="auto">
                    <a:xfrm>
                      <a:off x="4914" y="1256"/>
                      <a:ext cx="62" cy="62"/>
                    </a:xfrm>
                    <a:custGeom>
                      <a:avLst/>
                      <a:gdLst>
                        <a:gd name="T0" fmla="*/ 62 w 62"/>
                        <a:gd name="T1" fmla="*/ 31 h 62"/>
                        <a:gd name="T2" fmla="*/ 60 w 62"/>
                        <a:gd name="T3" fmla="*/ 21 h 62"/>
                        <a:gd name="T4" fmla="*/ 56 w 62"/>
                        <a:gd name="T5" fmla="*/ 12 h 62"/>
                        <a:gd name="T6" fmla="*/ 49 w 62"/>
                        <a:gd name="T7" fmla="*/ 6 h 62"/>
                        <a:gd name="T8" fmla="*/ 41 w 62"/>
                        <a:gd name="T9" fmla="*/ 1 h 62"/>
                        <a:gd name="T10" fmla="*/ 30 w 62"/>
                        <a:gd name="T11" fmla="*/ 0 h 62"/>
                        <a:gd name="T12" fmla="*/ 20 w 62"/>
                        <a:gd name="T13" fmla="*/ 1 h 62"/>
                        <a:gd name="T14" fmla="*/ 12 w 62"/>
                        <a:gd name="T15" fmla="*/ 6 h 62"/>
                        <a:gd name="T16" fmla="*/ 5 w 62"/>
                        <a:gd name="T17" fmla="*/ 12 h 62"/>
                        <a:gd name="T18" fmla="*/ 1 w 62"/>
                        <a:gd name="T19" fmla="*/ 21 h 62"/>
                        <a:gd name="T20" fmla="*/ 0 w 62"/>
                        <a:gd name="T21" fmla="*/ 31 h 62"/>
                        <a:gd name="T22" fmla="*/ 1 w 62"/>
                        <a:gd name="T23" fmla="*/ 41 h 62"/>
                        <a:gd name="T24" fmla="*/ 5 w 62"/>
                        <a:gd name="T25" fmla="*/ 49 h 62"/>
                        <a:gd name="T26" fmla="*/ 12 w 62"/>
                        <a:gd name="T27" fmla="*/ 56 h 62"/>
                        <a:gd name="T28" fmla="*/ 20 w 62"/>
                        <a:gd name="T29" fmla="*/ 60 h 62"/>
                        <a:gd name="T30" fmla="*/ 30 w 62"/>
                        <a:gd name="T31" fmla="*/ 62 h 62"/>
                        <a:gd name="T32" fmla="*/ 41 w 62"/>
                        <a:gd name="T33" fmla="*/ 60 h 62"/>
                        <a:gd name="T34" fmla="*/ 49 w 62"/>
                        <a:gd name="T35" fmla="*/ 56 h 62"/>
                        <a:gd name="T36" fmla="*/ 56 w 62"/>
                        <a:gd name="T37" fmla="*/ 49 h 62"/>
                        <a:gd name="T38" fmla="*/ 60 w 62"/>
                        <a:gd name="T39" fmla="*/ 41 h 62"/>
                        <a:gd name="T40" fmla="*/ 62 w 62"/>
                        <a:gd name="T41" fmla="*/ 31 h 62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2"/>
                        <a:gd name="T64" fmla="*/ 0 h 62"/>
                        <a:gd name="T65" fmla="*/ 62 w 62"/>
                        <a:gd name="T66" fmla="*/ 62 h 62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2" h="62">
                          <a:moveTo>
                            <a:pt x="62" y="31"/>
                          </a:moveTo>
                          <a:lnTo>
                            <a:pt x="60" y="21"/>
                          </a:lnTo>
                          <a:lnTo>
                            <a:pt x="56" y="12"/>
                          </a:lnTo>
                          <a:lnTo>
                            <a:pt x="49" y="6"/>
                          </a:lnTo>
                          <a:lnTo>
                            <a:pt x="41" y="1"/>
                          </a:lnTo>
                          <a:lnTo>
                            <a:pt x="30" y="0"/>
                          </a:lnTo>
                          <a:lnTo>
                            <a:pt x="20" y="1"/>
                          </a:lnTo>
                          <a:lnTo>
                            <a:pt x="12" y="6"/>
                          </a:lnTo>
                          <a:lnTo>
                            <a:pt x="5" y="12"/>
                          </a:lnTo>
                          <a:lnTo>
                            <a:pt x="1" y="21"/>
                          </a:lnTo>
                          <a:lnTo>
                            <a:pt x="0" y="31"/>
                          </a:lnTo>
                          <a:lnTo>
                            <a:pt x="1" y="41"/>
                          </a:lnTo>
                          <a:lnTo>
                            <a:pt x="5" y="49"/>
                          </a:lnTo>
                          <a:lnTo>
                            <a:pt x="12" y="56"/>
                          </a:lnTo>
                          <a:lnTo>
                            <a:pt x="20" y="60"/>
                          </a:lnTo>
                          <a:lnTo>
                            <a:pt x="30" y="62"/>
                          </a:lnTo>
                          <a:lnTo>
                            <a:pt x="41" y="60"/>
                          </a:lnTo>
                          <a:lnTo>
                            <a:pt x="49" y="56"/>
                          </a:lnTo>
                          <a:lnTo>
                            <a:pt x="56" y="49"/>
                          </a:lnTo>
                          <a:lnTo>
                            <a:pt x="60" y="41"/>
                          </a:lnTo>
                          <a:lnTo>
                            <a:pt x="62" y="31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53" name="Freeform 210"/>
                    <p:cNvSpPr>
                      <a:spLocks/>
                    </p:cNvSpPr>
                    <p:nvPr/>
                  </p:nvSpPr>
                  <p:spPr bwMode="auto">
                    <a:xfrm>
                      <a:off x="4914" y="1256"/>
                      <a:ext cx="62" cy="62"/>
                    </a:xfrm>
                    <a:custGeom>
                      <a:avLst/>
                      <a:gdLst>
                        <a:gd name="T0" fmla="*/ 62 w 62"/>
                        <a:gd name="T1" fmla="*/ 31 h 62"/>
                        <a:gd name="T2" fmla="*/ 60 w 62"/>
                        <a:gd name="T3" fmla="*/ 21 h 62"/>
                        <a:gd name="T4" fmla="*/ 56 w 62"/>
                        <a:gd name="T5" fmla="*/ 12 h 62"/>
                        <a:gd name="T6" fmla="*/ 49 w 62"/>
                        <a:gd name="T7" fmla="*/ 6 h 62"/>
                        <a:gd name="T8" fmla="*/ 41 w 62"/>
                        <a:gd name="T9" fmla="*/ 1 h 62"/>
                        <a:gd name="T10" fmla="*/ 30 w 62"/>
                        <a:gd name="T11" fmla="*/ 0 h 62"/>
                        <a:gd name="T12" fmla="*/ 20 w 62"/>
                        <a:gd name="T13" fmla="*/ 1 h 62"/>
                        <a:gd name="T14" fmla="*/ 12 w 62"/>
                        <a:gd name="T15" fmla="*/ 6 h 62"/>
                        <a:gd name="T16" fmla="*/ 5 w 62"/>
                        <a:gd name="T17" fmla="*/ 12 h 62"/>
                        <a:gd name="T18" fmla="*/ 1 w 62"/>
                        <a:gd name="T19" fmla="*/ 21 h 62"/>
                        <a:gd name="T20" fmla="*/ 0 w 62"/>
                        <a:gd name="T21" fmla="*/ 31 h 62"/>
                        <a:gd name="T22" fmla="*/ 1 w 62"/>
                        <a:gd name="T23" fmla="*/ 41 h 62"/>
                        <a:gd name="T24" fmla="*/ 5 w 62"/>
                        <a:gd name="T25" fmla="*/ 49 h 62"/>
                        <a:gd name="T26" fmla="*/ 12 w 62"/>
                        <a:gd name="T27" fmla="*/ 56 h 62"/>
                        <a:gd name="T28" fmla="*/ 20 w 62"/>
                        <a:gd name="T29" fmla="*/ 60 h 62"/>
                        <a:gd name="T30" fmla="*/ 30 w 62"/>
                        <a:gd name="T31" fmla="*/ 62 h 62"/>
                        <a:gd name="T32" fmla="*/ 41 w 62"/>
                        <a:gd name="T33" fmla="*/ 60 h 62"/>
                        <a:gd name="T34" fmla="*/ 49 w 62"/>
                        <a:gd name="T35" fmla="*/ 56 h 62"/>
                        <a:gd name="T36" fmla="*/ 56 w 62"/>
                        <a:gd name="T37" fmla="*/ 49 h 62"/>
                        <a:gd name="T38" fmla="*/ 60 w 62"/>
                        <a:gd name="T39" fmla="*/ 41 h 62"/>
                        <a:gd name="T40" fmla="*/ 62 w 62"/>
                        <a:gd name="T41" fmla="*/ 31 h 62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w 62"/>
                        <a:gd name="T64" fmla="*/ 0 h 62"/>
                        <a:gd name="T65" fmla="*/ 62 w 62"/>
                        <a:gd name="T66" fmla="*/ 62 h 62"/>
                      </a:gdLst>
                      <a:ahLst/>
                      <a:cxnLst>
                        <a:cxn ang="T42">
                          <a:pos x="T0" y="T1"/>
                        </a:cxn>
                        <a:cxn ang="T43">
                          <a:pos x="T2" y="T3"/>
                        </a:cxn>
                        <a:cxn ang="T44">
                          <a:pos x="T4" y="T5"/>
                        </a:cxn>
                        <a:cxn ang="T45">
                          <a:pos x="T6" y="T7"/>
                        </a:cxn>
                        <a:cxn ang="T46">
                          <a:pos x="T8" y="T9"/>
                        </a:cxn>
                        <a:cxn ang="T47">
                          <a:pos x="T10" y="T11"/>
                        </a:cxn>
                        <a:cxn ang="T48">
                          <a:pos x="T12" y="T13"/>
                        </a:cxn>
                        <a:cxn ang="T49">
                          <a:pos x="T14" y="T15"/>
                        </a:cxn>
                        <a:cxn ang="T50">
                          <a:pos x="T16" y="T17"/>
                        </a:cxn>
                        <a:cxn ang="T51">
                          <a:pos x="T18" y="T19"/>
                        </a:cxn>
                        <a:cxn ang="T52">
                          <a:pos x="T20" y="T21"/>
                        </a:cxn>
                        <a:cxn ang="T53">
                          <a:pos x="T22" y="T23"/>
                        </a:cxn>
                        <a:cxn ang="T54">
                          <a:pos x="T24" y="T25"/>
                        </a:cxn>
                        <a:cxn ang="T55">
                          <a:pos x="T26" y="T27"/>
                        </a:cxn>
                        <a:cxn ang="T56">
                          <a:pos x="T28" y="T29"/>
                        </a:cxn>
                        <a:cxn ang="T57">
                          <a:pos x="T30" y="T31"/>
                        </a:cxn>
                        <a:cxn ang="T58">
                          <a:pos x="T32" y="T33"/>
                        </a:cxn>
                        <a:cxn ang="T59">
                          <a:pos x="T34" y="T35"/>
                        </a:cxn>
                        <a:cxn ang="T60">
                          <a:pos x="T36" y="T37"/>
                        </a:cxn>
                        <a:cxn ang="T61">
                          <a:pos x="T38" y="T39"/>
                        </a:cxn>
                        <a:cxn ang="T62">
                          <a:pos x="T40" y="T41"/>
                        </a:cxn>
                      </a:cxnLst>
                      <a:rect l="T63" t="T64" r="T65" b="T66"/>
                      <a:pathLst>
                        <a:path w="62" h="62">
                          <a:moveTo>
                            <a:pt x="62" y="31"/>
                          </a:moveTo>
                          <a:lnTo>
                            <a:pt x="60" y="21"/>
                          </a:lnTo>
                          <a:lnTo>
                            <a:pt x="56" y="12"/>
                          </a:lnTo>
                          <a:lnTo>
                            <a:pt x="49" y="6"/>
                          </a:lnTo>
                          <a:lnTo>
                            <a:pt x="41" y="1"/>
                          </a:lnTo>
                          <a:lnTo>
                            <a:pt x="30" y="0"/>
                          </a:lnTo>
                          <a:lnTo>
                            <a:pt x="20" y="1"/>
                          </a:lnTo>
                          <a:lnTo>
                            <a:pt x="12" y="6"/>
                          </a:lnTo>
                          <a:lnTo>
                            <a:pt x="5" y="12"/>
                          </a:lnTo>
                          <a:lnTo>
                            <a:pt x="1" y="21"/>
                          </a:lnTo>
                          <a:lnTo>
                            <a:pt x="0" y="31"/>
                          </a:lnTo>
                          <a:lnTo>
                            <a:pt x="1" y="41"/>
                          </a:lnTo>
                          <a:lnTo>
                            <a:pt x="5" y="49"/>
                          </a:lnTo>
                          <a:lnTo>
                            <a:pt x="12" y="56"/>
                          </a:lnTo>
                          <a:lnTo>
                            <a:pt x="20" y="60"/>
                          </a:lnTo>
                          <a:lnTo>
                            <a:pt x="30" y="62"/>
                          </a:lnTo>
                          <a:lnTo>
                            <a:pt x="41" y="60"/>
                          </a:lnTo>
                          <a:lnTo>
                            <a:pt x="49" y="56"/>
                          </a:lnTo>
                          <a:lnTo>
                            <a:pt x="56" y="49"/>
                          </a:lnTo>
                          <a:lnTo>
                            <a:pt x="60" y="41"/>
                          </a:lnTo>
                          <a:lnTo>
                            <a:pt x="62" y="31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54" name="Freeform 211"/>
                    <p:cNvSpPr>
                      <a:spLocks/>
                    </p:cNvSpPr>
                    <p:nvPr/>
                  </p:nvSpPr>
                  <p:spPr bwMode="auto">
                    <a:xfrm>
                      <a:off x="4717" y="1100"/>
                      <a:ext cx="54" cy="53"/>
                    </a:xfrm>
                    <a:custGeom>
                      <a:avLst/>
                      <a:gdLst>
                        <a:gd name="T0" fmla="*/ 54 w 54"/>
                        <a:gd name="T1" fmla="*/ 26 h 53"/>
                        <a:gd name="T2" fmla="*/ 51 w 54"/>
                        <a:gd name="T3" fmla="*/ 16 h 53"/>
                        <a:gd name="T4" fmla="*/ 46 w 54"/>
                        <a:gd name="T5" fmla="*/ 7 h 53"/>
                        <a:gd name="T6" fmla="*/ 37 w 54"/>
                        <a:gd name="T7" fmla="*/ 2 h 53"/>
                        <a:gd name="T8" fmla="*/ 27 w 54"/>
                        <a:gd name="T9" fmla="*/ 0 h 53"/>
                        <a:gd name="T10" fmla="*/ 17 w 54"/>
                        <a:gd name="T11" fmla="*/ 2 h 53"/>
                        <a:gd name="T12" fmla="*/ 8 w 54"/>
                        <a:gd name="T13" fmla="*/ 7 h 53"/>
                        <a:gd name="T14" fmla="*/ 3 w 54"/>
                        <a:gd name="T15" fmla="*/ 16 h 53"/>
                        <a:gd name="T16" fmla="*/ 0 w 54"/>
                        <a:gd name="T17" fmla="*/ 26 h 53"/>
                        <a:gd name="T18" fmla="*/ 3 w 54"/>
                        <a:gd name="T19" fmla="*/ 36 h 53"/>
                        <a:gd name="T20" fmla="*/ 8 w 54"/>
                        <a:gd name="T21" fmla="*/ 45 h 53"/>
                        <a:gd name="T22" fmla="*/ 17 w 54"/>
                        <a:gd name="T23" fmla="*/ 51 h 53"/>
                        <a:gd name="T24" fmla="*/ 27 w 54"/>
                        <a:gd name="T25" fmla="*/ 53 h 53"/>
                        <a:gd name="T26" fmla="*/ 37 w 54"/>
                        <a:gd name="T27" fmla="*/ 51 h 53"/>
                        <a:gd name="T28" fmla="*/ 46 w 54"/>
                        <a:gd name="T29" fmla="*/ 45 h 53"/>
                        <a:gd name="T30" fmla="*/ 51 w 54"/>
                        <a:gd name="T31" fmla="*/ 36 h 53"/>
                        <a:gd name="T32" fmla="*/ 54 w 54"/>
                        <a:gd name="T33" fmla="*/ 26 h 5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4"/>
                        <a:gd name="T52" fmla="*/ 0 h 53"/>
                        <a:gd name="T53" fmla="*/ 54 w 54"/>
                        <a:gd name="T54" fmla="*/ 53 h 5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4" h="53">
                          <a:moveTo>
                            <a:pt x="54" y="26"/>
                          </a:moveTo>
                          <a:lnTo>
                            <a:pt x="51" y="16"/>
                          </a:lnTo>
                          <a:lnTo>
                            <a:pt x="46" y="7"/>
                          </a:lnTo>
                          <a:lnTo>
                            <a:pt x="37" y="2"/>
                          </a:lnTo>
                          <a:lnTo>
                            <a:pt x="27" y="0"/>
                          </a:lnTo>
                          <a:lnTo>
                            <a:pt x="17" y="2"/>
                          </a:lnTo>
                          <a:lnTo>
                            <a:pt x="8" y="7"/>
                          </a:lnTo>
                          <a:lnTo>
                            <a:pt x="3" y="16"/>
                          </a:lnTo>
                          <a:lnTo>
                            <a:pt x="0" y="26"/>
                          </a:lnTo>
                          <a:lnTo>
                            <a:pt x="3" y="36"/>
                          </a:lnTo>
                          <a:lnTo>
                            <a:pt x="8" y="45"/>
                          </a:lnTo>
                          <a:lnTo>
                            <a:pt x="17" y="51"/>
                          </a:lnTo>
                          <a:lnTo>
                            <a:pt x="27" y="53"/>
                          </a:lnTo>
                          <a:lnTo>
                            <a:pt x="37" y="51"/>
                          </a:lnTo>
                          <a:lnTo>
                            <a:pt x="46" y="45"/>
                          </a:lnTo>
                          <a:lnTo>
                            <a:pt x="51" y="36"/>
                          </a:lnTo>
                          <a:lnTo>
                            <a:pt x="54" y="26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55" name="Freeform 212"/>
                    <p:cNvSpPr>
                      <a:spLocks/>
                    </p:cNvSpPr>
                    <p:nvPr/>
                  </p:nvSpPr>
                  <p:spPr bwMode="auto">
                    <a:xfrm>
                      <a:off x="4717" y="1100"/>
                      <a:ext cx="54" cy="53"/>
                    </a:xfrm>
                    <a:custGeom>
                      <a:avLst/>
                      <a:gdLst>
                        <a:gd name="T0" fmla="*/ 54 w 54"/>
                        <a:gd name="T1" fmla="*/ 26 h 53"/>
                        <a:gd name="T2" fmla="*/ 51 w 54"/>
                        <a:gd name="T3" fmla="*/ 16 h 53"/>
                        <a:gd name="T4" fmla="*/ 46 w 54"/>
                        <a:gd name="T5" fmla="*/ 7 h 53"/>
                        <a:gd name="T6" fmla="*/ 37 w 54"/>
                        <a:gd name="T7" fmla="*/ 2 h 53"/>
                        <a:gd name="T8" fmla="*/ 27 w 54"/>
                        <a:gd name="T9" fmla="*/ 0 h 53"/>
                        <a:gd name="T10" fmla="*/ 17 w 54"/>
                        <a:gd name="T11" fmla="*/ 2 h 53"/>
                        <a:gd name="T12" fmla="*/ 8 w 54"/>
                        <a:gd name="T13" fmla="*/ 7 h 53"/>
                        <a:gd name="T14" fmla="*/ 3 w 54"/>
                        <a:gd name="T15" fmla="*/ 16 h 53"/>
                        <a:gd name="T16" fmla="*/ 0 w 54"/>
                        <a:gd name="T17" fmla="*/ 26 h 53"/>
                        <a:gd name="T18" fmla="*/ 3 w 54"/>
                        <a:gd name="T19" fmla="*/ 36 h 53"/>
                        <a:gd name="T20" fmla="*/ 8 w 54"/>
                        <a:gd name="T21" fmla="*/ 45 h 53"/>
                        <a:gd name="T22" fmla="*/ 17 w 54"/>
                        <a:gd name="T23" fmla="*/ 51 h 53"/>
                        <a:gd name="T24" fmla="*/ 27 w 54"/>
                        <a:gd name="T25" fmla="*/ 53 h 53"/>
                        <a:gd name="T26" fmla="*/ 37 w 54"/>
                        <a:gd name="T27" fmla="*/ 51 h 53"/>
                        <a:gd name="T28" fmla="*/ 46 w 54"/>
                        <a:gd name="T29" fmla="*/ 45 h 53"/>
                        <a:gd name="T30" fmla="*/ 51 w 54"/>
                        <a:gd name="T31" fmla="*/ 36 h 53"/>
                        <a:gd name="T32" fmla="*/ 54 w 54"/>
                        <a:gd name="T33" fmla="*/ 26 h 53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w 54"/>
                        <a:gd name="T52" fmla="*/ 0 h 53"/>
                        <a:gd name="T53" fmla="*/ 54 w 54"/>
                        <a:gd name="T54" fmla="*/ 53 h 53"/>
                      </a:gdLst>
                      <a:ahLst/>
                      <a:cxnLst>
                        <a:cxn ang="T34">
                          <a:pos x="T0" y="T1"/>
                        </a:cxn>
                        <a:cxn ang="T35">
                          <a:pos x="T2" y="T3"/>
                        </a:cxn>
                        <a:cxn ang="T36">
                          <a:pos x="T4" y="T5"/>
                        </a:cxn>
                        <a:cxn ang="T37">
                          <a:pos x="T6" y="T7"/>
                        </a:cxn>
                        <a:cxn ang="T38">
                          <a:pos x="T8" y="T9"/>
                        </a:cxn>
                        <a:cxn ang="T39">
                          <a:pos x="T10" y="T11"/>
                        </a:cxn>
                        <a:cxn ang="T40">
                          <a:pos x="T12" y="T13"/>
                        </a:cxn>
                        <a:cxn ang="T41">
                          <a:pos x="T14" y="T15"/>
                        </a:cxn>
                        <a:cxn ang="T42">
                          <a:pos x="T16" y="T17"/>
                        </a:cxn>
                        <a:cxn ang="T43">
                          <a:pos x="T18" y="T19"/>
                        </a:cxn>
                        <a:cxn ang="T44">
                          <a:pos x="T20" y="T21"/>
                        </a:cxn>
                        <a:cxn ang="T45">
                          <a:pos x="T22" y="T23"/>
                        </a:cxn>
                        <a:cxn ang="T46">
                          <a:pos x="T24" y="T25"/>
                        </a:cxn>
                        <a:cxn ang="T47">
                          <a:pos x="T26" y="T27"/>
                        </a:cxn>
                        <a:cxn ang="T48">
                          <a:pos x="T28" y="T29"/>
                        </a:cxn>
                        <a:cxn ang="T49">
                          <a:pos x="T30" y="T31"/>
                        </a:cxn>
                        <a:cxn ang="T50">
                          <a:pos x="T32" y="T33"/>
                        </a:cxn>
                      </a:cxnLst>
                      <a:rect l="T51" t="T52" r="T53" b="T54"/>
                      <a:pathLst>
                        <a:path w="54" h="53">
                          <a:moveTo>
                            <a:pt x="54" y="26"/>
                          </a:moveTo>
                          <a:lnTo>
                            <a:pt x="51" y="16"/>
                          </a:lnTo>
                          <a:lnTo>
                            <a:pt x="46" y="7"/>
                          </a:lnTo>
                          <a:lnTo>
                            <a:pt x="37" y="2"/>
                          </a:lnTo>
                          <a:lnTo>
                            <a:pt x="27" y="0"/>
                          </a:lnTo>
                          <a:lnTo>
                            <a:pt x="17" y="2"/>
                          </a:lnTo>
                          <a:lnTo>
                            <a:pt x="8" y="7"/>
                          </a:lnTo>
                          <a:lnTo>
                            <a:pt x="3" y="16"/>
                          </a:lnTo>
                          <a:lnTo>
                            <a:pt x="0" y="26"/>
                          </a:lnTo>
                          <a:lnTo>
                            <a:pt x="3" y="36"/>
                          </a:lnTo>
                          <a:lnTo>
                            <a:pt x="8" y="45"/>
                          </a:lnTo>
                          <a:lnTo>
                            <a:pt x="17" y="51"/>
                          </a:lnTo>
                          <a:lnTo>
                            <a:pt x="27" y="53"/>
                          </a:lnTo>
                          <a:lnTo>
                            <a:pt x="37" y="51"/>
                          </a:lnTo>
                          <a:lnTo>
                            <a:pt x="46" y="45"/>
                          </a:lnTo>
                          <a:lnTo>
                            <a:pt x="51" y="36"/>
                          </a:lnTo>
                          <a:lnTo>
                            <a:pt x="54" y="26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" name="Freeform 213"/>
                    <p:cNvSpPr>
                      <a:spLocks/>
                    </p:cNvSpPr>
                    <p:nvPr/>
                  </p:nvSpPr>
                  <p:spPr bwMode="auto">
                    <a:xfrm>
                      <a:off x="3876" y="1204"/>
                      <a:ext cx="32" cy="32"/>
                    </a:xfrm>
                    <a:custGeom>
                      <a:avLst/>
                      <a:gdLst>
                        <a:gd name="T0" fmla="*/ 32 w 32"/>
                        <a:gd name="T1" fmla="*/ 17 h 32"/>
                        <a:gd name="T2" fmla="*/ 31 w 32"/>
                        <a:gd name="T3" fmla="*/ 10 h 32"/>
                        <a:gd name="T4" fmla="*/ 27 w 32"/>
                        <a:gd name="T5" fmla="*/ 5 h 32"/>
                        <a:gd name="T6" fmla="*/ 22 w 32"/>
                        <a:gd name="T7" fmla="*/ 2 h 32"/>
                        <a:gd name="T8" fmla="*/ 16 w 32"/>
                        <a:gd name="T9" fmla="*/ 0 h 32"/>
                        <a:gd name="T10" fmla="*/ 9 w 32"/>
                        <a:gd name="T11" fmla="*/ 2 h 32"/>
                        <a:gd name="T12" fmla="*/ 5 w 32"/>
                        <a:gd name="T13" fmla="*/ 5 h 32"/>
                        <a:gd name="T14" fmla="*/ 1 w 32"/>
                        <a:gd name="T15" fmla="*/ 10 h 32"/>
                        <a:gd name="T16" fmla="*/ 0 w 32"/>
                        <a:gd name="T17" fmla="*/ 17 h 32"/>
                        <a:gd name="T18" fmla="*/ 2 w 32"/>
                        <a:gd name="T19" fmla="*/ 24 h 32"/>
                        <a:gd name="T20" fmla="*/ 8 w 32"/>
                        <a:gd name="T21" fmla="*/ 30 h 32"/>
                        <a:gd name="T22" fmla="*/ 16 w 32"/>
                        <a:gd name="T23" fmla="*/ 32 h 32"/>
                        <a:gd name="T24" fmla="*/ 22 w 32"/>
                        <a:gd name="T25" fmla="*/ 31 h 32"/>
                        <a:gd name="T26" fmla="*/ 27 w 32"/>
                        <a:gd name="T27" fmla="*/ 28 h 32"/>
                        <a:gd name="T28" fmla="*/ 31 w 32"/>
                        <a:gd name="T29" fmla="*/ 23 h 32"/>
                        <a:gd name="T30" fmla="*/ 32 w 32"/>
                        <a:gd name="T31" fmla="*/ 17 h 32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w 32"/>
                        <a:gd name="T49" fmla="*/ 0 h 32"/>
                        <a:gd name="T50" fmla="*/ 32 w 32"/>
                        <a:gd name="T51" fmla="*/ 32 h 32"/>
                      </a:gdLst>
                      <a:ahLst/>
                      <a:cxnLst>
                        <a:cxn ang="T32">
                          <a:pos x="T0" y="T1"/>
                        </a:cxn>
                        <a:cxn ang="T33">
                          <a:pos x="T2" y="T3"/>
                        </a:cxn>
                        <a:cxn ang="T34">
                          <a:pos x="T4" y="T5"/>
                        </a:cxn>
                        <a:cxn ang="T35">
                          <a:pos x="T6" y="T7"/>
                        </a:cxn>
                        <a:cxn ang="T36">
                          <a:pos x="T8" y="T9"/>
                        </a:cxn>
                        <a:cxn ang="T37">
                          <a:pos x="T10" y="T11"/>
                        </a:cxn>
                        <a:cxn ang="T38">
                          <a:pos x="T12" y="T13"/>
                        </a:cxn>
                        <a:cxn ang="T39">
                          <a:pos x="T14" y="T15"/>
                        </a:cxn>
                        <a:cxn ang="T40">
                          <a:pos x="T16" y="T17"/>
                        </a:cxn>
                        <a:cxn ang="T41">
                          <a:pos x="T18" y="T19"/>
                        </a:cxn>
                        <a:cxn ang="T42">
                          <a:pos x="T20" y="T21"/>
                        </a:cxn>
                        <a:cxn ang="T43">
                          <a:pos x="T22" y="T23"/>
                        </a:cxn>
                        <a:cxn ang="T44">
                          <a:pos x="T24" y="T25"/>
                        </a:cxn>
                        <a:cxn ang="T45">
                          <a:pos x="T26" y="T27"/>
                        </a:cxn>
                        <a:cxn ang="T46">
                          <a:pos x="T28" y="T29"/>
                        </a:cxn>
                        <a:cxn ang="T47">
                          <a:pos x="T30" y="T31"/>
                        </a:cxn>
                      </a:cxnLst>
                      <a:rect l="T48" t="T49" r="T50" b="T51"/>
                      <a:pathLst>
                        <a:path w="32" h="32">
                          <a:moveTo>
                            <a:pt x="32" y="17"/>
                          </a:moveTo>
                          <a:lnTo>
                            <a:pt x="31" y="10"/>
                          </a:lnTo>
                          <a:lnTo>
                            <a:pt x="27" y="5"/>
                          </a:lnTo>
                          <a:lnTo>
                            <a:pt x="22" y="2"/>
                          </a:lnTo>
                          <a:lnTo>
                            <a:pt x="16" y="0"/>
                          </a:lnTo>
                          <a:lnTo>
                            <a:pt x="9" y="2"/>
                          </a:lnTo>
                          <a:lnTo>
                            <a:pt x="5" y="5"/>
                          </a:lnTo>
                          <a:lnTo>
                            <a:pt x="1" y="10"/>
                          </a:lnTo>
                          <a:lnTo>
                            <a:pt x="0" y="17"/>
                          </a:lnTo>
                          <a:lnTo>
                            <a:pt x="2" y="24"/>
                          </a:lnTo>
                          <a:lnTo>
                            <a:pt x="8" y="30"/>
                          </a:lnTo>
                          <a:lnTo>
                            <a:pt x="16" y="32"/>
                          </a:lnTo>
                          <a:lnTo>
                            <a:pt x="22" y="31"/>
                          </a:lnTo>
                          <a:lnTo>
                            <a:pt x="27" y="28"/>
                          </a:lnTo>
                          <a:lnTo>
                            <a:pt x="31" y="23"/>
                          </a:lnTo>
                          <a:lnTo>
                            <a:pt x="32" y="17"/>
                          </a:lnTo>
                          <a:close/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0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  <p:sp>
                  <p:nvSpPr>
                    <p:cNvPr id="296157" name="Freeform 214"/>
                    <p:cNvSpPr>
                      <a:spLocks/>
                    </p:cNvSpPr>
                    <p:nvPr/>
                  </p:nvSpPr>
                  <p:spPr bwMode="auto">
                    <a:xfrm>
                      <a:off x="3876" y="1204"/>
                      <a:ext cx="32" cy="32"/>
                    </a:xfrm>
                    <a:custGeom>
                      <a:avLst/>
                      <a:gdLst>
                        <a:gd name="T0" fmla="*/ 32 w 32"/>
                        <a:gd name="T1" fmla="*/ 17 h 32"/>
                        <a:gd name="T2" fmla="*/ 31 w 32"/>
                        <a:gd name="T3" fmla="*/ 10 h 32"/>
                        <a:gd name="T4" fmla="*/ 27 w 32"/>
                        <a:gd name="T5" fmla="*/ 5 h 32"/>
                        <a:gd name="T6" fmla="*/ 22 w 32"/>
                        <a:gd name="T7" fmla="*/ 2 h 32"/>
                        <a:gd name="T8" fmla="*/ 16 w 32"/>
                        <a:gd name="T9" fmla="*/ 0 h 32"/>
                        <a:gd name="T10" fmla="*/ 9 w 32"/>
                        <a:gd name="T11" fmla="*/ 2 h 32"/>
                        <a:gd name="T12" fmla="*/ 5 w 32"/>
                        <a:gd name="T13" fmla="*/ 5 h 32"/>
                        <a:gd name="T14" fmla="*/ 1 w 32"/>
                        <a:gd name="T15" fmla="*/ 10 h 32"/>
                        <a:gd name="T16" fmla="*/ 0 w 32"/>
                        <a:gd name="T17" fmla="*/ 17 h 32"/>
                        <a:gd name="T18" fmla="*/ 2 w 32"/>
                        <a:gd name="T19" fmla="*/ 24 h 32"/>
                        <a:gd name="T20" fmla="*/ 8 w 32"/>
                        <a:gd name="T21" fmla="*/ 30 h 32"/>
                        <a:gd name="T22" fmla="*/ 16 w 32"/>
                        <a:gd name="T23" fmla="*/ 32 h 32"/>
                        <a:gd name="T24" fmla="*/ 22 w 32"/>
                        <a:gd name="T25" fmla="*/ 31 h 32"/>
                        <a:gd name="T26" fmla="*/ 27 w 32"/>
                        <a:gd name="T27" fmla="*/ 28 h 32"/>
                        <a:gd name="T28" fmla="*/ 31 w 32"/>
                        <a:gd name="T29" fmla="*/ 23 h 32"/>
                        <a:gd name="T30" fmla="*/ 32 w 32"/>
                        <a:gd name="T31" fmla="*/ 17 h 32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60000 65536"/>
                        <a:gd name="T43" fmla="*/ 0 60000 65536"/>
                        <a:gd name="T44" fmla="*/ 0 60000 65536"/>
                        <a:gd name="T45" fmla="*/ 0 60000 65536"/>
                        <a:gd name="T46" fmla="*/ 0 60000 65536"/>
                        <a:gd name="T47" fmla="*/ 0 60000 65536"/>
                        <a:gd name="T48" fmla="*/ 0 w 32"/>
                        <a:gd name="T49" fmla="*/ 0 h 32"/>
                        <a:gd name="T50" fmla="*/ 32 w 32"/>
                        <a:gd name="T51" fmla="*/ 32 h 32"/>
                      </a:gdLst>
                      <a:ahLst/>
                      <a:cxnLst>
                        <a:cxn ang="T32">
                          <a:pos x="T0" y="T1"/>
                        </a:cxn>
                        <a:cxn ang="T33">
                          <a:pos x="T2" y="T3"/>
                        </a:cxn>
                        <a:cxn ang="T34">
                          <a:pos x="T4" y="T5"/>
                        </a:cxn>
                        <a:cxn ang="T35">
                          <a:pos x="T6" y="T7"/>
                        </a:cxn>
                        <a:cxn ang="T36">
                          <a:pos x="T8" y="T9"/>
                        </a:cxn>
                        <a:cxn ang="T37">
                          <a:pos x="T10" y="T11"/>
                        </a:cxn>
                        <a:cxn ang="T38">
                          <a:pos x="T12" y="T13"/>
                        </a:cxn>
                        <a:cxn ang="T39">
                          <a:pos x="T14" y="T15"/>
                        </a:cxn>
                        <a:cxn ang="T40">
                          <a:pos x="T16" y="T17"/>
                        </a:cxn>
                        <a:cxn ang="T41">
                          <a:pos x="T18" y="T19"/>
                        </a:cxn>
                        <a:cxn ang="T42">
                          <a:pos x="T20" y="T21"/>
                        </a:cxn>
                        <a:cxn ang="T43">
                          <a:pos x="T22" y="T23"/>
                        </a:cxn>
                        <a:cxn ang="T44">
                          <a:pos x="T24" y="T25"/>
                        </a:cxn>
                        <a:cxn ang="T45">
                          <a:pos x="T26" y="T27"/>
                        </a:cxn>
                        <a:cxn ang="T46">
                          <a:pos x="T28" y="T29"/>
                        </a:cxn>
                        <a:cxn ang="T47">
                          <a:pos x="T30" y="T31"/>
                        </a:cxn>
                      </a:cxnLst>
                      <a:rect l="T48" t="T49" r="T50" b="T51"/>
                      <a:pathLst>
                        <a:path w="32" h="32">
                          <a:moveTo>
                            <a:pt x="32" y="17"/>
                          </a:moveTo>
                          <a:lnTo>
                            <a:pt x="31" y="10"/>
                          </a:lnTo>
                          <a:lnTo>
                            <a:pt x="27" y="5"/>
                          </a:lnTo>
                          <a:lnTo>
                            <a:pt x="22" y="2"/>
                          </a:lnTo>
                          <a:lnTo>
                            <a:pt x="16" y="0"/>
                          </a:lnTo>
                          <a:lnTo>
                            <a:pt x="9" y="2"/>
                          </a:lnTo>
                          <a:lnTo>
                            <a:pt x="5" y="5"/>
                          </a:lnTo>
                          <a:lnTo>
                            <a:pt x="1" y="10"/>
                          </a:lnTo>
                          <a:lnTo>
                            <a:pt x="0" y="17"/>
                          </a:lnTo>
                          <a:lnTo>
                            <a:pt x="2" y="24"/>
                          </a:lnTo>
                          <a:lnTo>
                            <a:pt x="8" y="30"/>
                          </a:lnTo>
                          <a:lnTo>
                            <a:pt x="16" y="32"/>
                          </a:lnTo>
                          <a:lnTo>
                            <a:pt x="22" y="31"/>
                          </a:lnTo>
                          <a:lnTo>
                            <a:pt x="27" y="28"/>
                          </a:lnTo>
                          <a:lnTo>
                            <a:pt x="31" y="23"/>
                          </a:lnTo>
                          <a:lnTo>
                            <a:pt x="32" y="17"/>
                          </a:lnTo>
                        </a:path>
                      </a:pathLst>
                    </a:custGeom>
                    <a:solidFill>
                      <a:srgbClr val="FFFFFF">
                        <a:alpha val="52940"/>
                      </a:srgbClr>
                    </a:solidFill>
                    <a:ln w="1588">
                      <a:solidFill>
                        <a:srgbClr val="777777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sz="1800" b="0">
                        <a:latin typeface="Arial" charset="0"/>
                      </a:endParaRPr>
                    </a:p>
                  </p:txBody>
                </p:sp>
              </p:grpSp>
              <p:sp>
                <p:nvSpPr>
                  <p:cNvPr id="295959" name="Rectangle 87"/>
                  <p:cNvSpPr>
                    <a:spLocks noChangeArrowheads="1"/>
                  </p:cNvSpPr>
                  <p:nvPr>
                    <p:custDataLst>
                      <p:tags r:id="rId11"/>
                    </p:custDataLst>
                  </p:nvPr>
                </p:nvSpPr>
                <p:spPr bwMode="auto">
                  <a:xfrm>
                    <a:off x="2688" y="3486"/>
                    <a:ext cx="144" cy="144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800" b="0">
                      <a:latin typeface="Arial" charset="0"/>
                    </a:endParaRPr>
                  </a:p>
                </p:txBody>
              </p:sp>
              <p:sp>
                <p:nvSpPr>
                  <p:cNvPr id="295960" name="Rectangle 87"/>
                  <p:cNvSpPr>
                    <a:spLocks noChangeArrowheads="1"/>
                  </p:cNvSpPr>
                  <p:nvPr>
                    <p:custDataLst>
                      <p:tags r:id="rId12"/>
                    </p:custDataLst>
                  </p:nvPr>
                </p:nvSpPr>
                <p:spPr bwMode="auto">
                  <a:xfrm>
                    <a:off x="2688" y="3486"/>
                    <a:ext cx="144" cy="144"/>
                  </a:xfrm>
                  <a:prstGeom prst="rect">
                    <a:avLst/>
                  </a:prstGeom>
                  <a:solidFill>
                    <a:schemeClr val="bg1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800" b="0">
                      <a:latin typeface="Arial" charset="0"/>
                    </a:endParaRPr>
                  </a:p>
                </p:txBody>
              </p:sp>
              <p:pic>
                <p:nvPicPr>
                  <p:cNvPr id="295961" name="Picture 36" descr="ALL_STR.eps"/>
                  <p:cNvPicPr>
                    <a:picLocks noChangeAspect="1"/>
                  </p:cNvPicPr>
                  <p:nvPr>
                    <p:custDataLst>
                      <p:tags r:id="rId13"/>
                    </p:custDataLst>
                  </p:nvPr>
                </p:nvPicPr>
                <p:blipFill>
                  <a:blip r:embed="rId24">
                    <a:lum bright="-50000" contrast="-80000"/>
                    <a:grayscl/>
                    <a:biLevel thresh="50000"/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240" y="1038"/>
                    <a:ext cx="2592" cy="259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  <p:sp>
              <p:nvSpPr>
                <p:cNvPr id="295956" name="Rectangle 213"/>
                <p:cNvSpPr>
                  <a:spLocks noChangeArrowheads="1"/>
                </p:cNvSpPr>
                <p:nvPr/>
              </p:nvSpPr>
              <p:spPr bwMode="auto">
                <a:xfrm>
                  <a:off x="7515491" y="4677810"/>
                  <a:ext cx="740960" cy="980039"/>
                </a:xfrm>
                <a:prstGeom prst="rect">
                  <a:avLst/>
                </a:prstGeom>
                <a:solidFill>
                  <a:srgbClr val="F3F3F3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</p:grpSp>
        </p:grpSp>
        <p:grpSp>
          <p:nvGrpSpPr>
            <p:cNvPr id="17" name="Group 648"/>
            <p:cNvGrpSpPr>
              <a:grpSpLocks/>
            </p:cNvGrpSpPr>
            <p:nvPr/>
          </p:nvGrpSpPr>
          <p:grpSpPr bwMode="auto">
            <a:xfrm>
              <a:off x="1100344" y="1434066"/>
              <a:ext cx="3468688" cy="376237"/>
              <a:chOff x="4943475" y="1420813"/>
              <a:chExt cx="3468688" cy="376237"/>
            </a:xfrm>
          </p:grpSpPr>
          <p:sp>
            <p:nvSpPr>
              <p:cNvPr id="295951" name="Rectangle 5"/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943475" y="1420813"/>
                <a:ext cx="3468688" cy="376237"/>
              </a:xfrm>
              <a:prstGeom prst="rect">
                <a:avLst/>
              </a:prstGeom>
              <a:solidFill>
                <a:srgbClr val="FF9900"/>
              </a:solidFill>
              <a:ln w="9525" algn="ctr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1600"/>
              </a:p>
            </p:txBody>
          </p:sp>
          <p:sp>
            <p:nvSpPr>
              <p:cNvPr id="295952" name="Rectangle 6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5064125" y="1517650"/>
                <a:ext cx="1854675" cy="23544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>
                  <a:lnSpc>
                    <a:spcPct val="85000"/>
                  </a:lnSpc>
                  <a:spcBef>
                    <a:spcPct val="35000"/>
                  </a:spcBef>
                  <a:buClr>
                    <a:srgbClr val="000099"/>
                  </a:buClr>
                  <a:buSzPct val="70000"/>
                  <a:buFont typeface="Wingdings" pitchFamily="2" charset="2"/>
                  <a:buNone/>
                </a:pPr>
                <a:r>
                  <a:rPr lang="en-GB" sz="1800">
                    <a:solidFill>
                      <a:schemeClr val="bg1"/>
                    </a:solidFill>
                  </a:rPr>
                  <a:t>Strengths – Overlaid</a:t>
                </a:r>
              </a:p>
            </p:txBody>
          </p:sp>
        </p:grpSp>
      </p:grp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1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9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0" dur="500"/>
                                        <p:tgtEl>
                                          <p:spTgt spid="1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6156" grpId="0"/>
      <p:bldP spid="653" grpId="0" animBg="1"/>
      <p:bldP spid="1298" grpId="0" animBg="1"/>
      <p:bldP spid="129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0387" name="Title 14"/>
          <p:cNvSpPr>
            <a:spLocks noGrp="1"/>
          </p:cNvSpPr>
          <p:nvPr>
            <p:ph type="title"/>
          </p:nvPr>
        </p:nvSpPr>
        <p:spPr>
          <a:xfrm>
            <a:off x="685800" y="412750"/>
            <a:ext cx="7620000" cy="331788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2400" smtClean="0">
                <a:latin typeface="Arial" charset="0"/>
                <a:cs typeface="Arial" charset="0"/>
              </a:rPr>
              <a:t>DISTINCTIVE COMPETENCY #26</a:t>
            </a:r>
            <a:endParaRPr lang="en-GB" sz="2400" smtClean="0">
              <a:latin typeface="Arial" charset="0"/>
              <a:cs typeface="Arial" charset="0"/>
            </a:endParaRPr>
          </a:p>
        </p:txBody>
      </p:sp>
      <p:sp>
        <p:nvSpPr>
          <p:cNvPr id="400388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081BBC31-ABF0-41F3-82DA-E4503B35A4C6}" type="slidenum">
              <a:rPr lang="en-GB" smtClean="0"/>
              <a:pPr/>
              <a:t>23</a:t>
            </a:fld>
            <a:endParaRPr lang="en-GB" smtClean="0"/>
          </a:p>
        </p:txBody>
      </p:sp>
      <p:graphicFrame>
        <p:nvGraphicFramePr>
          <p:cNvPr id="400386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986" r:id="rId5" imgW="0" imgH="0" progId="">
              <p:embed/>
            </p:oleObj>
          </a:graphicData>
        </a:graphic>
      </p:graphicFrame>
      <p:sp>
        <p:nvSpPr>
          <p:cNvPr id="400389" name="Text Box 2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36525" y="6364288"/>
            <a:ext cx="1841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en-US" sz="2400" b="0">
              <a:solidFill>
                <a:srgbClr val="969696"/>
              </a:solidFill>
              <a:latin typeface="Arial" charset="0"/>
              <a:ea typeface="ヒラギノ角ゴ Pro W3"/>
              <a:cs typeface="ヒラギノ角ゴ Pro W3"/>
            </a:endParaRPr>
          </a:p>
        </p:txBody>
      </p:sp>
      <p:pic>
        <p:nvPicPr>
          <p:cNvPr id="18" name="Picture 17" descr="Slide19a1Blue x 4 chart.pn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857250" y="1176338"/>
            <a:ext cx="3429000" cy="2824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18" descr="Slide19a2Blue x 4 new.png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714875" y="1189038"/>
            <a:ext cx="3357563" cy="278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19" descr="Slide19a3Blue x 4 new.pn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28688" y="4116388"/>
            <a:ext cx="3319462" cy="2312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0" descr="Slide19a4Blue x 4 new.png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4722813" y="4083050"/>
            <a:ext cx="3367087" cy="234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0394" name="Picture 10" descr="logo.png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283450" y="254000"/>
            <a:ext cx="1390650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793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6E203DF5-C4F5-4C34-A7D2-394ABEDBDB7D}" type="slidenum">
              <a:rPr lang="en-GB" smtClean="0"/>
              <a:pPr/>
              <a:t>24</a:t>
            </a:fld>
            <a:endParaRPr lang="en-GB" smtClean="0"/>
          </a:p>
        </p:txBody>
      </p:sp>
      <p:sp>
        <p:nvSpPr>
          <p:cNvPr id="417794" name="Rectangle 6"/>
          <p:cNvSpPr>
            <a:spLocks noChangeArrowheads="1"/>
          </p:cNvSpPr>
          <p:nvPr/>
        </p:nvSpPr>
        <p:spPr bwMode="auto">
          <a:xfrm>
            <a:off x="495300" y="508000"/>
            <a:ext cx="8382000" cy="508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8" name="Picture 7" descr="Slide27.pn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41275" y="1590675"/>
            <a:ext cx="9185275" cy="3660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590800" y="2667000"/>
            <a:ext cx="3704156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6600" dirty="0" smtClean="0">
                <a:solidFill>
                  <a:srgbClr val="0070C0"/>
                </a:solidFill>
              </a:rPr>
              <a:t>Thank Yo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084" y="381001"/>
            <a:ext cx="5170716" cy="761999"/>
          </a:xfrm>
        </p:spPr>
        <p:txBody>
          <a:bodyPr>
            <a:noAutofit/>
          </a:bodyPr>
          <a:lstStyle/>
          <a:p>
            <a:pPr algn="l"/>
            <a:r>
              <a:rPr lang="en-US" sz="4000" b="1" dirty="0" smtClean="0"/>
              <a:t>Agriculture &amp; Biological Science </a:t>
            </a:r>
            <a:endParaRPr lang="en-US" sz="2000" dirty="0"/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486400" y="381000"/>
            <a:ext cx="3257892" cy="2667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95947" y="3200400"/>
            <a:ext cx="6230984" cy="3429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2230" y="3048000"/>
            <a:ext cx="5110162" cy="3547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62600" y="990600"/>
            <a:ext cx="3371889" cy="28717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87084" y="145140"/>
            <a:ext cx="7772400" cy="10740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Agriculture &amp; Biological Science </a:t>
            </a:r>
          </a:p>
          <a:p>
            <a:pPr>
              <a:spcBef>
                <a:spcPct val="0"/>
              </a:spcBef>
            </a:pPr>
            <a:r>
              <a:rPr lang="en-US" sz="2800" dirty="0" smtClean="0"/>
              <a:t>Pub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48307" y="928914"/>
            <a:ext cx="4090893" cy="2699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87084" y="145140"/>
            <a:ext cx="7772400" cy="107406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Agriculture &amp; Biological Science </a:t>
            </a:r>
          </a:p>
          <a:p>
            <a:pPr>
              <a:spcBef>
                <a:spcPct val="0"/>
              </a:spcBef>
            </a:pPr>
            <a:r>
              <a:rPr lang="en-US" sz="2800" dirty="0" smtClean="0"/>
              <a:t>Citations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32230" y="3581400"/>
            <a:ext cx="5622678" cy="3062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76201"/>
            <a:ext cx="7772400" cy="761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/>
          <a:p>
            <a:pPr marL="0" marR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Agriculture &amp; Biological Science: Philippines</a:t>
            </a:r>
            <a:endParaRPr lang="en-US" sz="4000" b="1" dirty="0">
              <a:latin typeface="+mj-lt"/>
              <a:ea typeface="+mj-ea"/>
              <a:cs typeface="+mj-cs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4800" y="3200401"/>
            <a:ext cx="5263676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638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34000" y="914400"/>
            <a:ext cx="3623013" cy="2438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Example Area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3600" dirty="0" smtClean="0"/>
              <a:t>Nanotechnology</a:t>
            </a:r>
          </a:p>
          <a:p>
            <a:r>
              <a:rPr lang="en-US" sz="3600" dirty="0" smtClean="0"/>
              <a:t>Immunology</a:t>
            </a:r>
          </a:p>
          <a:p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0"/>
            <a:ext cx="7772400" cy="7619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Agriculture &amp; Biological Science: Philippines</a:t>
            </a:r>
            <a:endParaRPr lang="en-US" sz="4000" b="1" dirty="0">
              <a:latin typeface="+mj-lt"/>
              <a:ea typeface="+mj-ea"/>
              <a:cs typeface="+mj-cs"/>
            </a:endParaRPr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69224" y="3429001"/>
            <a:ext cx="5700252" cy="320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741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20270" y="914400"/>
            <a:ext cx="3518930" cy="251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304800"/>
            <a:ext cx="8305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latin typeface="+mj-lt"/>
                <a:ea typeface="+mj-ea"/>
                <a:cs typeface="+mj-cs"/>
              </a:rPr>
              <a:t>Top Researchers In ASEAN</a:t>
            </a:r>
            <a:r>
              <a:rPr lang="en-US" sz="3200" b="1" dirty="0" smtClean="0"/>
              <a:t> </a:t>
            </a:r>
            <a:endParaRPr lang="en-US" sz="3200" dirty="0" smtClean="0"/>
          </a:p>
          <a:p>
            <a:r>
              <a:rPr lang="en-US" sz="3200" dirty="0" smtClean="0"/>
              <a:t>Subject Area: </a:t>
            </a:r>
            <a:r>
              <a:rPr lang="en-US" sz="2400" dirty="0" smtClean="0"/>
              <a:t>Agricultural and Biological Sciences</a:t>
            </a:r>
            <a:endParaRPr lang="th-TH" sz="2400" dirty="0"/>
          </a:p>
        </p:txBody>
      </p:sp>
      <p:graphicFrame>
        <p:nvGraphicFramePr>
          <p:cNvPr id="7" name="Chart 6"/>
          <p:cNvGraphicFramePr>
            <a:graphicFrameLocks/>
          </p:cNvGraphicFramePr>
          <p:nvPr/>
        </p:nvGraphicFramePr>
        <p:xfrm>
          <a:off x="533401" y="1981200"/>
          <a:ext cx="8153400" cy="4114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457200" y="304800"/>
            <a:ext cx="8305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 smtClean="0">
                <a:latin typeface="+mj-lt"/>
                <a:ea typeface="+mj-ea"/>
                <a:cs typeface="+mj-cs"/>
              </a:rPr>
              <a:t>Top Researchers In ASEAN</a:t>
            </a:r>
            <a:r>
              <a:rPr lang="en-US" sz="3200" b="1" dirty="0" smtClean="0"/>
              <a:t> </a:t>
            </a:r>
            <a:endParaRPr lang="en-US" sz="3200" dirty="0" smtClean="0"/>
          </a:p>
          <a:p>
            <a:r>
              <a:rPr lang="en-US" sz="3200" dirty="0" smtClean="0"/>
              <a:t>Subject Area: </a:t>
            </a:r>
            <a:r>
              <a:rPr lang="en-US" sz="2400" dirty="0" smtClean="0"/>
              <a:t>Agricultural and Biological Sciences</a:t>
            </a:r>
            <a:endParaRPr lang="th-TH" sz="2400" dirty="0" smtClean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914398" y="1821540"/>
          <a:ext cx="7467601" cy="4343402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1927456"/>
                <a:gridCol w="5540145"/>
              </a:tblGrid>
              <a:tr h="28234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/>
                        <a:t>Author</a:t>
                      </a:r>
                      <a:endParaRPr lang="en-US" sz="18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u="none" strike="noStrike" dirty="0"/>
                        <a:t>Current Affiliation</a:t>
                      </a:r>
                      <a:endParaRPr lang="en-US" sz="1800" b="1" i="0" u="none" strike="noStrike" dirty="0">
                        <a:solidFill>
                          <a:srgbClr val="FFFFFF"/>
                        </a:solidFill>
                        <a:latin typeface="Calibri"/>
                      </a:endParaRPr>
                    </a:p>
                  </a:txBody>
                  <a:tcPr marL="0" marR="0" marT="0" marB="0" anchor="ctr"/>
                </a:tc>
              </a:tr>
              <a:tr h="326756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smtClean="0"/>
                        <a:t> Wade</a:t>
                      </a:r>
                      <a:r>
                        <a:rPr lang="en-US" sz="1400" b="1" u="none" strike="noStrike" dirty="0"/>
                        <a:t>, L.J. 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smtClean="0"/>
                        <a:t> International </a:t>
                      </a:r>
                      <a:r>
                        <a:rPr lang="en-US" sz="1400" b="1" u="none" strike="noStrike" dirty="0"/>
                        <a:t>Rice Research Institute, Makati Philippines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39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Peng</a:t>
                      </a:r>
                      <a:r>
                        <a:rPr lang="en-US" sz="1400" u="none" strike="noStrike" dirty="0"/>
                        <a:t>, S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/>
                        <a:t> International </a:t>
                      </a:r>
                      <a:r>
                        <a:rPr lang="en-US" sz="1400" u="none" strike="noStrike" dirty="0"/>
                        <a:t>Rice Research Institute, Crop and Environmental Sciences Division, Manila Philippi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490134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Khush</a:t>
                      </a:r>
                      <a:r>
                        <a:rPr lang="en-US" sz="1400" u="none" strike="noStrike" dirty="0"/>
                        <a:t>, G.S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International </a:t>
                      </a:r>
                      <a:r>
                        <a:rPr lang="en-US" sz="1400" u="none" strike="noStrike" dirty="0"/>
                        <a:t>Rice Research Institute, Division of Plant Breeding, Genetics and </a:t>
                      </a:r>
                      <a:r>
                        <a:rPr lang="en-US" sz="1400" u="none" strike="noStrike" dirty="0" err="1"/>
                        <a:t>Biochemisty</a:t>
                      </a:r>
                      <a:r>
                        <a:rPr lang="en-US" sz="1400" u="none" strike="noStrike" dirty="0"/>
                        <a:t> Los </a:t>
                      </a:r>
                      <a:r>
                        <a:rPr lang="en-US" sz="1400" u="none" strike="noStrike" dirty="0" err="1"/>
                        <a:t>Banos</a:t>
                      </a:r>
                      <a:r>
                        <a:rPr lang="en-US" sz="1400" u="none" strike="noStrike" dirty="0"/>
                        <a:t>, Philippi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439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Bouman</a:t>
                      </a:r>
                      <a:r>
                        <a:rPr lang="en-US" sz="1400" u="none" strike="noStrike" dirty="0"/>
                        <a:t>, B.A.M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/>
                        <a:t> International </a:t>
                      </a:r>
                      <a:r>
                        <a:rPr lang="en-US" sz="1400" u="none" strike="noStrike" dirty="0"/>
                        <a:t>Rice Research Institute, Crop and Environmental Sciences Division, Manila Philippi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439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Bennett</a:t>
                      </a:r>
                      <a:r>
                        <a:rPr lang="en-US" sz="1400" u="none" strike="noStrike" dirty="0"/>
                        <a:t>, J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International </a:t>
                      </a:r>
                      <a:r>
                        <a:rPr lang="en-US" sz="1400" u="none" strike="noStrike" dirty="0"/>
                        <a:t>Rice Research Institute, and Biotechnology Division, Manila Philippi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439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Buresh</a:t>
                      </a:r>
                      <a:r>
                        <a:rPr lang="en-US" sz="1400" u="none" strike="noStrike" dirty="0"/>
                        <a:t>, R.J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/>
                        <a:t> International </a:t>
                      </a:r>
                      <a:r>
                        <a:rPr lang="en-US" sz="1400" u="none" strike="noStrike" dirty="0"/>
                        <a:t>Rice Research Institute, Crop and Environmental Sciences Division, Manila Philippine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/>
                </a:tc>
              </a:tr>
              <a:tr h="37184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 smtClean="0"/>
                        <a:t> </a:t>
                      </a:r>
                      <a:r>
                        <a:rPr lang="en-US" sz="1400" u="none" strike="noStrike" kern="1200" dirty="0" err="1" smtClean="0"/>
                        <a:t>Tuong</a:t>
                      </a:r>
                      <a:r>
                        <a:rPr lang="en-US" sz="1400" u="none" strike="noStrike" kern="1200" dirty="0"/>
                        <a:t>, T.P.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 smtClean="0"/>
                        <a:t> International </a:t>
                      </a:r>
                      <a:r>
                        <a:rPr lang="en-US" sz="1400" u="none" strike="noStrike" kern="1200" dirty="0"/>
                        <a:t>Rice Research Institute, Makati Philippines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37184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smtClean="0"/>
                        <a:t> </a:t>
                      </a:r>
                      <a:r>
                        <a:rPr lang="en-US" sz="1400" b="1" u="none" strike="noStrike" dirty="0" err="1" smtClean="0"/>
                        <a:t>Sriroth</a:t>
                      </a:r>
                      <a:r>
                        <a:rPr lang="en-US" sz="1400" b="1" u="none" strike="noStrike" dirty="0"/>
                        <a:t>, K.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u="none" strike="noStrike" dirty="0" smtClean="0"/>
                        <a:t> </a:t>
                      </a:r>
                      <a:r>
                        <a:rPr lang="en-US" sz="1400" b="1" u="none" strike="noStrike" dirty="0" err="1" smtClean="0"/>
                        <a:t>Kasetsart</a:t>
                      </a:r>
                      <a:r>
                        <a:rPr lang="en-US" sz="1400" b="1" u="none" strike="noStrike" dirty="0" smtClean="0"/>
                        <a:t> </a:t>
                      </a:r>
                      <a:r>
                        <a:rPr lang="en-US" sz="1400" b="1" u="none" strike="noStrike" dirty="0"/>
                        <a:t>University, Department of Biotechnology, Bangkok Thailan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71848"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 smtClean="0"/>
                        <a:t> </a:t>
                      </a:r>
                      <a:r>
                        <a:rPr lang="en-US" sz="1400" u="none" strike="noStrike" kern="1200" dirty="0" err="1" smtClean="0"/>
                        <a:t>Withyachumnarnkul</a:t>
                      </a:r>
                      <a:r>
                        <a:rPr lang="en-US" sz="1400" u="none" strike="noStrike" kern="1200" dirty="0"/>
                        <a:t>, B.</a:t>
                      </a:r>
                      <a:endParaRPr lang="en-US" sz="1400" b="0" i="0" u="none" strike="noStrike" kern="1200" dirty="0" err="1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en-US" sz="1400" u="none" strike="noStrike" kern="1200" dirty="0" smtClean="0"/>
                        <a:t> Prince </a:t>
                      </a:r>
                      <a:r>
                        <a:rPr lang="en-US" sz="1400" u="none" strike="noStrike" kern="1200" dirty="0"/>
                        <a:t>of </a:t>
                      </a:r>
                      <a:r>
                        <a:rPr lang="en-US" sz="1400" u="none" strike="noStrike" kern="1200" dirty="0" err="1"/>
                        <a:t>Songkia</a:t>
                      </a:r>
                      <a:r>
                        <a:rPr lang="en-US" sz="1400" u="none" strike="noStrike" kern="1200" dirty="0"/>
                        <a:t> University, Department of Anatomy, </a:t>
                      </a:r>
                      <a:r>
                        <a:rPr lang="en-US" sz="1400" u="none" strike="noStrike" kern="1200" dirty="0" err="1"/>
                        <a:t>Songkla</a:t>
                      </a:r>
                      <a:r>
                        <a:rPr lang="en-US" sz="1400" u="none" strike="noStrike" kern="1200" dirty="0"/>
                        <a:t> Thailand</a:t>
                      </a:r>
                      <a:endParaRPr lang="en-US" sz="1400" b="0" i="0" u="none" strike="noStrike" kern="1200" dirty="0">
                        <a:solidFill>
                          <a:srgbClr val="000000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0" marR="0" marT="0" marB="0" anchor="b"/>
                </a:tc>
              </a:tr>
              <a:tr h="37184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Wanapat</a:t>
                      </a:r>
                      <a:r>
                        <a:rPr lang="en-US" sz="1400" u="none" strike="noStrike" dirty="0"/>
                        <a:t>, M.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 smtClean="0"/>
                        <a:t>Khon</a:t>
                      </a:r>
                      <a:r>
                        <a:rPr lang="en-US" sz="1400" u="none" strike="noStrike" dirty="0" smtClean="0"/>
                        <a:t> </a:t>
                      </a:r>
                      <a:r>
                        <a:rPr lang="en-US" sz="1400" u="none" strike="noStrike" dirty="0" err="1"/>
                        <a:t>Kaen</a:t>
                      </a:r>
                      <a:r>
                        <a:rPr lang="en-US" sz="1400" u="none" strike="noStrike" dirty="0"/>
                        <a:t> University, Faculty of Agriculture, Khan </a:t>
                      </a:r>
                      <a:r>
                        <a:rPr lang="en-US" sz="1400" u="none" strike="noStrike" dirty="0" err="1"/>
                        <a:t>Kaen</a:t>
                      </a:r>
                      <a:r>
                        <a:rPr lang="en-US" sz="1400" u="none" strike="noStrike" dirty="0"/>
                        <a:t> Thailand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 b="1" dirty="0" smtClean="0"/>
              <a:t>Keywords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458200" cy="4648200"/>
          </a:xfrm>
        </p:spPr>
        <p:txBody>
          <a:bodyPr>
            <a:normAutofit fontScale="77500" lnSpcReduction="20000"/>
          </a:bodyPr>
          <a:lstStyle/>
          <a:p>
            <a:r>
              <a:rPr lang="en-US" sz="2800" b="1" dirty="0" smtClean="0"/>
              <a:t>Nanotechnology</a:t>
            </a:r>
          </a:p>
          <a:p>
            <a:pPr marL="742950" lvl="2" indent="-342900"/>
            <a:r>
              <a:rPr lang="en-US" sz="2800" dirty="0" smtClean="0"/>
              <a:t>Nanotechnology, </a:t>
            </a:r>
            <a:r>
              <a:rPr lang="en-US" sz="2800" dirty="0" err="1" smtClean="0"/>
              <a:t>nanotubes</a:t>
            </a:r>
            <a:r>
              <a:rPr lang="en-US" sz="2800" dirty="0" smtClean="0"/>
              <a:t>, </a:t>
            </a:r>
            <a:r>
              <a:rPr lang="en-US" sz="2800" dirty="0" err="1" smtClean="0"/>
              <a:t>nanowires</a:t>
            </a:r>
            <a:r>
              <a:rPr lang="en-US" sz="2800" dirty="0" smtClean="0"/>
              <a:t>, </a:t>
            </a:r>
            <a:r>
              <a:rPr lang="en-US" sz="2800" dirty="0" err="1" smtClean="0"/>
              <a:t>nanoparticles</a:t>
            </a:r>
            <a:r>
              <a:rPr lang="en-US" sz="2800" dirty="0" smtClean="0"/>
              <a:t>, </a:t>
            </a:r>
            <a:r>
              <a:rPr lang="en-US" sz="2800" dirty="0" err="1" smtClean="0"/>
              <a:t>nanorods</a:t>
            </a:r>
            <a:r>
              <a:rPr lang="en-US" sz="2800" dirty="0" smtClean="0"/>
              <a:t>, </a:t>
            </a:r>
            <a:r>
              <a:rPr lang="en-US" sz="2800" dirty="0" err="1" smtClean="0"/>
              <a:t>nanobiophysics</a:t>
            </a:r>
            <a:r>
              <a:rPr lang="en-US" sz="2800" dirty="0" smtClean="0"/>
              <a:t>, </a:t>
            </a:r>
            <a:r>
              <a:rPr lang="en-US" sz="2800" dirty="0" err="1" smtClean="0"/>
              <a:t>nanomaterials</a:t>
            </a:r>
            <a:r>
              <a:rPr lang="en-US" sz="2800" dirty="0" smtClean="0"/>
              <a:t>, </a:t>
            </a:r>
            <a:r>
              <a:rPr lang="en-US" sz="2800" dirty="0" err="1" smtClean="0"/>
              <a:t>nanomedicien</a:t>
            </a:r>
            <a:r>
              <a:rPr lang="en-US" sz="2800" dirty="0" smtClean="0"/>
              <a:t>, nanostructure, </a:t>
            </a:r>
            <a:r>
              <a:rPr lang="en-US" sz="2800" dirty="0" err="1" smtClean="0"/>
              <a:t>nanotoxicology</a:t>
            </a:r>
            <a:r>
              <a:rPr lang="en-US" sz="2800" dirty="0" smtClean="0"/>
              <a:t>, </a:t>
            </a:r>
            <a:r>
              <a:rPr lang="en-US" sz="2800" dirty="0" err="1" smtClean="0"/>
              <a:t>nanotextiles</a:t>
            </a:r>
            <a:r>
              <a:rPr lang="en-US" sz="2800" dirty="0" smtClean="0"/>
              <a:t>, </a:t>
            </a:r>
            <a:r>
              <a:rPr lang="en-US" sz="2800" dirty="0" err="1" smtClean="0"/>
              <a:t>nanoelectromechanical</a:t>
            </a:r>
            <a:r>
              <a:rPr lang="en-US" sz="2800" dirty="0" smtClean="0"/>
              <a:t> systems, NEMS, nanolithography, nanofabrication, </a:t>
            </a:r>
            <a:r>
              <a:rPr lang="en-US" sz="2800" dirty="0" err="1" smtClean="0"/>
              <a:t>nanoprobes,Nanocomposites</a:t>
            </a:r>
            <a:r>
              <a:rPr lang="en-US" sz="2800" dirty="0" smtClean="0"/>
              <a:t>, </a:t>
            </a:r>
            <a:r>
              <a:rPr lang="en-US" sz="2800" dirty="0" err="1" smtClean="0"/>
              <a:t>Nanocrystalline</a:t>
            </a:r>
            <a:r>
              <a:rPr lang="en-US" sz="2800" dirty="0" smtClean="0"/>
              <a:t> Materials, </a:t>
            </a:r>
            <a:r>
              <a:rPr lang="en-US" sz="2800" dirty="0" err="1" smtClean="0"/>
              <a:t>Nanoclusters</a:t>
            </a:r>
            <a:r>
              <a:rPr lang="en-US" sz="2800" dirty="0" smtClean="0"/>
              <a:t>, Quantum Dots, Quantum Wires, Quantum Wells, </a:t>
            </a:r>
            <a:r>
              <a:rPr lang="en-US" sz="2800" dirty="0" err="1" smtClean="0"/>
              <a:t>Nanoscale</a:t>
            </a:r>
            <a:r>
              <a:rPr lang="en-US" sz="2800" dirty="0" smtClean="0"/>
              <a:t> Thin Films, Fullerenes, Nanophysics, </a:t>
            </a:r>
            <a:r>
              <a:rPr lang="en-US" sz="2800" dirty="0" err="1" smtClean="0"/>
              <a:t>Nanoelectronics</a:t>
            </a:r>
            <a:r>
              <a:rPr lang="en-US" sz="2800" dirty="0" smtClean="0"/>
              <a:t>, </a:t>
            </a:r>
            <a:r>
              <a:rPr lang="en-US" sz="2800" dirty="0" err="1" smtClean="0"/>
              <a:t>Nano</a:t>
            </a:r>
            <a:r>
              <a:rPr lang="en-US" sz="2800" dirty="0" smtClean="0"/>
              <a:t>-Optics, </a:t>
            </a:r>
            <a:r>
              <a:rPr lang="en-US" sz="2800" dirty="0" err="1" smtClean="0"/>
              <a:t>Nanomagnetism</a:t>
            </a:r>
            <a:r>
              <a:rPr lang="en-US" sz="2800" dirty="0" smtClean="0"/>
              <a:t>, </a:t>
            </a:r>
            <a:r>
              <a:rPr lang="en-US" sz="2800" dirty="0" err="1" smtClean="0"/>
              <a:t>Nanodevices</a:t>
            </a:r>
            <a:r>
              <a:rPr lang="en-US" sz="2800" dirty="0" smtClean="0"/>
              <a:t>, </a:t>
            </a:r>
            <a:r>
              <a:rPr lang="en-US" sz="2800" dirty="0" err="1" smtClean="0"/>
              <a:t>Nanochips</a:t>
            </a:r>
            <a:r>
              <a:rPr lang="en-US" sz="2800" dirty="0" smtClean="0"/>
              <a:t>, </a:t>
            </a:r>
            <a:r>
              <a:rPr lang="en-US" sz="2800" dirty="0" err="1" smtClean="0"/>
              <a:t>Nanosensors</a:t>
            </a:r>
            <a:r>
              <a:rPr lang="en-US" sz="2800" dirty="0" smtClean="0"/>
              <a:t>, </a:t>
            </a:r>
            <a:r>
              <a:rPr lang="en-US" sz="2800" dirty="0" err="1" smtClean="0"/>
              <a:t>Nano</a:t>
            </a:r>
            <a:r>
              <a:rPr lang="en-US" sz="2800" dirty="0" smtClean="0"/>
              <a:t>-integration,  </a:t>
            </a:r>
            <a:r>
              <a:rPr lang="en-US" sz="2800" dirty="0" err="1" smtClean="0"/>
              <a:t>Nanofluidics</a:t>
            </a:r>
            <a:r>
              <a:rPr lang="en-US" sz="2800" dirty="0" smtClean="0"/>
              <a:t>, </a:t>
            </a:r>
            <a:r>
              <a:rPr lang="en-US" sz="2800" dirty="0" err="1" smtClean="0"/>
              <a:t>Nanomachining</a:t>
            </a:r>
            <a:r>
              <a:rPr lang="en-US" sz="2800" dirty="0" smtClean="0"/>
              <a:t>, </a:t>
            </a:r>
            <a:r>
              <a:rPr lang="en-US" sz="2800" dirty="0" err="1" smtClean="0"/>
              <a:t>Nanorobotics</a:t>
            </a:r>
            <a:r>
              <a:rPr lang="en-US" sz="2800" dirty="0" smtClean="0"/>
              <a:t>,</a:t>
            </a:r>
          </a:p>
          <a:p>
            <a:pPr marL="742950" lvl="2" indent="-342900">
              <a:buNone/>
            </a:pPr>
            <a:r>
              <a:rPr lang="en-US" sz="2800" dirty="0" smtClean="0"/>
              <a:t>     </a:t>
            </a:r>
            <a:r>
              <a:rPr lang="en-US" sz="2800" dirty="0" err="1" smtClean="0"/>
              <a:t>Nanotribology</a:t>
            </a:r>
            <a:endParaRPr lang="en-US" sz="2800" dirty="0" smtClean="0"/>
          </a:p>
          <a:p>
            <a:r>
              <a:rPr lang="en-US" sz="2800" b="1" dirty="0" smtClean="0"/>
              <a:t>Agricultural &amp; Biological Sciences</a:t>
            </a:r>
          </a:p>
          <a:p>
            <a:pPr marL="742950" lvl="2" indent="-342900"/>
            <a:r>
              <a:rPr lang="en-US" sz="2800" dirty="0" smtClean="0"/>
              <a:t>Rice, shrimp, rubber, corn, cassava, sugar</a:t>
            </a:r>
          </a:p>
          <a:p>
            <a:endParaRPr lang="en-US" sz="3000" dirty="0" smtClean="0"/>
          </a:p>
          <a:p>
            <a:pPr lvl="1"/>
            <a:endParaRPr lang="en-US" sz="2600" dirty="0" smtClean="0"/>
          </a:p>
          <a:p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Standing of ASEAN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apan</a:t>
            </a:r>
          </a:p>
          <a:p>
            <a:r>
              <a:rPr lang="en-US" dirty="0" smtClean="0"/>
              <a:t>China</a:t>
            </a:r>
          </a:p>
          <a:p>
            <a:r>
              <a:rPr lang="en-US" dirty="0" smtClean="0"/>
              <a:t>India</a:t>
            </a:r>
          </a:p>
          <a:p>
            <a:r>
              <a:rPr lang="en-US" dirty="0" smtClean="0"/>
              <a:t>Taiwan</a:t>
            </a:r>
          </a:p>
          <a:p>
            <a:r>
              <a:rPr lang="en-US" dirty="0" smtClean="0"/>
              <a:t>South </a:t>
            </a:r>
            <a:r>
              <a:rPr lang="en-US" dirty="0" smtClean="0"/>
              <a:t>Korea</a:t>
            </a:r>
          </a:p>
          <a:p>
            <a:endParaRPr lang="en-US" dirty="0" smtClean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046890" y="3657600"/>
            <a:ext cx="4725635" cy="2657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7084" y="145140"/>
            <a:ext cx="9056916" cy="761999"/>
          </a:xfrm>
        </p:spPr>
        <p:txBody>
          <a:bodyPr>
            <a:noAutofit/>
          </a:bodyPr>
          <a:lstStyle/>
          <a:p>
            <a:pPr algn="l"/>
            <a:r>
              <a:rPr lang="en-US" sz="4000" b="1" dirty="0" smtClean="0"/>
              <a:t>Nanotechnology</a:t>
            </a:r>
            <a:endParaRPr lang="en-US" sz="20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3399" y="3276600"/>
            <a:ext cx="6092517" cy="335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53000" y="228600"/>
            <a:ext cx="3581400" cy="29337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5" name="Oval 4"/>
          <p:cNvSpPr/>
          <p:nvPr/>
        </p:nvSpPr>
        <p:spPr>
          <a:xfrm>
            <a:off x="5075500" y="5497975"/>
            <a:ext cx="228600" cy="2286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03203" y="3121608"/>
            <a:ext cx="6121397" cy="3395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196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486400" y="304799"/>
            <a:ext cx="3429000" cy="262969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185058" y="87084"/>
            <a:ext cx="7772400" cy="761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Immunology</a:t>
            </a:r>
            <a:r>
              <a:rPr lang="en-US" sz="4000" dirty="0" smtClean="0"/>
              <a:t> 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Oval 5"/>
          <p:cNvSpPr/>
          <p:nvPr/>
        </p:nvSpPr>
        <p:spPr>
          <a:xfrm>
            <a:off x="4747550" y="5105400"/>
            <a:ext cx="228600" cy="228600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Need for Critical Mass</a:t>
            </a:r>
          </a:p>
        </p:txBody>
      </p:sp>
      <p:sp>
        <p:nvSpPr>
          <p:cNvPr id="15363" name="Rectangle 3"/>
          <p:cNvSpPr>
            <a:spLocks noGrp="1" noChangeArrowheads="1"/>
          </p:cNvSpPr>
          <p:nvPr>
            <p:ph idx="1"/>
          </p:nvPr>
        </p:nvSpPr>
        <p:spPr>
          <a:xfrm>
            <a:off x="357158" y="1235060"/>
            <a:ext cx="5476912" cy="5286412"/>
          </a:xfrm>
        </p:spPr>
        <p:txBody>
          <a:bodyPr rtlCol="0">
            <a:normAutofit fontScale="85000" lnSpcReduction="10000"/>
          </a:bodyPr>
          <a:lstStyle/>
          <a:p>
            <a:pPr algn="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dirty="0" smtClean="0">
                <a:solidFill>
                  <a:srgbClr val="0070C0"/>
                </a:solidFill>
              </a:rPr>
              <a:t>  </a:t>
            </a:r>
            <a:r>
              <a:rPr lang="en-US" i="1" dirty="0" smtClean="0">
                <a:solidFill>
                  <a:srgbClr val="0070C0"/>
                </a:solidFill>
              </a:rPr>
              <a:t>“Not only is it easier to recruit a high-quality faculty member to join a substantial group of similarly </a:t>
            </a:r>
            <a:br>
              <a:rPr lang="en-US" i="1" dirty="0" smtClean="0">
                <a:solidFill>
                  <a:srgbClr val="0070C0"/>
                </a:solidFill>
              </a:rPr>
            </a:br>
            <a:r>
              <a:rPr lang="en-US" i="1" dirty="0" smtClean="0">
                <a:solidFill>
                  <a:srgbClr val="0070C0"/>
                </a:solidFill>
              </a:rPr>
              <a:t>distinguished colleagues but the university can support 10 first-rate chemists much more effectively than it can support one.  </a:t>
            </a:r>
            <a:br>
              <a:rPr lang="en-US" i="1" dirty="0" smtClean="0">
                <a:solidFill>
                  <a:srgbClr val="0070C0"/>
                </a:solidFill>
              </a:rPr>
            </a:br>
            <a:r>
              <a:rPr lang="en-US" i="1" dirty="0" smtClean="0">
                <a:solidFill>
                  <a:srgbClr val="0070C0"/>
                </a:solidFill>
              </a:rPr>
              <a:t>University quality, once established at a high level and substantial scale, becomes self-sustaining.”</a:t>
            </a:r>
            <a:br>
              <a:rPr lang="en-US" i="1" dirty="0" smtClean="0">
                <a:solidFill>
                  <a:srgbClr val="0070C0"/>
                </a:solidFill>
              </a:rPr>
            </a:br>
            <a:r>
              <a:rPr lang="en-US" i="1" dirty="0" smtClean="0">
                <a:solidFill>
                  <a:srgbClr val="0070C0"/>
                </a:solidFill>
              </a:rPr>
              <a:t> </a:t>
            </a:r>
          </a:p>
          <a:p>
            <a:pPr algn="r"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en-US" dirty="0" smtClean="0"/>
              <a:t>	</a:t>
            </a:r>
            <a:r>
              <a:rPr lang="en-US" sz="2400" dirty="0" smtClean="0"/>
              <a:t>[J.V. Lombardi, et al, 2004]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000760" y="1214421"/>
            <a:ext cx="2714644" cy="529148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Centers of Excellence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027237"/>
            <a:ext cx="8229600" cy="4525963"/>
          </a:xfrm>
        </p:spPr>
        <p:txBody>
          <a:bodyPr/>
          <a:lstStyle/>
          <a:p>
            <a:r>
              <a:rPr lang="en-US" dirty="0" smtClean="0"/>
              <a:t>Critical mass of researchers</a:t>
            </a:r>
          </a:p>
          <a:p>
            <a:r>
              <a:rPr lang="en-US" dirty="0" smtClean="0"/>
              <a:t>Efficient use of resources</a:t>
            </a:r>
          </a:p>
          <a:p>
            <a:r>
              <a:rPr lang="en-US" dirty="0" smtClean="0"/>
              <a:t>Enable pursuit of research excellence at international levels</a:t>
            </a:r>
          </a:p>
          <a:p>
            <a:r>
              <a:rPr lang="en-US" dirty="0" smtClean="0"/>
              <a:t>Hubs to coordinate research activity in ASEAN</a:t>
            </a:r>
          </a:p>
          <a:p>
            <a:r>
              <a:rPr lang="en-US" dirty="0" smtClean="0"/>
              <a:t>Points of international linkage (SEA-EU-NET)</a:t>
            </a:r>
          </a:p>
          <a:p>
            <a:r>
              <a:rPr lang="en-US" dirty="0" smtClean="0"/>
              <a:t>Promote areas of importance to ASEAN</a:t>
            </a:r>
            <a:endParaRPr lang="en-US" dirty="0"/>
          </a:p>
        </p:txBody>
      </p:sp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77000" y="1333500"/>
            <a:ext cx="24384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28600" y="2895600"/>
            <a:ext cx="5690587" cy="3657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le 1"/>
          <p:cNvSpPr txBox="1">
            <a:spLocks/>
          </p:cNvSpPr>
          <p:nvPr/>
        </p:nvSpPr>
        <p:spPr>
          <a:xfrm>
            <a:off x="152400" y="304801"/>
            <a:ext cx="7772400" cy="7619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en-US" sz="4000" b="1" dirty="0" smtClean="0">
                <a:latin typeface="+mj-lt"/>
                <a:ea typeface="+mj-ea"/>
                <a:cs typeface="+mj-cs"/>
              </a:rPr>
              <a:t>Nanotechnology</a:t>
            </a:r>
          </a:p>
          <a:p>
            <a:pPr lvl="0">
              <a:spcBef>
                <a:spcPct val="0"/>
              </a:spcBef>
            </a:pPr>
            <a:r>
              <a:rPr lang="en-US" sz="2800" dirty="0" smtClean="0"/>
              <a:t>Publications 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62600" y="304800"/>
            <a:ext cx="3217333" cy="25908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NnzhC6f1ESKxxpg2ztVA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5NzDblXE6Qfa2jfvBQI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JEnYNICECPqoxe3IXe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FetstTkOIXxAIOg_UP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hc84c9yEy7iuciAzWv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uNGSbtHUCmlLkFnvK3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fF7fqEVESY3dAXliB.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3Z4dQM90i3IEDZYmN2i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5vMqtp2k._Ro44Frld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5NzDblXE6Qfa2jfvBQ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kNnzhC6f1ESKxxpg2ztV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FetstTkOIXxAIOg_UP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HINKCELLSHAPEDONOTDELETE" val="pXbZ07KqUwECv94VgRhmb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DjPAlSoEOrqoE8_fxS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3Z4dQM90i3IEDZYmN2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5vMqtp2k._Ro44Frld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AczTVji02znbUZV88ez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0cLAs4KU65xOTVGngN4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DBfUlGdU2redJE6Xrz_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BKcD3I9kGBm7tBEL43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HEpOmHD0.A8Tsm01WCF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Ib1Aw93Uys8s5y6Aai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hc84c9yEy7iuciAzWv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9YqZeyNk2Jl1of8EY1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LFetstTkOIXxAIOg_UP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hc84c9yEy7iuciAzWv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uNGSbtHUCmlLkFnvK3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fF7fqEVESY3dAXliB.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3Z4dQM90i3IEDZYmN2i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5vMqtp2k._Ro44FrldQ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6bsbwoRkejrBbRV2A46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uNGSbtHUCmlLkFnvK3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ijActth0qMAmyBZcJ1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SjyPAALEGo3jrsSAfz_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_fF7fqEVESY3dAXliB.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3Z4dQM90i3IEDZYmN2i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5vMqtp2k._Ro44FrldQ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80</TotalTime>
  <Words>992</Words>
  <Application>Microsoft Office PowerPoint</Application>
  <PresentationFormat>On-screen Show (4:3)</PresentationFormat>
  <Paragraphs>206</Paragraphs>
  <Slides>33</Slides>
  <Notes>11</Notes>
  <HiddenSlides>4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33</vt:i4>
      </vt:variant>
    </vt:vector>
  </HeadingPairs>
  <TitlesOfParts>
    <vt:vector size="34" baseType="lpstr">
      <vt:lpstr>Office Theme</vt:lpstr>
      <vt:lpstr>Slide 1</vt:lpstr>
      <vt:lpstr>Branding and Excellence</vt:lpstr>
      <vt:lpstr>Example Areas</vt:lpstr>
      <vt:lpstr>Standing of ASEAN</vt:lpstr>
      <vt:lpstr>Nanotechnology</vt:lpstr>
      <vt:lpstr>Slide 6</vt:lpstr>
      <vt:lpstr>Need for Critical Mass</vt:lpstr>
      <vt:lpstr>Centers of Excellence</vt:lpstr>
      <vt:lpstr>Slide 9</vt:lpstr>
      <vt:lpstr>Slide 10</vt:lpstr>
      <vt:lpstr>Slide 11</vt:lpstr>
      <vt:lpstr>Slide 12</vt:lpstr>
      <vt:lpstr>Slide 13</vt:lpstr>
      <vt:lpstr>Slide 14</vt:lpstr>
      <vt:lpstr>Immunology  Publications </vt:lpstr>
      <vt:lpstr>Slide 16</vt:lpstr>
      <vt:lpstr>Slide 17</vt:lpstr>
      <vt:lpstr>Slide 18</vt:lpstr>
      <vt:lpstr>Slide 19</vt:lpstr>
      <vt:lpstr>A NEW APPROACH</vt:lpstr>
      <vt:lpstr>Slide 21</vt:lpstr>
      <vt:lpstr>IDENTIFYING NATIONAL STRENGTHS</vt:lpstr>
      <vt:lpstr>DISTINCTIVE COMPETENCY #26</vt:lpstr>
      <vt:lpstr>Slide 24</vt:lpstr>
      <vt:lpstr>Slide 25</vt:lpstr>
      <vt:lpstr>Agriculture &amp; Biological Science </vt:lpstr>
      <vt:lpstr>Slide 27</vt:lpstr>
      <vt:lpstr>Slide 28</vt:lpstr>
      <vt:lpstr>Slide 29</vt:lpstr>
      <vt:lpstr>Slide 30</vt:lpstr>
      <vt:lpstr>Slide 31</vt:lpstr>
      <vt:lpstr>Slide 32</vt:lpstr>
      <vt:lpstr>Keyword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griculture &amp; Biological Science</dc:title>
  <dc:creator>surendra</dc:creator>
  <cp:lastModifiedBy>Corporate Edition</cp:lastModifiedBy>
  <cp:revision>235</cp:revision>
  <dcterms:created xsi:type="dcterms:W3CDTF">2009-05-23T07:47:31Z</dcterms:created>
  <dcterms:modified xsi:type="dcterms:W3CDTF">2009-08-10T23:20:24Z</dcterms:modified>
</cp:coreProperties>
</file>